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276.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6.xml" ContentType="application/vnd.openxmlformats-officedocument.theme+xml"/>
  <Override PartName="/ppt/tags/tag277.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7.xml" ContentType="application/vnd.openxmlformats-officedocument.theme+xml"/>
  <Override PartName="/ppt/tags/tag278.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4"/>
    <p:sldMasterId id="2147483714" r:id="rId5"/>
    <p:sldMasterId id="2147483748" r:id="rId6"/>
    <p:sldMasterId id="2147483763" r:id="rId7"/>
    <p:sldMasterId id="2147483781" r:id="rId8"/>
    <p:sldMasterId id="2147483810" r:id="rId9"/>
    <p:sldMasterId id="2147483834" r:id="rId10"/>
    <p:sldMasterId id="2147483858" r:id="rId11"/>
  </p:sldMasterIdLst>
  <p:notesMasterIdLst>
    <p:notesMasterId r:id="rId60"/>
  </p:notesMasterIdLst>
  <p:sldIdLst>
    <p:sldId id="2147476417" r:id="rId12"/>
    <p:sldId id="2147483632" r:id="rId13"/>
    <p:sldId id="2147483589" r:id="rId14"/>
    <p:sldId id="2147483590" r:id="rId15"/>
    <p:sldId id="2147483609" r:id="rId16"/>
    <p:sldId id="2147483606" r:id="rId17"/>
    <p:sldId id="259" r:id="rId18"/>
    <p:sldId id="2147483610" r:id="rId19"/>
    <p:sldId id="2147483612" r:id="rId20"/>
    <p:sldId id="2147483593" r:id="rId21"/>
    <p:sldId id="2147483607" r:id="rId22"/>
    <p:sldId id="2147483631" r:id="rId23"/>
    <p:sldId id="2147483635" r:id="rId24"/>
    <p:sldId id="2147483636" r:id="rId25"/>
    <p:sldId id="275" r:id="rId26"/>
    <p:sldId id="2147483634" r:id="rId27"/>
    <p:sldId id="2147483566" r:id="rId28"/>
    <p:sldId id="2147483633" r:id="rId29"/>
    <p:sldId id="2147483627" r:id="rId30"/>
    <p:sldId id="2147483604" r:id="rId31"/>
    <p:sldId id="2147483626" r:id="rId32"/>
    <p:sldId id="2147483629" r:id="rId33"/>
    <p:sldId id="2147483630" r:id="rId34"/>
    <p:sldId id="2147483608" r:id="rId35"/>
    <p:sldId id="2147483613" r:id="rId36"/>
    <p:sldId id="2147483615" r:id="rId37"/>
    <p:sldId id="2147483616" r:id="rId38"/>
    <p:sldId id="2147483617" r:id="rId39"/>
    <p:sldId id="2147483618" r:id="rId40"/>
    <p:sldId id="2147483619" r:id="rId41"/>
    <p:sldId id="2147483620" r:id="rId42"/>
    <p:sldId id="2147483621" r:id="rId43"/>
    <p:sldId id="2147483622" r:id="rId44"/>
    <p:sldId id="2147483623" r:id="rId45"/>
    <p:sldId id="2147483624" r:id="rId46"/>
    <p:sldId id="2147483625" r:id="rId47"/>
    <p:sldId id="2147483614" r:id="rId48"/>
    <p:sldId id="2147483628" r:id="rId49"/>
    <p:sldId id="2147483638" r:id="rId50"/>
    <p:sldId id="2147483637" r:id="rId51"/>
    <p:sldId id="2147483639" r:id="rId52"/>
    <p:sldId id="2147483642" r:id="rId53"/>
    <p:sldId id="2147483641" r:id="rId54"/>
    <p:sldId id="2147483640" r:id="rId55"/>
    <p:sldId id="256" r:id="rId56"/>
    <p:sldId id="2147483643" r:id="rId57"/>
    <p:sldId id="2147483481" r:id="rId58"/>
    <p:sldId id="2147483647" r:id="rId59"/>
  </p:sldIdLst>
  <p:sldSz cx="12192000" cy="6858000"/>
  <p:notesSz cx="6858000" cy="9144000"/>
  <p:defaultText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ción predeterminada" id="{6CCC7BA0-C8CD-4E56-915F-144476E7DA69}">
          <p14:sldIdLst>
            <p14:sldId id="2147476417"/>
            <p14:sldId id="2147483632"/>
            <p14:sldId id="2147483589"/>
            <p14:sldId id="2147483590"/>
            <p14:sldId id="2147483609"/>
            <p14:sldId id="2147483606"/>
            <p14:sldId id="259"/>
            <p14:sldId id="2147483610"/>
            <p14:sldId id="2147483612"/>
            <p14:sldId id="2147483593"/>
            <p14:sldId id="2147483607"/>
            <p14:sldId id="2147483631"/>
            <p14:sldId id="2147483635"/>
            <p14:sldId id="2147483636"/>
            <p14:sldId id="275"/>
          </p14:sldIdLst>
        </p14:section>
        <p14:section name="BackUp" id="{7995E81D-7671-45E3-B9F4-DEC4BB7CA6F3}">
          <p14:sldIdLst>
            <p14:sldId id="2147483634"/>
            <p14:sldId id="2147483566"/>
            <p14:sldId id="2147483633"/>
            <p14:sldId id="2147483627"/>
            <p14:sldId id="2147483604"/>
            <p14:sldId id="2147483626"/>
            <p14:sldId id="2147483629"/>
            <p14:sldId id="2147483630"/>
            <p14:sldId id="2147483608"/>
            <p14:sldId id="2147483613"/>
            <p14:sldId id="2147483615"/>
            <p14:sldId id="2147483616"/>
            <p14:sldId id="2147483617"/>
            <p14:sldId id="2147483618"/>
            <p14:sldId id="2147483619"/>
            <p14:sldId id="2147483620"/>
            <p14:sldId id="2147483621"/>
            <p14:sldId id="2147483622"/>
            <p14:sldId id="2147483623"/>
            <p14:sldId id="2147483624"/>
            <p14:sldId id="2147483625"/>
            <p14:sldId id="2147483614"/>
            <p14:sldId id="2147483628"/>
            <p14:sldId id="2147483638"/>
            <p14:sldId id="2147483637"/>
            <p14:sldId id="2147483639"/>
            <p14:sldId id="2147483642"/>
            <p14:sldId id="2147483641"/>
            <p14:sldId id="2147483640"/>
            <p14:sldId id="256"/>
            <p14:sldId id="2147483643"/>
            <p14:sldId id="2147483481"/>
            <p14:sldId id="2147483647"/>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5DB"/>
    <a:srgbClr val="99CCFF"/>
    <a:srgbClr val="C2F6FA"/>
    <a:srgbClr val="FFCC99"/>
    <a:srgbClr val="E3CBF1"/>
    <a:srgbClr val="FAFBD9"/>
    <a:srgbClr val="F9B5F4"/>
    <a:srgbClr val="D3E9AF"/>
    <a:srgbClr val="05BC57"/>
    <a:srgbClr val="F3D1A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840F3A-4F95-43B0-AE18-AD5965C10F95}" v="3" dt="2026-01-28T21:13:12.582"/>
    <p1510:client id="{EA851319-6CF9-4F71-B09A-57FCB0E75613}" v="1591" dt="2026-01-29T19:23:45.137"/>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Estilo claro 1 - Acento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Estilo temático 1 - Énfasis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notesMaster" Target="notesMasters/notesMaster1.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ul Galan" userId="68d484d1-bcaf-4963-921a-3a6a9650e46f" providerId="ADAL" clId="{E7E35C23-BD01-47C1-B2FE-31D1DFF66AB6}"/>
    <pc:docChg chg="undo custSel modSld">
      <pc:chgData name="Saul Galan" userId="68d484d1-bcaf-4963-921a-3a6a9650e46f" providerId="ADAL" clId="{E7E35C23-BD01-47C1-B2FE-31D1DFF66AB6}" dt="2026-01-28T21:13:12.582" v="2" actId="1076"/>
      <pc:docMkLst>
        <pc:docMk/>
      </pc:docMkLst>
      <pc:sldChg chg="modSp mod">
        <pc:chgData name="Saul Galan" userId="68d484d1-bcaf-4963-921a-3a6a9650e46f" providerId="ADAL" clId="{E7E35C23-BD01-47C1-B2FE-31D1DFF66AB6}" dt="2026-01-28T21:13:12.582" v="2" actId="1076"/>
        <pc:sldMkLst>
          <pc:docMk/>
          <pc:sldMk cId="3972150036" sldId="2147483647"/>
        </pc:sldMkLst>
        <pc:spChg chg="mod">
          <ac:chgData name="Saul Galan" userId="68d484d1-bcaf-4963-921a-3a6a9650e46f" providerId="ADAL" clId="{E7E35C23-BD01-47C1-B2FE-31D1DFF66AB6}" dt="2026-01-28T21:13:12.582" v="2" actId="1076"/>
          <ac:spMkLst>
            <pc:docMk/>
            <pc:sldMk cId="3972150036" sldId="2147483647"/>
            <ac:spMk id="18" creationId="{AA26F9F6-24C4-068B-8787-8CC6A7ABEAD8}"/>
          </ac:spMkLst>
        </pc:spChg>
      </pc:sldChg>
    </pc:docChg>
  </pc:docChgLst>
  <pc:docChgLst>
    <pc:chgData name="Karen Villaca" userId="S::kvillaca_gsc@santander.com.pe::331067c4-6004-404b-a263-6517a121ddd5" providerId="AD" clId="Web-{9D338AD0-A185-5523-A4A3-AA06AD7DAB9A}"/>
    <pc:docChg chg="modSld sldOrd">
      <pc:chgData name="Karen Villaca" userId="S::kvillaca_gsc@santander.com.pe::331067c4-6004-404b-a263-6517a121ddd5" providerId="AD" clId="Web-{9D338AD0-A185-5523-A4A3-AA06AD7DAB9A}" dt="2026-01-23T15:56:02.311" v="54" actId="20577"/>
      <pc:docMkLst>
        <pc:docMk/>
      </pc:docMkLst>
      <pc:sldChg chg="ord">
        <pc:chgData name="Karen Villaca" userId="S::kvillaca_gsc@santander.com.pe::331067c4-6004-404b-a263-6517a121ddd5" providerId="AD" clId="Web-{9D338AD0-A185-5523-A4A3-AA06AD7DAB9A}" dt="2026-01-23T15:53:19.430" v="0"/>
        <pc:sldMkLst>
          <pc:docMk/>
          <pc:sldMk cId="2793447011" sldId="2147483606"/>
        </pc:sldMkLst>
      </pc:sldChg>
      <pc:sldChg chg="modSp">
        <pc:chgData name="Karen Villaca" userId="S::kvillaca_gsc@santander.com.pe::331067c4-6004-404b-a263-6517a121ddd5" providerId="AD" clId="Web-{9D338AD0-A185-5523-A4A3-AA06AD7DAB9A}" dt="2026-01-23T15:56:02.311" v="54" actId="20577"/>
        <pc:sldMkLst>
          <pc:docMk/>
          <pc:sldMk cId="1279343961" sldId="2147483643"/>
        </pc:sldMkLst>
        <pc:spChg chg="mod">
          <ac:chgData name="Karen Villaca" userId="S::kvillaca_gsc@santander.com.pe::331067c4-6004-404b-a263-6517a121ddd5" providerId="AD" clId="Web-{9D338AD0-A185-5523-A4A3-AA06AD7DAB9A}" dt="2026-01-23T15:56:02.311" v="54" actId="20577"/>
          <ac:spMkLst>
            <pc:docMk/>
            <pc:sldMk cId="1279343961" sldId="2147483643"/>
            <ac:spMk id="76" creationId="{AF2CBF2F-B3F6-98A2-627D-0D033CD7963D}"/>
          </ac:spMkLst>
        </pc:spChg>
      </pc:sldChg>
    </pc:docChg>
  </pc:docChgLst>
  <pc:docChgLst>
    <pc:chgData name="Abraham Rivera" userId="8e7d1955-7db3-40f7-911f-c4cfbf085fb2" providerId="ADAL" clId="{E639E250-2436-4370-97E9-9264F49096AD}"/>
    <pc:docChg chg="undo redo custSel addSld delSld modSld sldOrd modSection">
      <pc:chgData name="Abraham Rivera" userId="8e7d1955-7db3-40f7-911f-c4cfbf085fb2" providerId="ADAL" clId="{E639E250-2436-4370-97E9-9264F49096AD}" dt="2026-01-29T19:23:45.137" v="14285" actId="1035"/>
      <pc:docMkLst>
        <pc:docMk/>
      </pc:docMkLst>
      <pc:sldChg chg="add del">
        <pc:chgData name="Abraham Rivera" userId="8e7d1955-7db3-40f7-911f-c4cfbf085fb2" providerId="ADAL" clId="{E639E250-2436-4370-97E9-9264F49096AD}" dt="2026-01-28T19:32:46.146" v="13522"/>
        <pc:sldMkLst>
          <pc:docMk/>
          <pc:sldMk cId="2722653592" sldId="256"/>
        </pc:sldMkLst>
      </pc:sldChg>
      <pc:sldChg chg="addSp delSp modSp add mod">
        <pc:chgData name="Abraham Rivera" userId="8e7d1955-7db3-40f7-911f-c4cfbf085fb2" providerId="ADAL" clId="{E639E250-2436-4370-97E9-9264F49096AD}" dt="2026-01-29T19:23:45.137" v="14285" actId="1035"/>
        <pc:sldMkLst>
          <pc:docMk/>
          <pc:sldMk cId="3918619050" sldId="256"/>
        </pc:sldMkLst>
        <pc:spChg chg="mod">
          <ac:chgData name="Abraham Rivera" userId="8e7d1955-7db3-40f7-911f-c4cfbf085fb2" providerId="ADAL" clId="{E639E250-2436-4370-97E9-9264F49096AD}" dt="2026-01-29T19:02:13.888" v="14268" actId="20577"/>
          <ac:spMkLst>
            <pc:docMk/>
            <pc:sldMk cId="3918619050" sldId="256"/>
            <ac:spMk id="3" creationId="{ADFA1D46-9072-7DBF-8741-43931BA7FDF1}"/>
          </ac:spMkLst>
        </pc:spChg>
        <pc:spChg chg="mod">
          <ac:chgData name="Abraham Rivera" userId="8e7d1955-7db3-40f7-911f-c4cfbf085fb2" providerId="ADAL" clId="{E639E250-2436-4370-97E9-9264F49096AD}" dt="2026-01-29T19:02:24.740" v="14271" actId="20577"/>
          <ac:spMkLst>
            <pc:docMk/>
            <pc:sldMk cId="3918619050" sldId="256"/>
            <ac:spMk id="4" creationId="{47EE5A07-5B11-8B37-E017-88F38109994C}"/>
          </ac:spMkLst>
        </pc:spChg>
        <pc:spChg chg="mod">
          <ac:chgData name="Abraham Rivera" userId="8e7d1955-7db3-40f7-911f-c4cfbf085fb2" providerId="ADAL" clId="{E639E250-2436-4370-97E9-9264F49096AD}" dt="2026-01-29T14:02:04.430" v="14024" actId="1036"/>
          <ac:spMkLst>
            <pc:docMk/>
            <pc:sldMk cId="3918619050" sldId="256"/>
            <ac:spMk id="5" creationId="{A354197A-4F05-D63F-2C04-2E44C350715E}"/>
          </ac:spMkLst>
        </pc:spChg>
        <pc:spChg chg="mod">
          <ac:chgData name="Abraham Rivera" userId="8e7d1955-7db3-40f7-911f-c4cfbf085fb2" providerId="ADAL" clId="{E639E250-2436-4370-97E9-9264F49096AD}" dt="2026-01-29T14:02:06.633" v="14026" actId="1036"/>
          <ac:spMkLst>
            <pc:docMk/>
            <pc:sldMk cId="3918619050" sldId="256"/>
            <ac:spMk id="6" creationId="{CC38AD69-65DA-4539-77F3-E875BC61859E}"/>
          </ac:spMkLst>
        </pc:spChg>
        <pc:spChg chg="mod">
          <ac:chgData name="Abraham Rivera" userId="8e7d1955-7db3-40f7-911f-c4cfbf085fb2" providerId="ADAL" clId="{E639E250-2436-4370-97E9-9264F49096AD}" dt="2026-01-29T19:02:42.565" v="14272" actId="207"/>
          <ac:spMkLst>
            <pc:docMk/>
            <pc:sldMk cId="3918619050" sldId="256"/>
            <ac:spMk id="8" creationId="{A9571691-E967-BBE6-57CE-72DEB3F2C36E}"/>
          </ac:spMkLst>
        </pc:spChg>
        <pc:spChg chg="mod">
          <ac:chgData name="Abraham Rivera" userId="8e7d1955-7db3-40f7-911f-c4cfbf085fb2" providerId="ADAL" clId="{E639E250-2436-4370-97E9-9264F49096AD}" dt="2026-01-29T19:02:46.867" v="14273" actId="207"/>
          <ac:spMkLst>
            <pc:docMk/>
            <pc:sldMk cId="3918619050" sldId="256"/>
            <ac:spMk id="10" creationId="{3583484C-1F7A-B02B-D76C-8214F4E88233}"/>
          </ac:spMkLst>
        </pc:spChg>
        <pc:spChg chg="mod">
          <ac:chgData name="Abraham Rivera" userId="8e7d1955-7db3-40f7-911f-c4cfbf085fb2" providerId="ADAL" clId="{E639E250-2436-4370-97E9-9264F49096AD}" dt="2026-01-29T13:54:00.572" v="13865" actId="20577"/>
          <ac:spMkLst>
            <pc:docMk/>
            <pc:sldMk cId="3918619050" sldId="256"/>
            <ac:spMk id="12" creationId="{FBD4E9CF-1505-BD2A-D67F-F46319402A70}"/>
          </ac:spMkLst>
        </pc:spChg>
        <pc:spChg chg="mod">
          <ac:chgData name="Abraham Rivera" userId="8e7d1955-7db3-40f7-911f-c4cfbf085fb2" providerId="ADAL" clId="{E639E250-2436-4370-97E9-9264F49096AD}" dt="2026-01-29T13:54:41.456" v="13899" actId="14100"/>
          <ac:spMkLst>
            <pc:docMk/>
            <pc:sldMk cId="3918619050" sldId="256"/>
            <ac:spMk id="14" creationId="{1E91D281-2BE1-31F1-744D-5806F82008C7}"/>
          </ac:spMkLst>
        </pc:spChg>
        <pc:spChg chg="mod">
          <ac:chgData name="Abraham Rivera" userId="8e7d1955-7db3-40f7-911f-c4cfbf085fb2" providerId="ADAL" clId="{E639E250-2436-4370-97E9-9264F49096AD}" dt="2026-01-29T13:55:27.600" v="13919" actId="20577"/>
          <ac:spMkLst>
            <pc:docMk/>
            <pc:sldMk cId="3918619050" sldId="256"/>
            <ac:spMk id="16" creationId="{3866E3A7-8AB7-152B-131F-03B51EE5069E}"/>
          </ac:spMkLst>
        </pc:spChg>
        <pc:spChg chg="mod">
          <ac:chgData name="Abraham Rivera" userId="8e7d1955-7db3-40f7-911f-c4cfbf085fb2" providerId="ADAL" clId="{E639E250-2436-4370-97E9-9264F49096AD}" dt="2026-01-29T13:56:09.452" v="13934" actId="404"/>
          <ac:spMkLst>
            <pc:docMk/>
            <pc:sldMk cId="3918619050" sldId="256"/>
            <ac:spMk id="18" creationId="{8E8B7559-AD41-9115-EA3E-72C9BC7A5A11}"/>
          </ac:spMkLst>
        </pc:spChg>
        <pc:spChg chg="mod">
          <ac:chgData name="Abraham Rivera" userId="8e7d1955-7db3-40f7-911f-c4cfbf085fb2" providerId="ADAL" clId="{E639E250-2436-4370-97E9-9264F49096AD}" dt="2026-01-29T13:56:40.125" v="13952" actId="404"/>
          <ac:spMkLst>
            <pc:docMk/>
            <pc:sldMk cId="3918619050" sldId="256"/>
            <ac:spMk id="20" creationId="{FDE62095-C575-5BC4-6E11-082881504EDB}"/>
          </ac:spMkLst>
        </pc:spChg>
        <pc:spChg chg="mod">
          <ac:chgData name="Abraham Rivera" userId="8e7d1955-7db3-40f7-911f-c4cfbf085fb2" providerId="ADAL" clId="{E639E250-2436-4370-97E9-9264F49096AD}" dt="2026-01-29T13:58:27.066" v="13966" actId="404"/>
          <ac:spMkLst>
            <pc:docMk/>
            <pc:sldMk cId="3918619050" sldId="256"/>
            <ac:spMk id="22" creationId="{0AFE1D17-F7CA-D90F-39E2-308145D893B9}"/>
          </ac:spMkLst>
        </pc:spChg>
        <pc:spChg chg="mod">
          <ac:chgData name="Abraham Rivera" userId="8e7d1955-7db3-40f7-911f-c4cfbf085fb2" providerId="ADAL" clId="{E639E250-2436-4370-97E9-9264F49096AD}" dt="2026-01-29T13:58:30.402" v="13968" actId="404"/>
          <ac:spMkLst>
            <pc:docMk/>
            <pc:sldMk cId="3918619050" sldId="256"/>
            <ac:spMk id="24" creationId="{04E26388-55A5-DD5D-8C6E-69DC540992BC}"/>
          </ac:spMkLst>
        </pc:spChg>
        <pc:spChg chg="mod">
          <ac:chgData name="Abraham Rivera" userId="8e7d1955-7db3-40f7-911f-c4cfbf085fb2" providerId="ADAL" clId="{E639E250-2436-4370-97E9-9264F49096AD}" dt="2026-01-29T13:58:39.296" v="13973" actId="404"/>
          <ac:spMkLst>
            <pc:docMk/>
            <pc:sldMk cId="3918619050" sldId="256"/>
            <ac:spMk id="26" creationId="{0C165C69-AE91-9111-DE21-EAE9C13D4462}"/>
          </ac:spMkLst>
        </pc:spChg>
        <pc:spChg chg="mod">
          <ac:chgData name="Abraham Rivera" userId="8e7d1955-7db3-40f7-911f-c4cfbf085fb2" providerId="ADAL" clId="{E639E250-2436-4370-97E9-9264F49096AD}" dt="2026-01-29T13:58:52.663" v="13978" actId="404"/>
          <ac:spMkLst>
            <pc:docMk/>
            <pc:sldMk cId="3918619050" sldId="256"/>
            <ac:spMk id="28" creationId="{46DEA237-7A3C-E574-4F70-BD1C0672C855}"/>
          </ac:spMkLst>
        </pc:spChg>
        <pc:spChg chg="mod">
          <ac:chgData name="Abraham Rivera" userId="8e7d1955-7db3-40f7-911f-c4cfbf085fb2" providerId="ADAL" clId="{E639E250-2436-4370-97E9-9264F49096AD}" dt="2026-01-29T13:59:01.785" v="13983" actId="404"/>
          <ac:spMkLst>
            <pc:docMk/>
            <pc:sldMk cId="3918619050" sldId="256"/>
            <ac:spMk id="30" creationId="{745A8558-9902-64D8-C6ED-6D0673CDA5C1}"/>
          </ac:spMkLst>
        </pc:spChg>
        <pc:spChg chg="mod">
          <ac:chgData name="Abraham Rivera" userId="8e7d1955-7db3-40f7-911f-c4cfbf085fb2" providerId="ADAL" clId="{E639E250-2436-4370-97E9-9264F49096AD}" dt="2026-01-29T14:00:08.295" v="13994" actId="114"/>
          <ac:spMkLst>
            <pc:docMk/>
            <pc:sldMk cId="3918619050" sldId="256"/>
            <ac:spMk id="32" creationId="{C0547634-AC1F-D736-EEF5-8FB07081EA5C}"/>
          </ac:spMkLst>
        </pc:spChg>
        <pc:spChg chg="mod">
          <ac:chgData name="Abraham Rivera" userId="8e7d1955-7db3-40f7-911f-c4cfbf085fb2" providerId="ADAL" clId="{E639E250-2436-4370-97E9-9264F49096AD}" dt="2026-01-29T14:11:29.466" v="14035" actId="404"/>
          <ac:spMkLst>
            <pc:docMk/>
            <pc:sldMk cId="3918619050" sldId="256"/>
            <ac:spMk id="34" creationId="{9806723E-A277-97AD-EDAE-F1ACB2364010}"/>
          </ac:spMkLst>
        </pc:spChg>
        <pc:spChg chg="mod">
          <ac:chgData name="Abraham Rivera" userId="8e7d1955-7db3-40f7-911f-c4cfbf085fb2" providerId="ADAL" clId="{E639E250-2436-4370-97E9-9264F49096AD}" dt="2026-01-29T14:11:49.510" v="14040" actId="20577"/>
          <ac:spMkLst>
            <pc:docMk/>
            <pc:sldMk cId="3918619050" sldId="256"/>
            <ac:spMk id="36" creationId="{D0E34F2F-053A-E9E7-B13F-46550460190B}"/>
          </ac:spMkLst>
        </pc:spChg>
        <pc:spChg chg="mod">
          <ac:chgData name="Abraham Rivera" userId="8e7d1955-7db3-40f7-911f-c4cfbf085fb2" providerId="ADAL" clId="{E639E250-2436-4370-97E9-9264F49096AD}" dt="2026-01-29T14:12:01.097" v="14045" actId="404"/>
          <ac:spMkLst>
            <pc:docMk/>
            <pc:sldMk cId="3918619050" sldId="256"/>
            <ac:spMk id="38" creationId="{A186BAD4-1477-2BE7-6A43-F98078789F5A}"/>
          </ac:spMkLst>
        </pc:spChg>
        <pc:spChg chg="mod">
          <ac:chgData name="Abraham Rivera" userId="8e7d1955-7db3-40f7-911f-c4cfbf085fb2" providerId="ADAL" clId="{E639E250-2436-4370-97E9-9264F49096AD}" dt="2026-01-29T19:23:45.137" v="14285" actId="1035"/>
          <ac:spMkLst>
            <pc:docMk/>
            <pc:sldMk cId="3918619050" sldId="256"/>
            <ac:spMk id="40" creationId="{0F0FB1E8-02A0-FB18-A170-3EA20EE7FD3C}"/>
          </ac:spMkLst>
        </pc:spChg>
        <pc:spChg chg="ord">
          <ac:chgData name="Abraham Rivera" userId="8e7d1955-7db3-40f7-911f-c4cfbf085fb2" providerId="ADAL" clId="{E639E250-2436-4370-97E9-9264F49096AD}" dt="2026-01-29T19:22:53.952" v="14279" actId="166"/>
          <ac:spMkLst>
            <pc:docMk/>
            <pc:sldMk cId="3918619050" sldId="256"/>
            <ac:spMk id="41" creationId="{72DD9D3C-F8A0-172E-1417-3B24274F835E}"/>
          </ac:spMkLst>
        </pc:spChg>
        <pc:spChg chg="mod">
          <ac:chgData name="Abraham Rivera" userId="8e7d1955-7db3-40f7-911f-c4cfbf085fb2" providerId="ADAL" clId="{E639E250-2436-4370-97E9-9264F49096AD}" dt="2026-01-29T19:23:27.378" v="14284" actId="1076"/>
          <ac:spMkLst>
            <pc:docMk/>
            <pc:sldMk cId="3918619050" sldId="256"/>
            <ac:spMk id="42" creationId="{2A2287D9-7E87-542B-594E-B6547D40B1B8}"/>
          </ac:spMkLst>
        </pc:spChg>
        <pc:spChg chg="mod">
          <ac:chgData name="Abraham Rivera" userId="8e7d1955-7db3-40f7-911f-c4cfbf085fb2" providerId="ADAL" clId="{E639E250-2436-4370-97E9-9264F49096AD}" dt="2026-01-29T17:32:58.111" v="14088" actId="404"/>
          <ac:spMkLst>
            <pc:docMk/>
            <pc:sldMk cId="3918619050" sldId="256"/>
            <ac:spMk id="44" creationId="{361F1371-F245-25A5-4D72-72BBBE1D18AB}"/>
          </ac:spMkLst>
        </pc:spChg>
        <pc:spChg chg="mod">
          <ac:chgData name="Abraham Rivera" userId="8e7d1955-7db3-40f7-911f-c4cfbf085fb2" providerId="ADAL" clId="{E639E250-2436-4370-97E9-9264F49096AD}" dt="2026-01-29T17:33:28.859" v="14094" actId="404"/>
          <ac:spMkLst>
            <pc:docMk/>
            <pc:sldMk cId="3918619050" sldId="256"/>
            <ac:spMk id="46" creationId="{983BB00C-36FC-EE74-255E-94BF5501D128}"/>
          </ac:spMkLst>
        </pc:spChg>
        <pc:spChg chg="mod">
          <ac:chgData name="Abraham Rivera" userId="8e7d1955-7db3-40f7-911f-c4cfbf085fb2" providerId="ADAL" clId="{E639E250-2436-4370-97E9-9264F49096AD}" dt="2026-01-29T17:33:44.285" v="14099" actId="404"/>
          <ac:spMkLst>
            <pc:docMk/>
            <pc:sldMk cId="3918619050" sldId="256"/>
            <ac:spMk id="48" creationId="{71BFF73C-FD57-6BE9-30CF-80689AEE8D53}"/>
          </ac:spMkLst>
        </pc:spChg>
        <pc:spChg chg="mod">
          <ac:chgData name="Abraham Rivera" userId="8e7d1955-7db3-40f7-911f-c4cfbf085fb2" providerId="ADAL" clId="{E639E250-2436-4370-97E9-9264F49096AD}" dt="2026-01-29T17:34:00.978" v="14105" actId="404"/>
          <ac:spMkLst>
            <pc:docMk/>
            <pc:sldMk cId="3918619050" sldId="256"/>
            <ac:spMk id="50" creationId="{EFFC529F-4324-5130-635C-5D8B86ED86BD}"/>
          </ac:spMkLst>
        </pc:spChg>
        <pc:spChg chg="mod">
          <ac:chgData name="Abraham Rivera" userId="8e7d1955-7db3-40f7-911f-c4cfbf085fb2" providerId="ADAL" clId="{E639E250-2436-4370-97E9-9264F49096AD}" dt="2026-01-29T17:34:21.535" v="14122" actId="404"/>
          <ac:spMkLst>
            <pc:docMk/>
            <pc:sldMk cId="3918619050" sldId="256"/>
            <ac:spMk id="52" creationId="{C48F7E4B-A962-0A99-8D86-D3D5533BF5A9}"/>
          </ac:spMkLst>
        </pc:spChg>
        <pc:spChg chg="mod">
          <ac:chgData name="Abraham Rivera" userId="8e7d1955-7db3-40f7-911f-c4cfbf085fb2" providerId="ADAL" clId="{E639E250-2436-4370-97E9-9264F49096AD}" dt="2026-01-29T17:34:52.560" v="14128" actId="404"/>
          <ac:spMkLst>
            <pc:docMk/>
            <pc:sldMk cId="3918619050" sldId="256"/>
            <ac:spMk id="54" creationId="{3771998C-A5AC-EB78-4327-D3201F324916}"/>
          </ac:spMkLst>
        </pc:spChg>
        <pc:spChg chg="mod">
          <ac:chgData name="Abraham Rivera" userId="8e7d1955-7db3-40f7-911f-c4cfbf085fb2" providerId="ADAL" clId="{E639E250-2436-4370-97E9-9264F49096AD}" dt="2026-01-29T17:35:01.079" v="14133" actId="404"/>
          <ac:spMkLst>
            <pc:docMk/>
            <pc:sldMk cId="3918619050" sldId="256"/>
            <ac:spMk id="56" creationId="{87780FE7-A138-C3DC-6991-2B36B87C9C66}"/>
          </ac:spMkLst>
        </pc:spChg>
        <pc:spChg chg="mod">
          <ac:chgData name="Abraham Rivera" userId="8e7d1955-7db3-40f7-911f-c4cfbf085fb2" providerId="ADAL" clId="{E639E250-2436-4370-97E9-9264F49096AD}" dt="2026-01-29T17:35:07.562" v="14138" actId="404"/>
          <ac:spMkLst>
            <pc:docMk/>
            <pc:sldMk cId="3918619050" sldId="256"/>
            <ac:spMk id="58" creationId="{3363A692-0373-C190-7D52-54CFB7604131}"/>
          </ac:spMkLst>
        </pc:spChg>
        <pc:spChg chg="mod">
          <ac:chgData name="Abraham Rivera" userId="8e7d1955-7db3-40f7-911f-c4cfbf085fb2" providerId="ADAL" clId="{E639E250-2436-4370-97E9-9264F49096AD}" dt="2026-01-29T17:35:31.692" v="14147" actId="404"/>
          <ac:spMkLst>
            <pc:docMk/>
            <pc:sldMk cId="3918619050" sldId="256"/>
            <ac:spMk id="60" creationId="{98072829-42FA-36F9-8015-EA50D8D92901}"/>
          </ac:spMkLst>
        </pc:spChg>
        <pc:spChg chg="mod">
          <ac:chgData name="Abraham Rivera" userId="8e7d1955-7db3-40f7-911f-c4cfbf085fb2" providerId="ADAL" clId="{E639E250-2436-4370-97E9-9264F49096AD}" dt="2026-01-29T17:35:57.762" v="14160" actId="20577"/>
          <ac:spMkLst>
            <pc:docMk/>
            <pc:sldMk cId="3918619050" sldId="256"/>
            <ac:spMk id="62" creationId="{82EF1466-31DC-2F29-0F14-3C45088AD9B6}"/>
          </ac:spMkLst>
        </pc:spChg>
        <pc:spChg chg="mod">
          <ac:chgData name="Abraham Rivera" userId="8e7d1955-7db3-40f7-911f-c4cfbf085fb2" providerId="ADAL" clId="{E639E250-2436-4370-97E9-9264F49096AD}" dt="2026-01-29T18:59:48.023" v="14266" actId="207"/>
          <ac:spMkLst>
            <pc:docMk/>
            <pc:sldMk cId="3918619050" sldId="256"/>
            <ac:spMk id="64" creationId="{417001B1-8725-7D54-6151-1A80865EDF42}"/>
          </ac:spMkLst>
        </pc:spChg>
        <pc:spChg chg="mod">
          <ac:chgData name="Abraham Rivera" userId="8e7d1955-7db3-40f7-911f-c4cfbf085fb2" providerId="ADAL" clId="{E639E250-2436-4370-97E9-9264F49096AD}" dt="2026-01-29T17:36:45.451" v="14191" actId="404"/>
          <ac:spMkLst>
            <pc:docMk/>
            <pc:sldMk cId="3918619050" sldId="256"/>
            <ac:spMk id="66" creationId="{E9800B7B-B137-153A-7B63-06D9776A42F4}"/>
          </ac:spMkLst>
        </pc:spChg>
        <pc:spChg chg="mod">
          <ac:chgData name="Abraham Rivera" userId="8e7d1955-7db3-40f7-911f-c4cfbf085fb2" providerId="ADAL" clId="{E639E250-2436-4370-97E9-9264F49096AD}" dt="2026-01-29T18:46:23.543" v="14255" actId="207"/>
          <ac:spMkLst>
            <pc:docMk/>
            <pc:sldMk cId="3918619050" sldId="256"/>
            <ac:spMk id="67" creationId="{47A77D82-201F-0C57-5243-B486E38EA3B8}"/>
          </ac:spMkLst>
        </pc:spChg>
        <pc:spChg chg="mod">
          <ac:chgData name="Abraham Rivera" userId="8e7d1955-7db3-40f7-911f-c4cfbf085fb2" providerId="ADAL" clId="{E639E250-2436-4370-97E9-9264F49096AD}" dt="2026-01-29T17:36:48.022" v="14193" actId="404"/>
          <ac:spMkLst>
            <pc:docMk/>
            <pc:sldMk cId="3918619050" sldId="256"/>
            <ac:spMk id="68" creationId="{6864A90F-DDA4-70E6-700F-C42D5C29A53F}"/>
          </ac:spMkLst>
        </pc:spChg>
        <pc:spChg chg="mod">
          <ac:chgData name="Abraham Rivera" userId="8e7d1955-7db3-40f7-911f-c4cfbf085fb2" providerId="ADAL" clId="{E639E250-2436-4370-97E9-9264F49096AD}" dt="2026-01-29T18:46:28.579" v="14256" actId="207"/>
          <ac:spMkLst>
            <pc:docMk/>
            <pc:sldMk cId="3918619050" sldId="256"/>
            <ac:spMk id="69" creationId="{26B2B87D-E168-2142-08E3-A380BAD894E3}"/>
          </ac:spMkLst>
        </pc:spChg>
        <pc:spChg chg="mod">
          <ac:chgData name="Abraham Rivera" userId="8e7d1955-7db3-40f7-911f-c4cfbf085fb2" providerId="ADAL" clId="{E639E250-2436-4370-97E9-9264F49096AD}" dt="2026-01-29T17:36:50.243" v="14195" actId="404"/>
          <ac:spMkLst>
            <pc:docMk/>
            <pc:sldMk cId="3918619050" sldId="256"/>
            <ac:spMk id="70" creationId="{26CFDC5D-F836-FE6A-B498-E339054A2864}"/>
          </ac:spMkLst>
        </pc:spChg>
        <pc:spChg chg="mod">
          <ac:chgData name="Abraham Rivera" userId="8e7d1955-7db3-40f7-911f-c4cfbf085fb2" providerId="ADAL" clId="{E639E250-2436-4370-97E9-9264F49096AD}" dt="2026-01-29T18:46:33.383" v="14257" actId="207"/>
          <ac:spMkLst>
            <pc:docMk/>
            <pc:sldMk cId="3918619050" sldId="256"/>
            <ac:spMk id="71" creationId="{DAB05918-A746-7433-7E09-C13D280C3D45}"/>
          </ac:spMkLst>
        </pc:spChg>
        <pc:spChg chg="mod">
          <ac:chgData name="Abraham Rivera" userId="8e7d1955-7db3-40f7-911f-c4cfbf085fb2" providerId="ADAL" clId="{E639E250-2436-4370-97E9-9264F49096AD}" dt="2026-01-29T17:37:31.371" v="14228" actId="20577"/>
          <ac:spMkLst>
            <pc:docMk/>
            <pc:sldMk cId="3918619050" sldId="256"/>
            <ac:spMk id="72" creationId="{433A59FD-CAF9-A778-AF37-2E11DF4BB852}"/>
          </ac:spMkLst>
        </pc:spChg>
        <pc:spChg chg="mod">
          <ac:chgData name="Abraham Rivera" userId="8e7d1955-7db3-40f7-911f-c4cfbf085fb2" providerId="ADAL" clId="{E639E250-2436-4370-97E9-9264F49096AD}" dt="2026-01-29T17:37:48.797" v="14230" actId="20577"/>
          <ac:spMkLst>
            <pc:docMk/>
            <pc:sldMk cId="3918619050" sldId="256"/>
            <ac:spMk id="74" creationId="{D9A9753F-09CC-E7EB-4A4D-39DE4C290BB1}"/>
          </ac:spMkLst>
        </pc:spChg>
        <pc:spChg chg="mod">
          <ac:chgData name="Abraham Rivera" userId="8e7d1955-7db3-40f7-911f-c4cfbf085fb2" providerId="ADAL" clId="{E639E250-2436-4370-97E9-9264F49096AD}" dt="2026-01-29T17:38:18.649" v="14254" actId="404"/>
          <ac:spMkLst>
            <pc:docMk/>
            <pc:sldMk cId="3918619050" sldId="256"/>
            <ac:spMk id="76" creationId="{8AF64BA8-CA3D-96B4-1BFE-E1A843C61B2C}"/>
          </ac:spMkLst>
        </pc:spChg>
        <pc:spChg chg="mod">
          <ac:chgData name="Abraham Rivera" userId="8e7d1955-7db3-40f7-911f-c4cfbf085fb2" providerId="ADAL" clId="{E639E250-2436-4370-97E9-9264F49096AD}" dt="2026-01-29T19:22:57.361" v="14281" actId="1076"/>
          <ac:spMkLst>
            <pc:docMk/>
            <pc:sldMk cId="3918619050" sldId="256"/>
            <ac:spMk id="100" creationId="{4C658659-0A59-4E6D-CB5B-E81AEE47B9DC}"/>
          </ac:spMkLst>
        </pc:spChg>
        <pc:spChg chg="add del">
          <ac:chgData name="Abraham Rivera" userId="8e7d1955-7db3-40f7-911f-c4cfbf085fb2" providerId="ADAL" clId="{E639E250-2436-4370-97E9-9264F49096AD}" dt="2026-01-29T15:45:30.212" v="14060" actId="478"/>
          <ac:spMkLst>
            <pc:docMk/>
            <pc:sldMk cId="3918619050" sldId="256"/>
            <ac:spMk id="114" creationId="{239AF511-6EE6-9B52-858E-D87F91DD6A2B}"/>
          </ac:spMkLst>
        </pc:spChg>
        <pc:cxnChg chg="mod">
          <ac:chgData name="Abraham Rivera" userId="8e7d1955-7db3-40f7-911f-c4cfbf085fb2" providerId="ADAL" clId="{E639E250-2436-4370-97E9-9264F49096AD}" dt="2026-01-29T13:54:41.456" v="13899" actId="14100"/>
          <ac:cxnSpMkLst>
            <pc:docMk/>
            <pc:sldMk cId="3918619050" sldId="256"/>
            <ac:cxnSpMk id="89" creationId="{C2C429A0-44BE-31A3-6EE3-17D06ABCE916}"/>
          </ac:cxnSpMkLst>
        </pc:cxnChg>
      </pc:sldChg>
      <pc:sldChg chg="addSp delSp modSp add mod">
        <pc:chgData name="Abraham Rivera" userId="8e7d1955-7db3-40f7-911f-c4cfbf085fb2" providerId="ADAL" clId="{E639E250-2436-4370-97E9-9264F49096AD}" dt="2026-01-23T15:01:18.729" v="11914" actId="1076"/>
        <pc:sldMkLst>
          <pc:docMk/>
          <pc:sldMk cId="187628753" sldId="2147483481"/>
        </pc:sldMkLst>
        <pc:spChg chg="mod">
          <ac:chgData name="Abraham Rivera" userId="8e7d1955-7db3-40f7-911f-c4cfbf085fb2" providerId="ADAL" clId="{E639E250-2436-4370-97E9-9264F49096AD}" dt="2026-01-23T14:45:32.177" v="11351" actId="20577"/>
          <ac:spMkLst>
            <pc:docMk/>
            <pc:sldMk cId="187628753" sldId="2147483481"/>
            <ac:spMk id="3" creationId="{31B2E776-2892-C8DB-ECC5-C284033F279B}"/>
          </ac:spMkLst>
        </pc:spChg>
        <pc:spChg chg="mod">
          <ac:chgData name="Abraham Rivera" userId="8e7d1955-7db3-40f7-911f-c4cfbf085fb2" providerId="ADAL" clId="{E639E250-2436-4370-97E9-9264F49096AD}" dt="2026-01-23T14:45:37.021" v="11364" actId="20577"/>
          <ac:spMkLst>
            <pc:docMk/>
            <pc:sldMk cId="187628753" sldId="2147483481"/>
            <ac:spMk id="6" creationId="{4CA8395C-B504-D134-DA4A-1B416FEAE5DC}"/>
          </ac:spMkLst>
        </pc:spChg>
        <pc:spChg chg="mod">
          <ac:chgData name="Abraham Rivera" userId="8e7d1955-7db3-40f7-911f-c4cfbf085fb2" providerId="ADAL" clId="{E639E250-2436-4370-97E9-9264F49096AD}" dt="2026-01-23T15:01:18.729" v="11914" actId="1076"/>
          <ac:spMkLst>
            <pc:docMk/>
            <pc:sldMk cId="187628753" sldId="2147483481"/>
            <ac:spMk id="8" creationId="{DFAB1B3B-1204-4633-5AE6-5F161B4399DC}"/>
          </ac:spMkLst>
        </pc:spChg>
        <pc:spChg chg="mod">
          <ac:chgData name="Abraham Rivera" userId="8e7d1955-7db3-40f7-911f-c4cfbf085fb2" providerId="ADAL" clId="{E639E250-2436-4370-97E9-9264F49096AD}" dt="2026-01-23T14:58:49.345" v="11910" actId="1076"/>
          <ac:spMkLst>
            <pc:docMk/>
            <pc:sldMk cId="187628753" sldId="2147483481"/>
            <ac:spMk id="14" creationId="{2A0F312A-9196-1806-48E4-578CA3653E4D}"/>
          </ac:spMkLst>
        </pc:spChg>
        <pc:spChg chg="mod">
          <ac:chgData name="Abraham Rivera" userId="8e7d1955-7db3-40f7-911f-c4cfbf085fb2" providerId="ADAL" clId="{E639E250-2436-4370-97E9-9264F49096AD}" dt="2026-01-16T16:31:42.679" v="10147" actId="1076"/>
          <ac:spMkLst>
            <pc:docMk/>
            <pc:sldMk cId="187628753" sldId="2147483481"/>
            <ac:spMk id="16" creationId="{C0F770C3-5F68-4A09-E380-0CB914102BDE}"/>
          </ac:spMkLst>
        </pc:spChg>
        <pc:spChg chg="mod">
          <ac:chgData name="Abraham Rivera" userId="8e7d1955-7db3-40f7-911f-c4cfbf085fb2" providerId="ADAL" clId="{E639E250-2436-4370-97E9-9264F49096AD}" dt="2026-01-23T14:58:49.345" v="11910" actId="1076"/>
          <ac:spMkLst>
            <pc:docMk/>
            <pc:sldMk cId="187628753" sldId="2147483481"/>
            <ac:spMk id="17" creationId="{F956825E-28A8-ED6C-F5BC-2C537503FD46}"/>
          </ac:spMkLst>
        </pc:spChg>
        <pc:spChg chg="mod">
          <ac:chgData name="Abraham Rivera" userId="8e7d1955-7db3-40f7-911f-c4cfbf085fb2" providerId="ADAL" clId="{E639E250-2436-4370-97E9-9264F49096AD}" dt="2026-01-23T14:58:49.345" v="11910" actId="1076"/>
          <ac:spMkLst>
            <pc:docMk/>
            <pc:sldMk cId="187628753" sldId="2147483481"/>
            <ac:spMk id="18" creationId="{C8D36457-455E-05A3-D362-249F7B7410E6}"/>
          </ac:spMkLst>
        </pc:spChg>
        <pc:spChg chg="mod">
          <ac:chgData name="Abraham Rivera" userId="8e7d1955-7db3-40f7-911f-c4cfbf085fb2" providerId="ADAL" clId="{E639E250-2436-4370-97E9-9264F49096AD}" dt="2026-01-23T14:58:49.345" v="11910" actId="1076"/>
          <ac:spMkLst>
            <pc:docMk/>
            <pc:sldMk cId="187628753" sldId="2147483481"/>
            <ac:spMk id="19" creationId="{89096F00-39EB-7A8F-8917-5B4E865E04E8}"/>
          </ac:spMkLst>
        </pc:spChg>
        <pc:spChg chg="mod">
          <ac:chgData name="Abraham Rivera" userId="8e7d1955-7db3-40f7-911f-c4cfbf085fb2" providerId="ADAL" clId="{E639E250-2436-4370-97E9-9264F49096AD}" dt="2026-01-23T14:58:49.345" v="11910" actId="1076"/>
          <ac:spMkLst>
            <pc:docMk/>
            <pc:sldMk cId="187628753" sldId="2147483481"/>
            <ac:spMk id="20" creationId="{92C4515F-DA18-41BD-6354-3257EC832740}"/>
          </ac:spMkLst>
        </pc:spChg>
        <pc:spChg chg="mod">
          <ac:chgData name="Abraham Rivera" userId="8e7d1955-7db3-40f7-911f-c4cfbf085fb2" providerId="ADAL" clId="{E639E250-2436-4370-97E9-9264F49096AD}" dt="2026-01-19T13:57:01.733" v="10406" actId="207"/>
          <ac:spMkLst>
            <pc:docMk/>
            <pc:sldMk cId="187628753" sldId="2147483481"/>
            <ac:spMk id="21" creationId="{D9103F1E-9FFF-0134-BCB6-583E3AFAB525}"/>
          </ac:spMkLst>
        </pc:spChg>
        <pc:spChg chg="mod">
          <ac:chgData name="Abraham Rivera" userId="8e7d1955-7db3-40f7-911f-c4cfbf085fb2" providerId="ADAL" clId="{E639E250-2436-4370-97E9-9264F49096AD}" dt="2026-01-23T14:58:49.345" v="11910" actId="1076"/>
          <ac:spMkLst>
            <pc:docMk/>
            <pc:sldMk cId="187628753" sldId="2147483481"/>
            <ac:spMk id="22" creationId="{F57334F5-66A4-B554-560C-BE33192E3043}"/>
          </ac:spMkLst>
        </pc:spChg>
        <pc:spChg chg="add mod">
          <ac:chgData name="Abraham Rivera" userId="8e7d1955-7db3-40f7-911f-c4cfbf085fb2" providerId="ADAL" clId="{E639E250-2436-4370-97E9-9264F49096AD}" dt="2026-01-23T15:01:07.620" v="11913" actId="1076"/>
          <ac:spMkLst>
            <pc:docMk/>
            <pc:sldMk cId="187628753" sldId="2147483481"/>
            <ac:spMk id="23" creationId="{DDD35580-EB8E-AD60-1C80-02CDC066E79E}"/>
          </ac:spMkLst>
        </pc:spChg>
        <pc:spChg chg="mod">
          <ac:chgData name="Abraham Rivera" userId="8e7d1955-7db3-40f7-911f-c4cfbf085fb2" providerId="ADAL" clId="{E639E250-2436-4370-97E9-9264F49096AD}" dt="2026-01-23T14:39:05.125" v="11122" actId="20577"/>
          <ac:spMkLst>
            <pc:docMk/>
            <pc:sldMk cId="187628753" sldId="2147483481"/>
            <ac:spMk id="24" creationId="{9422200E-6841-E07E-4CEC-AF763921BD7D}"/>
          </ac:spMkLst>
        </pc:spChg>
        <pc:spChg chg="mod">
          <ac:chgData name="Abraham Rivera" userId="8e7d1955-7db3-40f7-911f-c4cfbf085fb2" providerId="ADAL" clId="{E639E250-2436-4370-97E9-9264F49096AD}" dt="2026-01-23T15:00:47.249" v="11912" actId="1076"/>
          <ac:spMkLst>
            <pc:docMk/>
            <pc:sldMk cId="187628753" sldId="2147483481"/>
            <ac:spMk id="25" creationId="{1934914B-2381-08F8-E0FF-277A9873A6DB}"/>
          </ac:spMkLst>
        </pc:spChg>
        <pc:spChg chg="add mod">
          <ac:chgData name="Abraham Rivera" userId="8e7d1955-7db3-40f7-911f-c4cfbf085fb2" providerId="ADAL" clId="{E639E250-2436-4370-97E9-9264F49096AD}" dt="2026-01-23T14:58:49.345" v="11910" actId="1076"/>
          <ac:spMkLst>
            <pc:docMk/>
            <pc:sldMk cId="187628753" sldId="2147483481"/>
            <ac:spMk id="26" creationId="{DA336E3B-191C-3095-34D8-BD15B929B76B}"/>
          </ac:spMkLst>
        </pc:spChg>
        <pc:spChg chg="mod">
          <ac:chgData name="Abraham Rivera" userId="8e7d1955-7db3-40f7-911f-c4cfbf085fb2" providerId="ADAL" clId="{E639E250-2436-4370-97E9-9264F49096AD}" dt="2026-01-23T14:42:29.895" v="11165" actId="1076"/>
          <ac:spMkLst>
            <pc:docMk/>
            <pc:sldMk cId="187628753" sldId="2147483481"/>
            <ac:spMk id="27" creationId="{69138CD3-8373-EE3E-D2E0-1D9CE96D87EB}"/>
          </ac:spMkLst>
        </pc:spChg>
        <pc:spChg chg="add mod">
          <ac:chgData name="Abraham Rivera" userId="8e7d1955-7db3-40f7-911f-c4cfbf085fb2" providerId="ADAL" clId="{E639E250-2436-4370-97E9-9264F49096AD}" dt="2026-01-23T14:58:49.345" v="11910" actId="1076"/>
          <ac:spMkLst>
            <pc:docMk/>
            <pc:sldMk cId="187628753" sldId="2147483481"/>
            <ac:spMk id="29" creationId="{6A1F32A0-9D9C-387C-0749-2EC48FF53906}"/>
          </ac:spMkLst>
        </pc:spChg>
        <pc:spChg chg="mod">
          <ac:chgData name="Abraham Rivera" userId="8e7d1955-7db3-40f7-911f-c4cfbf085fb2" providerId="ADAL" clId="{E639E250-2436-4370-97E9-9264F49096AD}" dt="2026-01-23T14:35:28.849" v="10908" actId="20577"/>
          <ac:spMkLst>
            <pc:docMk/>
            <pc:sldMk cId="187628753" sldId="2147483481"/>
            <ac:spMk id="30" creationId="{E2F43911-4B95-FAC3-5763-07B86CA9A4AD}"/>
          </ac:spMkLst>
        </pc:spChg>
        <pc:spChg chg="mod">
          <ac:chgData name="Abraham Rivera" userId="8e7d1955-7db3-40f7-911f-c4cfbf085fb2" providerId="ADAL" clId="{E639E250-2436-4370-97E9-9264F49096AD}" dt="2026-01-23T14:48:23.274" v="11479" actId="1076"/>
          <ac:spMkLst>
            <pc:docMk/>
            <pc:sldMk cId="187628753" sldId="2147483481"/>
            <ac:spMk id="31" creationId="{9014B789-A64D-0B35-DA2C-7095922AF10C}"/>
          </ac:spMkLst>
        </pc:spChg>
        <pc:spChg chg="mod">
          <ac:chgData name="Abraham Rivera" userId="8e7d1955-7db3-40f7-911f-c4cfbf085fb2" providerId="ADAL" clId="{E639E250-2436-4370-97E9-9264F49096AD}" dt="2026-01-23T14:43:09.869" v="11220" actId="20577"/>
          <ac:spMkLst>
            <pc:docMk/>
            <pc:sldMk cId="187628753" sldId="2147483481"/>
            <ac:spMk id="32" creationId="{69C464C2-EE73-BC3A-FAB7-594C098CD9AE}"/>
          </ac:spMkLst>
        </pc:spChg>
        <pc:spChg chg="mod">
          <ac:chgData name="Abraham Rivera" userId="8e7d1955-7db3-40f7-911f-c4cfbf085fb2" providerId="ADAL" clId="{E639E250-2436-4370-97E9-9264F49096AD}" dt="2026-01-23T14:48:23.274" v="11479" actId="1076"/>
          <ac:spMkLst>
            <pc:docMk/>
            <pc:sldMk cId="187628753" sldId="2147483481"/>
            <ac:spMk id="33" creationId="{AF44D176-1DA4-91E4-06F9-6771D7D543BF}"/>
          </ac:spMkLst>
        </pc:spChg>
        <pc:spChg chg="mod">
          <ac:chgData name="Abraham Rivera" userId="8e7d1955-7db3-40f7-911f-c4cfbf085fb2" providerId="ADAL" clId="{E639E250-2436-4370-97E9-9264F49096AD}" dt="2026-01-23T14:48:23.274" v="11479" actId="1076"/>
          <ac:spMkLst>
            <pc:docMk/>
            <pc:sldMk cId="187628753" sldId="2147483481"/>
            <ac:spMk id="34" creationId="{BFFBBB33-3018-42BC-7B42-B20EAFCC1807}"/>
          </ac:spMkLst>
        </pc:spChg>
        <pc:spChg chg="mod">
          <ac:chgData name="Abraham Rivera" userId="8e7d1955-7db3-40f7-911f-c4cfbf085fb2" providerId="ADAL" clId="{E639E250-2436-4370-97E9-9264F49096AD}" dt="2026-01-23T14:43:15.664" v="11221" actId="1076"/>
          <ac:spMkLst>
            <pc:docMk/>
            <pc:sldMk cId="187628753" sldId="2147483481"/>
            <ac:spMk id="36" creationId="{CC65946E-2A41-4F29-F8FE-2BB5FB423C15}"/>
          </ac:spMkLst>
        </pc:spChg>
        <pc:spChg chg="mod">
          <ac:chgData name="Abraham Rivera" userId="8e7d1955-7db3-40f7-911f-c4cfbf085fb2" providerId="ADAL" clId="{E639E250-2436-4370-97E9-9264F49096AD}" dt="2026-01-23T14:58:59.392" v="11911" actId="1076"/>
          <ac:spMkLst>
            <pc:docMk/>
            <pc:sldMk cId="187628753" sldId="2147483481"/>
            <ac:spMk id="37" creationId="{08A85C9D-2C05-99D1-648A-FF850505DC19}"/>
          </ac:spMkLst>
        </pc:spChg>
        <pc:spChg chg="mod">
          <ac:chgData name="Abraham Rivera" userId="8e7d1955-7db3-40f7-911f-c4cfbf085fb2" providerId="ADAL" clId="{E639E250-2436-4370-97E9-9264F49096AD}" dt="2026-01-23T14:58:59.392" v="11911" actId="1076"/>
          <ac:spMkLst>
            <pc:docMk/>
            <pc:sldMk cId="187628753" sldId="2147483481"/>
            <ac:spMk id="38" creationId="{8EDDA3C8-E83F-D83D-F41E-5EF6463BD61D}"/>
          </ac:spMkLst>
        </pc:spChg>
        <pc:spChg chg="mod">
          <ac:chgData name="Abraham Rivera" userId="8e7d1955-7db3-40f7-911f-c4cfbf085fb2" providerId="ADAL" clId="{E639E250-2436-4370-97E9-9264F49096AD}" dt="2026-01-23T14:42:29.895" v="11165" actId="1076"/>
          <ac:spMkLst>
            <pc:docMk/>
            <pc:sldMk cId="187628753" sldId="2147483481"/>
            <ac:spMk id="39" creationId="{8E88DE0D-8B2D-2049-13EC-81A4CC48422E}"/>
          </ac:spMkLst>
        </pc:spChg>
        <pc:spChg chg="mod">
          <ac:chgData name="Abraham Rivera" userId="8e7d1955-7db3-40f7-911f-c4cfbf085fb2" providerId="ADAL" clId="{E639E250-2436-4370-97E9-9264F49096AD}" dt="2026-01-23T14:48:23.274" v="11479" actId="1076"/>
          <ac:spMkLst>
            <pc:docMk/>
            <pc:sldMk cId="187628753" sldId="2147483481"/>
            <ac:spMk id="43" creationId="{597C86AA-593F-8FF5-1C15-85D8EB910E79}"/>
          </ac:spMkLst>
        </pc:spChg>
        <pc:spChg chg="mod">
          <ac:chgData name="Abraham Rivera" userId="8e7d1955-7db3-40f7-911f-c4cfbf085fb2" providerId="ADAL" clId="{E639E250-2436-4370-97E9-9264F49096AD}" dt="2026-01-23T14:42:29.895" v="11165" actId="1076"/>
          <ac:spMkLst>
            <pc:docMk/>
            <pc:sldMk cId="187628753" sldId="2147483481"/>
            <ac:spMk id="46" creationId="{1AE907BC-C53F-F471-7DD2-9745A28EE5D0}"/>
          </ac:spMkLst>
        </pc:spChg>
        <pc:spChg chg="mod">
          <ac:chgData name="Abraham Rivera" userId="8e7d1955-7db3-40f7-911f-c4cfbf085fb2" providerId="ADAL" clId="{E639E250-2436-4370-97E9-9264F49096AD}" dt="2026-01-23T14:58:59.392" v="11911" actId="1076"/>
          <ac:spMkLst>
            <pc:docMk/>
            <pc:sldMk cId="187628753" sldId="2147483481"/>
            <ac:spMk id="47" creationId="{0C88B8B1-BC4B-666C-85B3-0BF374FD9A6C}"/>
          </ac:spMkLst>
        </pc:spChg>
        <pc:spChg chg="mod">
          <ac:chgData name="Abraham Rivera" userId="8e7d1955-7db3-40f7-911f-c4cfbf085fb2" providerId="ADAL" clId="{E639E250-2436-4370-97E9-9264F49096AD}" dt="2026-01-23T14:42:45.319" v="11167" actId="1076"/>
          <ac:spMkLst>
            <pc:docMk/>
            <pc:sldMk cId="187628753" sldId="2147483481"/>
            <ac:spMk id="49" creationId="{14880A1A-8FCE-D9C3-4B27-AD19A9E38DC1}"/>
          </ac:spMkLst>
        </pc:spChg>
        <pc:spChg chg="mod">
          <ac:chgData name="Abraham Rivera" userId="8e7d1955-7db3-40f7-911f-c4cfbf085fb2" providerId="ADAL" clId="{E639E250-2436-4370-97E9-9264F49096AD}" dt="2026-01-23T14:42:45.319" v="11167" actId="1076"/>
          <ac:spMkLst>
            <pc:docMk/>
            <pc:sldMk cId="187628753" sldId="2147483481"/>
            <ac:spMk id="50" creationId="{37F53099-8BB6-46A9-7BF3-CCF311CA574B}"/>
          </ac:spMkLst>
        </pc:spChg>
        <pc:spChg chg="mod">
          <ac:chgData name="Abraham Rivera" userId="8e7d1955-7db3-40f7-911f-c4cfbf085fb2" providerId="ADAL" clId="{E639E250-2436-4370-97E9-9264F49096AD}" dt="2026-01-23T14:58:59.392" v="11911" actId="1076"/>
          <ac:spMkLst>
            <pc:docMk/>
            <pc:sldMk cId="187628753" sldId="2147483481"/>
            <ac:spMk id="51" creationId="{E77B81A3-93EF-D5F1-9CDC-9C5541FBAD7F}"/>
          </ac:spMkLst>
        </pc:spChg>
        <pc:spChg chg="mod">
          <ac:chgData name="Abraham Rivera" userId="8e7d1955-7db3-40f7-911f-c4cfbf085fb2" providerId="ADAL" clId="{E639E250-2436-4370-97E9-9264F49096AD}" dt="2026-01-23T14:42:45.319" v="11167" actId="1076"/>
          <ac:spMkLst>
            <pc:docMk/>
            <pc:sldMk cId="187628753" sldId="2147483481"/>
            <ac:spMk id="52" creationId="{DD875A70-5852-68C3-8096-FF382040FC5E}"/>
          </ac:spMkLst>
        </pc:spChg>
        <pc:spChg chg="mod">
          <ac:chgData name="Abraham Rivera" userId="8e7d1955-7db3-40f7-911f-c4cfbf085fb2" providerId="ADAL" clId="{E639E250-2436-4370-97E9-9264F49096AD}" dt="2026-01-23T14:42:45.319" v="11167" actId="1076"/>
          <ac:spMkLst>
            <pc:docMk/>
            <pc:sldMk cId="187628753" sldId="2147483481"/>
            <ac:spMk id="53" creationId="{B82C6804-A6D7-9A93-7475-FD18EBB821DF}"/>
          </ac:spMkLst>
        </pc:spChg>
        <pc:spChg chg="mod">
          <ac:chgData name="Abraham Rivera" userId="8e7d1955-7db3-40f7-911f-c4cfbf085fb2" providerId="ADAL" clId="{E639E250-2436-4370-97E9-9264F49096AD}" dt="2026-01-23T14:42:45.319" v="11167" actId="1076"/>
          <ac:spMkLst>
            <pc:docMk/>
            <pc:sldMk cId="187628753" sldId="2147483481"/>
            <ac:spMk id="54" creationId="{FA475964-A5E1-F546-390A-6C3EC8987193}"/>
          </ac:spMkLst>
        </pc:spChg>
        <pc:spChg chg="mod">
          <ac:chgData name="Abraham Rivera" userId="8e7d1955-7db3-40f7-911f-c4cfbf085fb2" providerId="ADAL" clId="{E639E250-2436-4370-97E9-9264F49096AD}" dt="2026-01-23T14:42:45.319" v="11167" actId="1076"/>
          <ac:spMkLst>
            <pc:docMk/>
            <pc:sldMk cId="187628753" sldId="2147483481"/>
            <ac:spMk id="55" creationId="{71D1C992-1214-CE9E-7A81-133E37E72117}"/>
          </ac:spMkLst>
        </pc:spChg>
        <pc:spChg chg="mod">
          <ac:chgData name="Abraham Rivera" userId="8e7d1955-7db3-40f7-911f-c4cfbf085fb2" providerId="ADAL" clId="{E639E250-2436-4370-97E9-9264F49096AD}" dt="2026-01-23T14:42:45.319" v="11167" actId="1076"/>
          <ac:spMkLst>
            <pc:docMk/>
            <pc:sldMk cId="187628753" sldId="2147483481"/>
            <ac:spMk id="57" creationId="{58C193A2-339F-A347-C79F-F6D616D15476}"/>
          </ac:spMkLst>
        </pc:spChg>
        <pc:spChg chg="mod">
          <ac:chgData name="Abraham Rivera" userId="8e7d1955-7db3-40f7-911f-c4cfbf085fb2" providerId="ADAL" clId="{E639E250-2436-4370-97E9-9264F49096AD}" dt="2026-01-23T14:42:45.319" v="11167" actId="1076"/>
          <ac:spMkLst>
            <pc:docMk/>
            <pc:sldMk cId="187628753" sldId="2147483481"/>
            <ac:spMk id="58" creationId="{BD6864FC-03F2-2DC3-1FBF-6DBED5F94CD4}"/>
          </ac:spMkLst>
        </pc:spChg>
        <pc:spChg chg="mod">
          <ac:chgData name="Abraham Rivera" userId="8e7d1955-7db3-40f7-911f-c4cfbf085fb2" providerId="ADAL" clId="{E639E250-2436-4370-97E9-9264F49096AD}" dt="2026-01-23T14:58:59.392" v="11911" actId="1076"/>
          <ac:spMkLst>
            <pc:docMk/>
            <pc:sldMk cId="187628753" sldId="2147483481"/>
            <ac:spMk id="59" creationId="{0A1620F2-26ED-1301-E911-EB915848133A}"/>
          </ac:spMkLst>
        </pc:spChg>
        <pc:spChg chg="mod">
          <ac:chgData name="Abraham Rivera" userId="8e7d1955-7db3-40f7-911f-c4cfbf085fb2" providerId="ADAL" clId="{E639E250-2436-4370-97E9-9264F49096AD}" dt="2026-01-23T14:57:35.823" v="11907" actId="207"/>
          <ac:spMkLst>
            <pc:docMk/>
            <pc:sldMk cId="187628753" sldId="2147483481"/>
            <ac:spMk id="60" creationId="{0834E1EB-1124-E8F6-D9B3-087035E872F1}"/>
          </ac:spMkLst>
        </pc:spChg>
        <pc:spChg chg="mod">
          <ac:chgData name="Abraham Rivera" userId="8e7d1955-7db3-40f7-911f-c4cfbf085fb2" providerId="ADAL" clId="{E639E250-2436-4370-97E9-9264F49096AD}" dt="2026-01-23T14:57:41.532" v="11908" actId="207"/>
          <ac:spMkLst>
            <pc:docMk/>
            <pc:sldMk cId="187628753" sldId="2147483481"/>
            <ac:spMk id="61" creationId="{1DA7AEEA-5578-CFB1-78F2-2BA01F7E8A0C}"/>
          </ac:spMkLst>
        </pc:spChg>
        <pc:spChg chg="mod">
          <ac:chgData name="Abraham Rivera" userId="8e7d1955-7db3-40f7-911f-c4cfbf085fb2" providerId="ADAL" clId="{E639E250-2436-4370-97E9-9264F49096AD}" dt="2026-01-23T14:58:59.392" v="11911" actId="1076"/>
          <ac:spMkLst>
            <pc:docMk/>
            <pc:sldMk cId="187628753" sldId="2147483481"/>
            <ac:spMk id="62" creationId="{5F8160AE-FFB6-0149-67EE-9FD9E98EC803}"/>
          </ac:spMkLst>
        </pc:spChg>
        <pc:spChg chg="mod">
          <ac:chgData name="Abraham Rivera" userId="8e7d1955-7db3-40f7-911f-c4cfbf085fb2" providerId="ADAL" clId="{E639E250-2436-4370-97E9-9264F49096AD}" dt="2026-01-23T14:58:59.392" v="11911" actId="1076"/>
          <ac:spMkLst>
            <pc:docMk/>
            <pc:sldMk cId="187628753" sldId="2147483481"/>
            <ac:spMk id="63" creationId="{DE2B2F1C-F5FE-438C-5C36-F1BD4AEE164B}"/>
          </ac:spMkLst>
        </pc:spChg>
        <pc:spChg chg="add mod">
          <ac:chgData name="Abraham Rivera" userId="8e7d1955-7db3-40f7-911f-c4cfbf085fb2" providerId="ADAL" clId="{E639E250-2436-4370-97E9-9264F49096AD}" dt="2026-01-23T14:58:59.392" v="11911" actId="1076"/>
          <ac:spMkLst>
            <pc:docMk/>
            <pc:sldMk cId="187628753" sldId="2147483481"/>
            <ac:spMk id="64" creationId="{B4C811CB-C222-DF76-D2B3-D50A2624980E}"/>
          </ac:spMkLst>
        </pc:spChg>
        <pc:spChg chg="mod">
          <ac:chgData name="Abraham Rivera" userId="8e7d1955-7db3-40f7-911f-c4cfbf085fb2" providerId="ADAL" clId="{E639E250-2436-4370-97E9-9264F49096AD}" dt="2026-01-23T14:45:19.315" v="11349" actId="20577"/>
          <ac:spMkLst>
            <pc:docMk/>
            <pc:sldMk cId="187628753" sldId="2147483481"/>
            <ac:spMk id="65" creationId="{05BF2152-1925-80A2-4F12-599B0C9BF168}"/>
          </ac:spMkLst>
        </pc:spChg>
        <pc:spChg chg="mod">
          <ac:chgData name="Abraham Rivera" userId="8e7d1955-7db3-40f7-911f-c4cfbf085fb2" providerId="ADAL" clId="{E639E250-2436-4370-97E9-9264F49096AD}" dt="2026-01-23T14:44:01.639" v="11229" actId="20577"/>
          <ac:spMkLst>
            <pc:docMk/>
            <pc:sldMk cId="187628753" sldId="2147483481"/>
            <ac:spMk id="66" creationId="{6AC4596A-BCB3-E0B0-617C-717102101D0D}"/>
          </ac:spMkLst>
        </pc:spChg>
        <pc:spChg chg="add mod">
          <ac:chgData name="Abraham Rivera" userId="8e7d1955-7db3-40f7-911f-c4cfbf085fb2" providerId="ADAL" clId="{E639E250-2436-4370-97E9-9264F49096AD}" dt="2026-01-23T14:58:59.392" v="11911" actId="1076"/>
          <ac:spMkLst>
            <pc:docMk/>
            <pc:sldMk cId="187628753" sldId="2147483481"/>
            <ac:spMk id="67" creationId="{1B9AD732-95CE-3952-4547-E6F2E78943E5}"/>
          </ac:spMkLst>
        </pc:spChg>
        <pc:spChg chg="add mod">
          <ac:chgData name="Abraham Rivera" userId="8e7d1955-7db3-40f7-911f-c4cfbf085fb2" providerId="ADAL" clId="{E639E250-2436-4370-97E9-9264F49096AD}" dt="2026-01-23T14:45:24.357" v="11350" actId="20577"/>
          <ac:spMkLst>
            <pc:docMk/>
            <pc:sldMk cId="187628753" sldId="2147483481"/>
            <ac:spMk id="68" creationId="{09D28A57-02F8-41E3-714D-666436CD18EF}"/>
          </ac:spMkLst>
        </pc:spChg>
        <pc:spChg chg="add mod">
          <ac:chgData name="Abraham Rivera" userId="8e7d1955-7db3-40f7-911f-c4cfbf085fb2" providerId="ADAL" clId="{E639E250-2436-4370-97E9-9264F49096AD}" dt="2026-01-23T14:58:59.392" v="11911" actId="1076"/>
          <ac:spMkLst>
            <pc:docMk/>
            <pc:sldMk cId="187628753" sldId="2147483481"/>
            <ac:spMk id="69" creationId="{0F451E19-40FD-B12E-E286-FDA343F7F34B}"/>
          </ac:spMkLst>
        </pc:spChg>
        <pc:spChg chg="mod">
          <ac:chgData name="Abraham Rivera" userId="8e7d1955-7db3-40f7-911f-c4cfbf085fb2" providerId="ADAL" clId="{E639E250-2436-4370-97E9-9264F49096AD}" dt="2026-01-23T14:48:23.274" v="11479" actId="1076"/>
          <ac:spMkLst>
            <pc:docMk/>
            <pc:sldMk cId="187628753" sldId="2147483481"/>
            <ac:spMk id="70" creationId="{828D75D1-81EE-EF84-C86F-513D776412FB}"/>
          </ac:spMkLst>
        </pc:spChg>
        <pc:spChg chg="mod">
          <ac:chgData name="Abraham Rivera" userId="8e7d1955-7db3-40f7-911f-c4cfbf085fb2" providerId="ADAL" clId="{E639E250-2436-4370-97E9-9264F49096AD}" dt="2026-01-23T14:48:23.274" v="11479" actId="1076"/>
          <ac:spMkLst>
            <pc:docMk/>
            <pc:sldMk cId="187628753" sldId="2147483481"/>
            <ac:spMk id="73" creationId="{2985D11C-96CE-10E1-A883-42352C53CA8D}"/>
          </ac:spMkLst>
        </pc:spChg>
        <pc:spChg chg="mod">
          <ac:chgData name="Abraham Rivera" userId="8e7d1955-7db3-40f7-911f-c4cfbf085fb2" providerId="ADAL" clId="{E639E250-2436-4370-97E9-9264F49096AD}" dt="2026-01-09T18:48:22.086" v="5974" actId="20577"/>
          <ac:spMkLst>
            <pc:docMk/>
            <pc:sldMk cId="187628753" sldId="2147483481"/>
            <ac:spMk id="74" creationId="{D0EF8EE8-460E-D5B8-3196-14C19B6F9A7F}"/>
          </ac:spMkLst>
        </pc:spChg>
        <pc:spChg chg="mod">
          <ac:chgData name="Abraham Rivera" userId="8e7d1955-7db3-40f7-911f-c4cfbf085fb2" providerId="ADAL" clId="{E639E250-2436-4370-97E9-9264F49096AD}" dt="2026-01-23T14:51:30.273" v="11484" actId="1076"/>
          <ac:spMkLst>
            <pc:docMk/>
            <pc:sldMk cId="187628753" sldId="2147483481"/>
            <ac:spMk id="77" creationId="{3489CEB0-3B72-3E06-E695-29841D409517}"/>
          </ac:spMkLst>
        </pc:spChg>
        <pc:spChg chg="mod">
          <ac:chgData name="Abraham Rivera" userId="8e7d1955-7db3-40f7-911f-c4cfbf085fb2" providerId="ADAL" clId="{E639E250-2436-4370-97E9-9264F49096AD}" dt="2026-01-23T14:51:30.273" v="11484" actId="1076"/>
          <ac:spMkLst>
            <pc:docMk/>
            <pc:sldMk cId="187628753" sldId="2147483481"/>
            <ac:spMk id="84" creationId="{A410AA64-A282-73C3-DB9B-F2F4A7FEBDB7}"/>
          </ac:spMkLst>
        </pc:spChg>
        <pc:spChg chg="mod">
          <ac:chgData name="Abraham Rivera" userId="8e7d1955-7db3-40f7-911f-c4cfbf085fb2" providerId="ADAL" clId="{E639E250-2436-4370-97E9-9264F49096AD}" dt="2026-01-23T14:46:04.857" v="11434" actId="20577"/>
          <ac:spMkLst>
            <pc:docMk/>
            <pc:sldMk cId="187628753" sldId="2147483481"/>
            <ac:spMk id="95" creationId="{3522BAA3-713F-E8EE-05BF-2E7686526ED0}"/>
          </ac:spMkLst>
        </pc:spChg>
        <pc:spChg chg="mod">
          <ac:chgData name="Abraham Rivera" userId="8e7d1955-7db3-40f7-911f-c4cfbf085fb2" providerId="ADAL" clId="{E639E250-2436-4370-97E9-9264F49096AD}" dt="2026-01-09T19:49:02.548" v="8965" actId="14100"/>
          <ac:spMkLst>
            <pc:docMk/>
            <pc:sldMk cId="187628753" sldId="2147483481"/>
            <ac:spMk id="98" creationId="{A1E3F71F-C1D4-E04B-563F-36ACCAABF306}"/>
          </ac:spMkLst>
        </pc:spChg>
        <pc:spChg chg="mod">
          <ac:chgData name="Abraham Rivera" userId="8e7d1955-7db3-40f7-911f-c4cfbf085fb2" providerId="ADAL" clId="{E639E250-2436-4370-97E9-9264F49096AD}" dt="2026-01-23T14:51:30.273" v="11484" actId="1076"/>
          <ac:spMkLst>
            <pc:docMk/>
            <pc:sldMk cId="187628753" sldId="2147483481"/>
            <ac:spMk id="100" creationId="{D8F5AFD5-0FA2-9FD8-6667-575A0709D3C1}"/>
          </ac:spMkLst>
        </pc:spChg>
        <pc:spChg chg="mod">
          <ac:chgData name="Abraham Rivera" userId="8e7d1955-7db3-40f7-911f-c4cfbf085fb2" providerId="ADAL" clId="{E639E250-2436-4370-97E9-9264F49096AD}" dt="2026-01-09T19:49:24.417" v="8971" actId="20577"/>
          <ac:spMkLst>
            <pc:docMk/>
            <pc:sldMk cId="187628753" sldId="2147483481"/>
            <ac:spMk id="104" creationId="{F18F3DF1-E747-C993-FBCC-95AAD15D211C}"/>
          </ac:spMkLst>
        </pc:spChg>
        <pc:spChg chg="mod">
          <ac:chgData name="Abraham Rivera" userId="8e7d1955-7db3-40f7-911f-c4cfbf085fb2" providerId="ADAL" clId="{E639E250-2436-4370-97E9-9264F49096AD}" dt="2026-01-23T14:51:30.273" v="11484" actId="1076"/>
          <ac:spMkLst>
            <pc:docMk/>
            <pc:sldMk cId="187628753" sldId="2147483481"/>
            <ac:spMk id="107" creationId="{5815CAF2-3309-D5F4-A8DE-3D7AE90422D1}"/>
          </ac:spMkLst>
        </pc:spChg>
        <pc:spChg chg="mod">
          <ac:chgData name="Abraham Rivera" userId="8e7d1955-7db3-40f7-911f-c4cfbf085fb2" providerId="ADAL" clId="{E639E250-2436-4370-97E9-9264F49096AD}" dt="2026-01-23T14:48:23.274" v="11479" actId="1076"/>
          <ac:spMkLst>
            <pc:docMk/>
            <pc:sldMk cId="187628753" sldId="2147483481"/>
            <ac:spMk id="108" creationId="{4CACFDA1-C121-EB21-C93C-C1BDDE8E4393}"/>
          </ac:spMkLst>
        </pc:spChg>
        <pc:spChg chg="mod">
          <ac:chgData name="Abraham Rivera" userId="8e7d1955-7db3-40f7-911f-c4cfbf085fb2" providerId="ADAL" clId="{E639E250-2436-4370-97E9-9264F49096AD}" dt="2026-01-23T14:51:30.273" v="11484" actId="1076"/>
          <ac:spMkLst>
            <pc:docMk/>
            <pc:sldMk cId="187628753" sldId="2147483481"/>
            <ac:spMk id="109" creationId="{73772229-C9E7-F068-6E73-FAB14D07FC56}"/>
          </ac:spMkLst>
        </pc:spChg>
        <pc:spChg chg="mod">
          <ac:chgData name="Abraham Rivera" userId="8e7d1955-7db3-40f7-911f-c4cfbf085fb2" providerId="ADAL" clId="{E639E250-2436-4370-97E9-9264F49096AD}" dt="2026-01-23T14:48:23.274" v="11479" actId="1076"/>
          <ac:spMkLst>
            <pc:docMk/>
            <pc:sldMk cId="187628753" sldId="2147483481"/>
            <ac:spMk id="110" creationId="{984B9109-7C09-3984-DA0F-4842FD4FFE60}"/>
          </ac:spMkLst>
        </pc:spChg>
        <pc:spChg chg="mod">
          <ac:chgData name="Abraham Rivera" userId="8e7d1955-7db3-40f7-911f-c4cfbf085fb2" providerId="ADAL" clId="{E639E250-2436-4370-97E9-9264F49096AD}" dt="2026-01-23T14:48:23.274" v="11479" actId="1076"/>
          <ac:spMkLst>
            <pc:docMk/>
            <pc:sldMk cId="187628753" sldId="2147483481"/>
            <ac:spMk id="111" creationId="{1E900C82-F2DB-A536-C55E-785C497E98BC}"/>
          </ac:spMkLst>
        </pc:spChg>
        <pc:spChg chg="mod">
          <ac:chgData name="Abraham Rivera" userId="8e7d1955-7db3-40f7-911f-c4cfbf085fb2" providerId="ADAL" clId="{E639E250-2436-4370-97E9-9264F49096AD}" dt="2026-01-23T14:57:23.610" v="11905" actId="207"/>
          <ac:spMkLst>
            <pc:docMk/>
            <pc:sldMk cId="187628753" sldId="2147483481"/>
            <ac:spMk id="112" creationId="{A32B7CB1-FBA6-892C-57F6-CE513FB15560}"/>
          </ac:spMkLst>
        </pc:spChg>
        <pc:spChg chg="mod">
          <ac:chgData name="Abraham Rivera" userId="8e7d1955-7db3-40f7-911f-c4cfbf085fb2" providerId="ADAL" clId="{E639E250-2436-4370-97E9-9264F49096AD}" dt="2026-01-23T14:57:29.430" v="11906" actId="207"/>
          <ac:spMkLst>
            <pc:docMk/>
            <pc:sldMk cId="187628753" sldId="2147483481"/>
            <ac:spMk id="113" creationId="{EA184A42-F490-2BCB-E529-391348F01E98}"/>
          </ac:spMkLst>
        </pc:spChg>
        <pc:spChg chg="add mod">
          <ac:chgData name="Abraham Rivera" userId="8e7d1955-7db3-40f7-911f-c4cfbf085fb2" providerId="ADAL" clId="{E639E250-2436-4370-97E9-9264F49096AD}" dt="2026-01-23T14:51:30.273" v="11484" actId="1076"/>
          <ac:spMkLst>
            <pc:docMk/>
            <pc:sldMk cId="187628753" sldId="2147483481"/>
            <ac:spMk id="114" creationId="{29251582-89AD-CC69-3ED3-2DF3E4C0B278}"/>
          </ac:spMkLst>
        </pc:spChg>
        <pc:spChg chg="mod">
          <ac:chgData name="Abraham Rivera" userId="8e7d1955-7db3-40f7-911f-c4cfbf085fb2" providerId="ADAL" clId="{E639E250-2436-4370-97E9-9264F49096AD}" dt="2026-01-23T14:52:12.740" v="11583" actId="20577"/>
          <ac:spMkLst>
            <pc:docMk/>
            <pc:sldMk cId="187628753" sldId="2147483481"/>
            <ac:spMk id="115" creationId="{1F1ED65A-FF58-F675-7833-FA3B18D0BC45}"/>
          </ac:spMkLst>
        </pc:spChg>
        <pc:spChg chg="mod">
          <ac:chgData name="Abraham Rivera" userId="8e7d1955-7db3-40f7-911f-c4cfbf085fb2" providerId="ADAL" clId="{E639E250-2436-4370-97E9-9264F49096AD}" dt="2026-01-23T14:55:15.821" v="11716" actId="20577"/>
          <ac:spMkLst>
            <pc:docMk/>
            <pc:sldMk cId="187628753" sldId="2147483481"/>
            <ac:spMk id="116" creationId="{9E7439AA-8CF3-E94A-753A-E1191AA06746}"/>
          </ac:spMkLst>
        </pc:spChg>
        <pc:spChg chg="add mod">
          <ac:chgData name="Abraham Rivera" userId="8e7d1955-7db3-40f7-911f-c4cfbf085fb2" providerId="ADAL" clId="{E639E250-2436-4370-97E9-9264F49096AD}" dt="2026-01-23T14:56:12.558" v="11819" actId="20577"/>
          <ac:spMkLst>
            <pc:docMk/>
            <pc:sldMk cId="187628753" sldId="2147483481"/>
            <ac:spMk id="117" creationId="{4BAEDE37-A656-29F2-8DBA-04A245D22071}"/>
          </ac:spMkLst>
        </pc:spChg>
        <pc:spChg chg="add mod">
          <ac:chgData name="Abraham Rivera" userId="8e7d1955-7db3-40f7-911f-c4cfbf085fb2" providerId="ADAL" clId="{E639E250-2436-4370-97E9-9264F49096AD}" dt="2026-01-23T14:55:12.091" v="11712" actId="20577"/>
          <ac:spMkLst>
            <pc:docMk/>
            <pc:sldMk cId="187628753" sldId="2147483481"/>
            <ac:spMk id="118" creationId="{E5066E59-6258-C71E-727B-2D9C5BC68BF6}"/>
          </ac:spMkLst>
        </pc:spChg>
        <pc:spChg chg="mod">
          <ac:chgData name="Abraham Rivera" userId="8e7d1955-7db3-40f7-911f-c4cfbf085fb2" providerId="ADAL" clId="{E639E250-2436-4370-97E9-9264F49096AD}" dt="2026-01-23T14:48:23.274" v="11479" actId="1076"/>
          <ac:spMkLst>
            <pc:docMk/>
            <pc:sldMk cId="187628753" sldId="2147483481"/>
            <ac:spMk id="123" creationId="{CB124EF5-8D51-25E9-5E10-53295355EE89}"/>
          </ac:spMkLst>
        </pc:spChg>
        <pc:spChg chg="add mod">
          <ac:chgData name="Abraham Rivera" userId="8e7d1955-7db3-40f7-911f-c4cfbf085fb2" providerId="ADAL" clId="{E639E250-2436-4370-97E9-9264F49096AD}" dt="2026-01-23T14:48:18.562" v="11478" actId="20577"/>
          <ac:spMkLst>
            <pc:docMk/>
            <pc:sldMk cId="187628753" sldId="2147483481"/>
            <ac:spMk id="124" creationId="{FFA4D4C7-EF70-716F-BDC1-D8F3E3730990}"/>
          </ac:spMkLst>
        </pc:spChg>
        <pc:spChg chg="add mod">
          <ac:chgData name="Abraham Rivera" userId="8e7d1955-7db3-40f7-911f-c4cfbf085fb2" providerId="ADAL" clId="{E639E250-2436-4370-97E9-9264F49096AD}" dt="2026-01-23T14:48:29.678" v="11481" actId="1076"/>
          <ac:spMkLst>
            <pc:docMk/>
            <pc:sldMk cId="187628753" sldId="2147483481"/>
            <ac:spMk id="125" creationId="{B98CE21E-5AF4-5206-B2BC-A6C86867CEA5}"/>
          </ac:spMkLst>
        </pc:spChg>
        <pc:spChg chg="mod">
          <ac:chgData name="Abraham Rivera" userId="8e7d1955-7db3-40f7-911f-c4cfbf085fb2" providerId="ADAL" clId="{E639E250-2436-4370-97E9-9264F49096AD}" dt="2026-01-23T14:27:28.467" v="10852" actId="20577"/>
          <ac:spMkLst>
            <pc:docMk/>
            <pc:sldMk cId="187628753" sldId="2147483481"/>
            <ac:spMk id="126" creationId="{486BFFD3-3641-1B97-7A8E-47F06B113215}"/>
          </ac:spMkLst>
        </pc:spChg>
        <pc:spChg chg="add mod">
          <ac:chgData name="Abraham Rivera" userId="8e7d1955-7db3-40f7-911f-c4cfbf085fb2" providerId="ADAL" clId="{E639E250-2436-4370-97E9-9264F49096AD}" dt="2026-01-23T14:55:57.828" v="11768" actId="20577"/>
          <ac:spMkLst>
            <pc:docMk/>
            <pc:sldMk cId="187628753" sldId="2147483481"/>
            <ac:spMk id="127" creationId="{D419F198-5FA4-BE9B-D5D4-C47988FA5716}"/>
          </ac:spMkLst>
        </pc:spChg>
        <pc:spChg chg="add mod">
          <ac:chgData name="Abraham Rivera" userId="8e7d1955-7db3-40f7-911f-c4cfbf085fb2" providerId="ADAL" clId="{E639E250-2436-4370-97E9-9264F49096AD}" dt="2026-01-23T14:48:13.287" v="11475" actId="1076"/>
          <ac:spMkLst>
            <pc:docMk/>
            <pc:sldMk cId="187628753" sldId="2147483481"/>
            <ac:spMk id="128" creationId="{A5704E22-6B69-238D-261F-1696B660FABB}"/>
          </ac:spMkLst>
        </pc:spChg>
        <pc:cxnChg chg="mod">
          <ac:chgData name="Abraham Rivera" userId="8e7d1955-7db3-40f7-911f-c4cfbf085fb2" providerId="ADAL" clId="{E639E250-2436-4370-97E9-9264F49096AD}" dt="2026-01-23T14:48:40.468" v="11482" actId="1076"/>
          <ac:cxnSpMkLst>
            <pc:docMk/>
            <pc:sldMk cId="187628753" sldId="2147483481"/>
            <ac:cxnSpMk id="2" creationId="{920E5908-D134-194D-0B8F-0F3EB1216564}"/>
          </ac:cxnSpMkLst>
        </pc:cxnChg>
      </pc:sldChg>
      <pc:sldChg chg="addSp delSp modSp add mod ord">
        <pc:chgData name="Abraham Rivera" userId="8e7d1955-7db3-40f7-911f-c4cfbf085fb2" providerId="ADAL" clId="{E639E250-2436-4370-97E9-9264F49096AD}" dt="2026-01-23T17:20:28.435" v="11921" actId="1076"/>
        <pc:sldMkLst>
          <pc:docMk/>
          <pc:sldMk cId="1279343961" sldId="2147483643"/>
        </pc:sldMkLst>
        <pc:spChg chg="mod">
          <ac:chgData name="Abraham Rivera" userId="8e7d1955-7db3-40f7-911f-c4cfbf085fb2" providerId="ADAL" clId="{E639E250-2436-4370-97E9-9264F49096AD}" dt="2026-01-09T18:50:54.057" v="6055" actId="20577"/>
          <ac:spMkLst>
            <pc:docMk/>
            <pc:sldMk cId="1279343961" sldId="2147483643"/>
            <ac:spMk id="3" creationId="{586E55E4-1687-EE93-2FD3-945B3F6BDC56}"/>
          </ac:spMkLst>
        </pc:spChg>
        <pc:spChg chg="mod">
          <ac:chgData name="Abraham Rivera" userId="8e7d1955-7db3-40f7-911f-c4cfbf085fb2" providerId="ADAL" clId="{E639E250-2436-4370-97E9-9264F49096AD}" dt="2026-01-07T16:14:37.830" v="5931" actId="20577"/>
          <ac:spMkLst>
            <pc:docMk/>
            <pc:sldMk cId="1279343961" sldId="2147483643"/>
            <ac:spMk id="4" creationId="{6AE8F006-C6C4-D3AE-C457-50FD35B294DE}"/>
          </ac:spMkLst>
        </pc:spChg>
        <pc:spChg chg="add mod">
          <ac:chgData name="Abraham Rivera" userId="8e7d1955-7db3-40f7-911f-c4cfbf085fb2" providerId="ADAL" clId="{E639E250-2436-4370-97E9-9264F49096AD}" dt="2026-01-09T18:54:46.284" v="6449" actId="20577"/>
          <ac:spMkLst>
            <pc:docMk/>
            <pc:sldMk cId="1279343961" sldId="2147483643"/>
            <ac:spMk id="7" creationId="{F87802E2-58A2-63B9-7B3D-B8F40E577879}"/>
          </ac:spMkLst>
        </pc:spChg>
        <pc:spChg chg="mod">
          <ac:chgData name="Abraham Rivera" userId="8e7d1955-7db3-40f7-911f-c4cfbf085fb2" providerId="ADAL" clId="{E639E250-2436-4370-97E9-9264F49096AD}" dt="2026-01-07T15:59:27.338" v="5865" actId="20577"/>
          <ac:spMkLst>
            <pc:docMk/>
            <pc:sldMk cId="1279343961" sldId="2147483643"/>
            <ac:spMk id="8" creationId="{7A5AA3DF-0923-B185-9628-A5B2F75C518A}"/>
          </ac:spMkLst>
        </pc:spChg>
        <pc:spChg chg="add mod">
          <ac:chgData name="Abraham Rivera" userId="8e7d1955-7db3-40f7-911f-c4cfbf085fb2" providerId="ADAL" clId="{E639E250-2436-4370-97E9-9264F49096AD}" dt="2026-01-16T16:19:50.412" v="9336" actId="20577"/>
          <ac:spMkLst>
            <pc:docMk/>
            <pc:sldMk cId="1279343961" sldId="2147483643"/>
            <ac:spMk id="20" creationId="{B7A7A396-98CB-BA0A-9715-B07FD5AF9A25}"/>
          </ac:spMkLst>
        </pc:spChg>
        <pc:spChg chg="add mod">
          <ac:chgData name="Abraham Rivera" userId="8e7d1955-7db3-40f7-911f-c4cfbf085fb2" providerId="ADAL" clId="{E639E250-2436-4370-97E9-9264F49096AD}" dt="2026-01-23T17:20:10.471" v="11918" actId="1076"/>
          <ac:spMkLst>
            <pc:docMk/>
            <pc:sldMk cId="1279343961" sldId="2147483643"/>
            <ac:spMk id="21" creationId="{92B69F1B-D256-099C-0268-F2043514252B}"/>
          </ac:spMkLst>
        </pc:spChg>
        <pc:spChg chg="add mod">
          <ac:chgData name="Abraham Rivera" userId="8e7d1955-7db3-40f7-911f-c4cfbf085fb2" providerId="ADAL" clId="{E639E250-2436-4370-97E9-9264F49096AD}" dt="2026-01-09T19:16:43.182" v="7502" actId="20577"/>
          <ac:spMkLst>
            <pc:docMk/>
            <pc:sldMk cId="1279343961" sldId="2147483643"/>
            <ac:spMk id="22" creationId="{683C7D13-6537-A96D-1430-2F1666C1586F}"/>
          </ac:spMkLst>
        </pc:spChg>
        <pc:spChg chg="add mod">
          <ac:chgData name="Abraham Rivera" userId="8e7d1955-7db3-40f7-911f-c4cfbf085fb2" providerId="ADAL" clId="{E639E250-2436-4370-97E9-9264F49096AD}" dt="2026-01-23T17:20:18.525" v="11919" actId="1076"/>
          <ac:spMkLst>
            <pc:docMk/>
            <pc:sldMk cId="1279343961" sldId="2147483643"/>
            <ac:spMk id="23" creationId="{B5C87F25-290D-3863-9EBE-59C4A0536433}"/>
          </ac:spMkLst>
        </pc:spChg>
        <pc:spChg chg="mod">
          <ac:chgData name="Abraham Rivera" userId="8e7d1955-7db3-40f7-911f-c4cfbf085fb2" providerId="ADAL" clId="{E639E250-2436-4370-97E9-9264F49096AD}" dt="2026-01-09T19:20:02.830" v="7531" actId="207"/>
          <ac:spMkLst>
            <pc:docMk/>
            <pc:sldMk cId="1279343961" sldId="2147483643"/>
            <ac:spMk id="25" creationId="{3044106A-ECF1-E023-35F2-390A67805620}"/>
          </ac:spMkLst>
        </pc:spChg>
        <pc:spChg chg="mod">
          <ac:chgData name="Abraham Rivera" userId="8e7d1955-7db3-40f7-911f-c4cfbf085fb2" providerId="ADAL" clId="{E639E250-2436-4370-97E9-9264F49096AD}" dt="2026-01-09T18:49:33.689" v="5979" actId="14100"/>
          <ac:spMkLst>
            <pc:docMk/>
            <pc:sldMk cId="1279343961" sldId="2147483643"/>
            <ac:spMk id="27" creationId="{95B85058-6D9D-7572-2E78-2F17CE72A890}"/>
          </ac:spMkLst>
        </pc:spChg>
        <pc:spChg chg="mod">
          <ac:chgData name="Abraham Rivera" userId="8e7d1955-7db3-40f7-911f-c4cfbf085fb2" providerId="ADAL" clId="{E639E250-2436-4370-97E9-9264F49096AD}" dt="2026-01-09T18:50:10.858" v="5983" actId="20577"/>
          <ac:spMkLst>
            <pc:docMk/>
            <pc:sldMk cId="1279343961" sldId="2147483643"/>
            <ac:spMk id="28" creationId="{0545A075-F29B-4A07-C672-D35A98A7CBFD}"/>
          </ac:spMkLst>
        </pc:spChg>
        <pc:spChg chg="mod">
          <ac:chgData name="Abraham Rivera" userId="8e7d1955-7db3-40f7-911f-c4cfbf085fb2" providerId="ADAL" clId="{E639E250-2436-4370-97E9-9264F49096AD}" dt="2026-01-09T18:51:18.179" v="6068" actId="20577"/>
          <ac:spMkLst>
            <pc:docMk/>
            <pc:sldMk cId="1279343961" sldId="2147483643"/>
            <ac:spMk id="29" creationId="{F1A0B998-B252-3CE1-2D6A-78BCE05D5898}"/>
          </ac:spMkLst>
        </pc:spChg>
        <pc:spChg chg="mod">
          <ac:chgData name="Abraham Rivera" userId="8e7d1955-7db3-40f7-911f-c4cfbf085fb2" providerId="ADAL" clId="{E639E250-2436-4370-97E9-9264F49096AD}" dt="2026-01-16T15:24:03.527" v="8988" actId="20577"/>
          <ac:spMkLst>
            <pc:docMk/>
            <pc:sldMk cId="1279343961" sldId="2147483643"/>
            <ac:spMk id="30" creationId="{1F43EA71-55F6-B1D5-1290-6B1AA2CBC423}"/>
          </ac:spMkLst>
        </pc:spChg>
        <pc:spChg chg="add mod">
          <ac:chgData name="Abraham Rivera" userId="8e7d1955-7db3-40f7-911f-c4cfbf085fb2" providerId="ADAL" clId="{E639E250-2436-4370-97E9-9264F49096AD}" dt="2026-01-23T17:20:22.853" v="11920" actId="1076"/>
          <ac:spMkLst>
            <pc:docMk/>
            <pc:sldMk cId="1279343961" sldId="2147483643"/>
            <ac:spMk id="31" creationId="{5B2D829C-0EA3-F824-FFD0-BEC6917A6B42}"/>
          </ac:spMkLst>
        </pc:spChg>
        <pc:spChg chg="mod">
          <ac:chgData name="Abraham Rivera" userId="8e7d1955-7db3-40f7-911f-c4cfbf085fb2" providerId="ADAL" clId="{E639E250-2436-4370-97E9-9264F49096AD}" dt="2026-01-23T17:19:53.499" v="11916" actId="313"/>
          <ac:spMkLst>
            <pc:docMk/>
            <pc:sldMk cId="1279343961" sldId="2147483643"/>
            <ac:spMk id="32" creationId="{4D2D4315-5DAD-945C-1927-B575A05B8DD2}"/>
          </ac:spMkLst>
        </pc:spChg>
        <pc:spChg chg="add mod">
          <ac:chgData name="Abraham Rivera" userId="8e7d1955-7db3-40f7-911f-c4cfbf085fb2" providerId="ADAL" clId="{E639E250-2436-4370-97E9-9264F49096AD}" dt="2026-01-16T16:19:40.099" v="9297" actId="20577"/>
          <ac:spMkLst>
            <pc:docMk/>
            <pc:sldMk cId="1279343961" sldId="2147483643"/>
            <ac:spMk id="33" creationId="{BCF695BD-8E2B-EF0C-A516-9EFB01439A71}"/>
          </ac:spMkLst>
        </pc:spChg>
        <pc:spChg chg="mod">
          <ac:chgData name="Abraham Rivera" userId="8e7d1955-7db3-40f7-911f-c4cfbf085fb2" providerId="ADAL" clId="{E639E250-2436-4370-97E9-9264F49096AD}" dt="2026-01-09T19:49:36.582" v="8973"/>
          <ac:spMkLst>
            <pc:docMk/>
            <pc:sldMk cId="1279343961" sldId="2147483643"/>
            <ac:spMk id="43" creationId="{B1CC0902-81B3-4A71-1C60-C3AE90808F6C}"/>
          </ac:spMkLst>
        </pc:spChg>
        <pc:spChg chg="mod">
          <ac:chgData name="Abraham Rivera" userId="8e7d1955-7db3-40f7-911f-c4cfbf085fb2" providerId="ADAL" clId="{E639E250-2436-4370-97E9-9264F49096AD}" dt="2026-01-09T19:00:27.137" v="6704" actId="20577"/>
          <ac:spMkLst>
            <pc:docMk/>
            <pc:sldMk cId="1279343961" sldId="2147483643"/>
            <ac:spMk id="45" creationId="{2CDE3826-B57F-E3E9-D72D-5AFC9142FC40}"/>
          </ac:spMkLst>
        </pc:spChg>
        <pc:spChg chg="mod">
          <ac:chgData name="Abraham Rivera" userId="8e7d1955-7db3-40f7-911f-c4cfbf085fb2" providerId="ADAL" clId="{E639E250-2436-4370-97E9-9264F49096AD}" dt="2026-01-23T17:20:28.435" v="11921" actId="1076"/>
          <ac:spMkLst>
            <pc:docMk/>
            <pc:sldMk cId="1279343961" sldId="2147483643"/>
            <ac:spMk id="46" creationId="{A168BDF4-9F99-4C29-AD89-FD260F768918}"/>
          </ac:spMkLst>
        </pc:spChg>
        <pc:spChg chg="mod">
          <ac:chgData name="Abraham Rivera" userId="8e7d1955-7db3-40f7-911f-c4cfbf085fb2" providerId="ADAL" clId="{E639E250-2436-4370-97E9-9264F49096AD}" dt="2026-01-07T15:58:55.241" v="5856" actId="478"/>
          <ac:spMkLst>
            <pc:docMk/>
            <pc:sldMk cId="1279343961" sldId="2147483643"/>
            <ac:spMk id="49" creationId="{0912DC24-576C-C180-7648-E31020B14BCA}"/>
          </ac:spMkLst>
        </pc:spChg>
        <pc:spChg chg="mod">
          <ac:chgData name="Abraham Rivera" userId="8e7d1955-7db3-40f7-911f-c4cfbf085fb2" providerId="ADAL" clId="{E639E250-2436-4370-97E9-9264F49096AD}" dt="2026-01-07T15:58:55.241" v="5856" actId="478"/>
          <ac:spMkLst>
            <pc:docMk/>
            <pc:sldMk cId="1279343961" sldId="2147483643"/>
            <ac:spMk id="50" creationId="{21938CFE-2F4C-0B00-EC03-980133C48DD2}"/>
          </ac:spMkLst>
        </pc:spChg>
        <pc:spChg chg="mod">
          <ac:chgData name="Abraham Rivera" userId="8e7d1955-7db3-40f7-911f-c4cfbf085fb2" providerId="ADAL" clId="{E639E250-2436-4370-97E9-9264F49096AD}" dt="2026-01-07T15:58:55.241" v="5856" actId="478"/>
          <ac:spMkLst>
            <pc:docMk/>
            <pc:sldMk cId="1279343961" sldId="2147483643"/>
            <ac:spMk id="52" creationId="{6C042FFF-31F4-1899-31EC-CE9A2E8090F8}"/>
          </ac:spMkLst>
        </pc:spChg>
        <pc:spChg chg="mod">
          <ac:chgData name="Abraham Rivera" userId="8e7d1955-7db3-40f7-911f-c4cfbf085fb2" providerId="ADAL" clId="{E639E250-2436-4370-97E9-9264F49096AD}" dt="2026-01-07T15:58:55.241" v="5856" actId="478"/>
          <ac:spMkLst>
            <pc:docMk/>
            <pc:sldMk cId="1279343961" sldId="2147483643"/>
            <ac:spMk id="53" creationId="{C36B4D70-8C6E-E5E6-0F31-3144151B96A2}"/>
          </ac:spMkLst>
        </pc:spChg>
        <pc:spChg chg="mod">
          <ac:chgData name="Abraham Rivera" userId="8e7d1955-7db3-40f7-911f-c4cfbf085fb2" providerId="ADAL" clId="{E639E250-2436-4370-97E9-9264F49096AD}" dt="2026-01-07T15:58:55.241" v="5856" actId="478"/>
          <ac:spMkLst>
            <pc:docMk/>
            <pc:sldMk cId="1279343961" sldId="2147483643"/>
            <ac:spMk id="54" creationId="{6B2B9049-3564-AEAF-B128-6C713A8BBB51}"/>
          </ac:spMkLst>
        </pc:spChg>
        <pc:spChg chg="mod">
          <ac:chgData name="Abraham Rivera" userId="8e7d1955-7db3-40f7-911f-c4cfbf085fb2" providerId="ADAL" clId="{E639E250-2436-4370-97E9-9264F49096AD}" dt="2026-01-07T15:58:55.241" v="5856" actId="478"/>
          <ac:spMkLst>
            <pc:docMk/>
            <pc:sldMk cId="1279343961" sldId="2147483643"/>
            <ac:spMk id="55" creationId="{4481C8AE-C7F1-B656-10A2-0B6674197E93}"/>
          </ac:spMkLst>
        </pc:spChg>
        <pc:spChg chg="mod">
          <ac:chgData name="Abraham Rivera" userId="8e7d1955-7db3-40f7-911f-c4cfbf085fb2" providerId="ADAL" clId="{E639E250-2436-4370-97E9-9264F49096AD}" dt="2026-01-07T15:58:55.241" v="5856" actId="478"/>
          <ac:spMkLst>
            <pc:docMk/>
            <pc:sldMk cId="1279343961" sldId="2147483643"/>
            <ac:spMk id="57" creationId="{B0A6652F-0B46-E650-5937-E469B4F33C54}"/>
          </ac:spMkLst>
        </pc:spChg>
        <pc:spChg chg="mod">
          <ac:chgData name="Abraham Rivera" userId="8e7d1955-7db3-40f7-911f-c4cfbf085fb2" providerId="ADAL" clId="{E639E250-2436-4370-97E9-9264F49096AD}" dt="2026-01-19T13:56:05.641" v="10398" actId="207"/>
          <ac:spMkLst>
            <pc:docMk/>
            <pc:sldMk cId="1279343961" sldId="2147483643"/>
            <ac:spMk id="58" creationId="{1F199BE0-D5FB-3C37-4F32-48271E5F46EC}"/>
          </ac:spMkLst>
        </pc:spChg>
        <pc:spChg chg="add del mod">
          <ac:chgData name="Abraham Rivera" userId="8e7d1955-7db3-40f7-911f-c4cfbf085fb2" providerId="ADAL" clId="{E639E250-2436-4370-97E9-9264F49096AD}" dt="2026-01-19T13:56:23.211" v="10400" actId="207"/>
          <ac:spMkLst>
            <pc:docMk/>
            <pc:sldMk cId="1279343961" sldId="2147483643"/>
            <ac:spMk id="60" creationId="{670FABD8-2926-0E23-CC51-0F22F6B3C094}"/>
          </ac:spMkLst>
        </pc:spChg>
        <pc:spChg chg="mod">
          <ac:chgData name="Abraham Rivera" userId="8e7d1955-7db3-40f7-911f-c4cfbf085fb2" providerId="ADAL" clId="{E639E250-2436-4370-97E9-9264F49096AD}" dt="2026-01-07T15:58:55.241" v="5856" actId="478"/>
          <ac:spMkLst>
            <pc:docMk/>
            <pc:sldMk cId="1279343961" sldId="2147483643"/>
            <ac:spMk id="61" creationId="{6A4701E7-0FB3-953C-DC14-37A1E2144852}"/>
          </ac:spMkLst>
        </pc:spChg>
        <pc:spChg chg="mod">
          <ac:chgData name="Abraham Rivera" userId="8e7d1955-7db3-40f7-911f-c4cfbf085fb2" providerId="ADAL" clId="{E639E250-2436-4370-97E9-9264F49096AD}" dt="2026-01-16T15:28:23.958" v="9255" actId="20577"/>
          <ac:spMkLst>
            <pc:docMk/>
            <pc:sldMk cId="1279343961" sldId="2147483643"/>
            <ac:spMk id="63" creationId="{73FF910F-16D0-2DF5-047C-250A739E70E1}"/>
          </ac:spMkLst>
        </pc:spChg>
        <pc:spChg chg="mod">
          <ac:chgData name="Abraham Rivera" userId="8e7d1955-7db3-40f7-911f-c4cfbf085fb2" providerId="ADAL" clId="{E639E250-2436-4370-97E9-9264F49096AD}" dt="2026-01-07T19:31:28.775" v="5950" actId="20577"/>
          <ac:spMkLst>
            <pc:docMk/>
            <pc:sldMk cId="1279343961" sldId="2147483643"/>
            <ac:spMk id="64" creationId="{BDC3ACDD-7DBC-F4CD-D471-6D3CC4AF8198}"/>
          </ac:spMkLst>
        </pc:spChg>
        <pc:spChg chg="mod">
          <ac:chgData name="Abraham Rivera" userId="8e7d1955-7db3-40f7-911f-c4cfbf085fb2" providerId="ADAL" clId="{E639E250-2436-4370-97E9-9264F49096AD}" dt="2026-01-09T18:50:25.490" v="6014" actId="20577"/>
          <ac:spMkLst>
            <pc:docMk/>
            <pc:sldMk cId="1279343961" sldId="2147483643"/>
            <ac:spMk id="69" creationId="{6C5D701E-8186-D985-3947-867B9D15ED3D}"/>
          </ac:spMkLst>
        </pc:spChg>
        <pc:spChg chg="mod">
          <ac:chgData name="Abraham Rivera" userId="8e7d1955-7db3-40f7-911f-c4cfbf085fb2" providerId="ADAL" clId="{E639E250-2436-4370-97E9-9264F49096AD}" dt="2026-01-09T19:49:36.582" v="8973"/>
          <ac:spMkLst>
            <pc:docMk/>
            <pc:sldMk cId="1279343961" sldId="2147483643"/>
            <ac:spMk id="70" creationId="{87606D2E-4CAB-13F1-8778-A429A3984148}"/>
          </ac:spMkLst>
        </pc:spChg>
        <pc:spChg chg="mod">
          <ac:chgData name="Abraham Rivera" userId="8e7d1955-7db3-40f7-911f-c4cfbf085fb2" providerId="ADAL" clId="{E639E250-2436-4370-97E9-9264F49096AD}" dt="2026-01-09T19:01:10.650" v="6714" actId="20577"/>
          <ac:spMkLst>
            <pc:docMk/>
            <pc:sldMk cId="1279343961" sldId="2147483643"/>
            <ac:spMk id="72" creationId="{A000A27F-5818-6F96-3056-4A3426BA2978}"/>
          </ac:spMkLst>
        </pc:spChg>
        <pc:spChg chg="mod">
          <ac:chgData name="Abraham Rivera" userId="8e7d1955-7db3-40f7-911f-c4cfbf085fb2" providerId="ADAL" clId="{E639E250-2436-4370-97E9-9264F49096AD}" dt="2026-01-07T16:14:18.299" v="5930" actId="20577"/>
          <ac:spMkLst>
            <pc:docMk/>
            <pc:sldMk cId="1279343961" sldId="2147483643"/>
            <ac:spMk id="74" creationId="{2A503AE2-FFF6-2F9F-FB66-3BBF3B50F7E5}"/>
          </ac:spMkLst>
        </pc:spChg>
        <pc:spChg chg="mod">
          <ac:chgData name="Abraham Rivera" userId="8e7d1955-7db3-40f7-911f-c4cfbf085fb2" providerId="ADAL" clId="{E639E250-2436-4370-97E9-9264F49096AD}" dt="2026-01-07T19:33:06.053" v="5963" actId="948"/>
          <ac:spMkLst>
            <pc:docMk/>
            <pc:sldMk cId="1279343961" sldId="2147483643"/>
            <ac:spMk id="75" creationId="{F93AB1F2-B309-70E6-C57C-CFB94F2FD7D6}"/>
          </ac:spMkLst>
        </pc:spChg>
        <pc:spChg chg="mod">
          <ac:chgData name="Abraham Rivera" userId="8e7d1955-7db3-40f7-911f-c4cfbf085fb2" providerId="ADAL" clId="{E639E250-2436-4370-97E9-9264F49096AD}" dt="2026-01-09T19:20:39.293" v="7600" actId="20577"/>
          <ac:spMkLst>
            <pc:docMk/>
            <pc:sldMk cId="1279343961" sldId="2147483643"/>
            <ac:spMk id="76" creationId="{AF2CBF2F-B3F6-98A2-627D-0D033CD7963D}"/>
          </ac:spMkLst>
        </pc:spChg>
        <pc:spChg chg="mod">
          <ac:chgData name="Abraham Rivera" userId="8e7d1955-7db3-40f7-911f-c4cfbf085fb2" providerId="ADAL" clId="{E639E250-2436-4370-97E9-9264F49096AD}" dt="2026-01-09T18:51:02.169" v="6064" actId="20577"/>
          <ac:spMkLst>
            <pc:docMk/>
            <pc:sldMk cId="1279343961" sldId="2147483643"/>
            <ac:spMk id="78" creationId="{6313376D-8CEA-201F-CF2C-B1D81AB712B6}"/>
          </ac:spMkLst>
        </pc:spChg>
        <pc:spChg chg="mod">
          <ac:chgData name="Abraham Rivera" userId="8e7d1955-7db3-40f7-911f-c4cfbf085fb2" providerId="ADAL" clId="{E639E250-2436-4370-97E9-9264F49096AD}" dt="2026-01-07T19:30:25.998" v="5944" actId="20577"/>
          <ac:spMkLst>
            <pc:docMk/>
            <pc:sldMk cId="1279343961" sldId="2147483643"/>
            <ac:spMk id="80" creationId="{FA7EDE1B-3101-990F-A927-6417100660BA}"/>
          </ac:spMkLst>
        </pc:spChg>
        <pc:spChg chg="mod">
          <ac:chgData name="Abraham Rivera" userId="8e7d1955-7db3-40f7-911f-c4cfbf085fb2" providerId="ADAL" clId="{E639E250-2436-4370-97E9-9264F49096AD}" dt="2026-01-09T19:00:19.442" v="6702" actId="20577"/>
          <ac:spMkLst>
            <pc:docMk/>
            <pc:sldMk cId="1279343961" sldId="2147483643"/>
            <ac:spMk id="81" creationId="{9534C2E8-73DB-0963-0D7A-C8FC443E2CB9}"/>
          </ac:spMkLst>
        </pc:spChg>
        <pc:spChg chg="mod">
          <ac:chgData name="Abraham Rivera" userId="8e7d1955-7db3-40f7-911f-c4cfbf085fb2" providerId="ADAL" clId="{E639E250-2436-4370-97E9-9264F49096AD}" dt="2026-01-09T18:58:10.539" v="6693" actId="1076"/>
          <ac:spMkLst>
            <pc:docMk/>
            <pc:sldMk cId="1279343961" sldId="2147483643"/>
            <ac:spMk id="84" creationId="{BC95B32F-6EFF-636B-1810-36267D886FF4}"/>
          </ac:spMkLst>
        </pc:spChg>
        <pc:spChg chg="mod">
          <ac:chgData name="Abraham Rivera" userId="8e7d1955-7db3-40f7-911f-c4cfbf085fb2" providerId="ADAL" clId="{E639E250-2436-4370-97E9-9264F49096AD}" dt="2026-01-19T13:56:40.863" v="10403" actId="207"/>
          <ac:spMkLst>
            <pc:docMk/>
            <pc:sldMk cId="1279343961" sldId="2147483643"/>
            <ac:spMk id="91" creationId="{9EDA7EFD-F67D-FDD6-8B4C-F819B6FC4A03}"/>
          </ac:spMkLst>
        </pc:spChg>
        <pc:spChg chg="mod">
          <ac:chgData name="Abraham Rivera" userId="8e7d1955-7db3-40f7-911f-c4cfbf085fb2" providerId="ADAL" clId="{E639E250-2436-4370-97E9-9264F49096AD}" dt="2026-01-19T13:56:44.866" v="10404" actId="207"/>
          <ac:spMkLst>
            <pc:docMk/>
            <pc:sldMk cId="1279343961" sldId="2147483643"/>
            <ac:spMk id="92" creationId="{DFD2F8D0-84FB-79AA-5036-020728C3077C}"/>
          </ac:spMkLst>
        </pc:spChg>
        <pc:spChg chg="mod">
          <ac:chgData name="Abraham Rivera" userId="8e7d1955-7db3-40f7-911f-c4cfbf085fb2" providerId="ADAL" clId="{E639E250-2436-4370-97E9-9264F49096AD}" dt="2026-01-09T18:51:50.266" v="6084" actId="948"/>
          <ac:spMkLst>
            <pc:docMk/>
            <pc:sldMk cId="1279343961" sldId="2147483643"/>
            <ac:spMk id="94" creationId="{CDB84592-83E0-06C4-5245-DED76111984E}"/>
          </ac:spMkLst>
        </pc:spChg>
        <pc:spChg chg="mod">
          <ac:chgData name="Abraham Rivera" userId="8e7d1955-7db3-40f7-911f-c4cfbf085fb2" providerId="ADAL" clId="{E639E250-2436-4370-97E9-9264F49096AD}" dt="2026-01-23T17:20:03.496" v="11917" actId="20577"/>
          <ac:spMkLst>
            <pc:docMk/>
            <pc:sldMk cId="1279343961" sldId="2147483643"/>
            <ac:spMk id="95" creationId="{0AC09648-197A-4E31-ABF5-B613CD7215BE}"/>
          </ac:spMkLst>
        </pc:spChg>
        <pc:spChg chg="mod">
          <ac:chgData name="Abraham Rivera" userId="8e7d1955-7db3-40f7-911f-c4cfbf085fb2" providerId="ADAL" clId="{E639E250-2436-4370-97E9-9264F49096AD}" dt="2026-01-16T16:21:08.765" v="9458" actId="20577"/>
          <ac:spMkLst>
            <pc:docMk/>
            <pc:sldMk cId="1279343961" sldId="2147483643"/>
            <ac:spMk id="107" creationId="{F32BD455-8534-4E70-79AC-AFFAB593C454}"/>
          </ac:spMkLst>
        </pc:spChg>
        <pc:spChg chg="mod">
          <ac:chgData name="Abraham Rivera" userId="8e7d1955-7db3-40f7-911f-c4cfbf085fb2" providerId="ADAL" clId="{E639E250-2436-4370-97E9-9264F49096AD}" dt="2026-01-09T19:49:36.582" v="8973"/>
          <ac:spMkLst>
            <pc:docMk/>
            <pc:sldMk cId="1279343961" sldId="2147483643"/>
            <ac:spMk id="108" creationId="{E123D291-7B58-6A7F-463A-160A5CE3ED59}"/>
          </ac:spMkLst>
        </pc:spChg>
        <pc:spChg chg="mod">
          <ac:chgData name="Abraham Rivera" userId="8e7d1955-7db3-40f7-911f-c4cfbf085fb2" providerId="ADAL" clId="{E639E250-2436-4370-97E9-9264F49096AD}" dt="2026-01-09T19:49:36.582" v="8973"/>
          <ac:spMkLst>
            <pc:docMk/>
            <pc:sldMk cId="1279343961" sldId="2147483643"/>
            <ac:spMk id="110" creationId="{6AB86268-762A-0587-170E-71726655BF4B}"/>
          </ac:spMkLst>
        </pc:spChg>
        <pc:spChg chg="mod">
          <ac:chgData name="Abraham Rivera" userId="8e7d1955-7db3-40f7-911f-c4cfbf085fb2" providerId="ADAL" clId="{E639E250-2436-4370-97E9-9264F49096AD}" dt="2026-01-19T13:56:30.213" v="10401" actId="207"/>
          <ac:spMkLst>
            <pc:docMk/>
            <pc:sldMk cId="1279343961" sldId="2147483643"/>
            <ac:spMk id="120" creationId="{E3D7679E-E448-034A-3239-F4A425EACFDB}"/>
          </ac:spMkLst>
        </pc:spChg>
        <pc:spChg chg="mod">
          <ac:chgData name="Abraham Rivera" userId="8e7d1955-7db3-40f7-911f-c4cfbf085fb2" providerId="ADAL" clId="{E639E250-2436-4370-97E9-9264F49096AD}" dt="2026-01-19T13:56:34.933" v="10402" actId="207"/>
          <ac:spMkLst>
            <pc:docMk/>
            <pc:sldMk cId="1279343961" sldId="2147483643"/>
            <ac:spMk id="121" creationId="{E832BC20-6843-625F-111C-14061B597087}"/>
          </ac:spMkLst>
        </pc:spChg>
        <pc:spChg chg="mod">
          <ac:chgData name="Abraham Rivera" userId="8e7d1955-7db3-40f7-911f-c4cfbf085fb2" providerId="ADAL" clId="{E639E250-2436-4370-97E9-9264F49096AD}" dt="2026-01-09T19:49:36.582" v="8973"/>
          <ac:spMkLst>
            <pc:docMk/>
            <pc:sldMk cId="1279343961" sldId="2147483643"/>
            <ac:spMk id="123" creationId="{AD35B9CA-B648-6920-E5B6-86855C0260BB}"/>
          </ac:spMkLst>
        </pc:spChg>
        <pc:spChg chg="mod">
          <ac:chgData name="Abraham Rivera" userId="8e7d1955-7db3-40f7-911f-c4cfbf085fb2" providerId="ADAL" clId="{E639E250-2436-4370-97E9-9264F49096AD}" dt="2026-01-09T19:49:36.582" v="8973"/>
          <ac:spMkLst>
            <pc:docMk/>
            <pc:sldMk cId="1279343961" sldId="2147483643"/>
            <ac:spMk id="124" creationId="{38750E87-C9E8-3DD5-5266-7F3EDE6E4514}"/>
          </ac:spMkLst>
        </pc:spChg>
        <pc:grpChg chg="add mod">
          <ac:chgData name="Abraham Rivera" userId="8e7d1955-7db3-40f7-911f-c4cfbf085fb2" providerId="ADAL" clId="{E639E250-2436-4370-97E9-9264F49096AD}" dt="2026-01-09T19:49:36.582" v="8973"/>
          <ac:grpSpMkLst>
            <pc:docMk/>
            <pc:sldMk cId="1279343961" sldId="2147483643"/>
            <ac:grpSpMk id="34" creationId="{206D6A69-EB59-2A57-E8BC-0A07B5FE8CA1}"/>
          </ac:grpSpMkLst>
        </pc:grpChg>
        <pc:grpChg chg="add mod">
          <ac:chgData name="Abraham Rivera" userId="8e7d1955-7db3-40f7-911f-c4cfbf085fb2" providerId="ADAL" clId="{E639E250-2436-4370-97E9-9264F49096AD}" dt="2026-01-09T19:49:36.582" v="8973"/>
          <ac:grpSpMkLst>
            <pc:docMk/>
            <pc:sldMk cId="1279343961" sldId="2147483643"/>
            <ac:grpSpMk id="73" creationId="{CC85D45B-A183-EE07-1980-1067D7AA42BB}"/>
          </ac:grpSpMkLst>
        </pc:grpChg>
        <pc:grpChg chg="add mod">
          <ac:chgData name="Abraham Rivera" userId="8e7d1955-7db3-40f7-911f-c4cfbf085fb2" providerId="ADAL" clId="{E639E250-2436-4370-97E9-9264F49096AD}" dt="2026-01-09T19:49:36.582" v="8973"/>
          <ac:grpSpMkLst>
            <pc:docMk/>
            <pc:sldMk cId="1279343961" sldId="2147483643"/>
            <ac:grpSpMk id="111" creationId="{FBA1C656-4CF4-D305-3D42-4520227707C9}"/>
          </ac:grpSpMkLst>
        </pc:grpChg>
      </pc:sldChg>
      <pc:sldChg chg="add del">
        <pc:chgData name="Abraham Rivera" userId="8e7d1955-7db3-40f7-911f-c4cfbf085fb2" providerId="ADAL" clId="{E639E250-2436-4370-97E9-9264F49096AD}" dt="2026-01-28T20:05:28.141" v="13679" actId="47"/>
        <pc:sldMkLst>
          <pc:docMk/>
          <pc:sldMk cId="151091176" sldId="2147483644"/>
        </pc:sldMkLst>
      </pc:sldChg>
      <pc:sldChg chg="addSp delSp modSp add del mod">
        <pc:chgData name="Abraham Rivera" userId="8e7d1955-7db3-40f7-911f-c4cfbf085fb2" providerId="ADAL" clId="{E639E250-2436-4370-97E9-9264F49096AD}" dt="2026-01-28T17:32:16.152" v="13466" actId="47"/>
        <pc:sldMkLst>
          <pc:docMk/>
          <pc:sldMk cId="2696654413" sldId="2147483645"/>
        </pc:sldMkLst>
        <pc:spChg chg="del">
          <ac:chgData name="Abraham Rivera" userId="8e7d1955-7db3-40f7-911f-c4cfbf085fb2" providerId="ADAL" clId="{E639E250-2436-4370-97E9-9264F49096AD}" dt="2026-01-28T16:16:59.275" v="11924" actId="478"/>
          <ac:spMkLst>
            <pc:docMk/>
            <pc:sldMk cId="2696654413" sldId="2147483645"/>
            <ac:spMk id="3" creationId="{D7F38A78-053A-2AA9-075C-D51BC34D0EAA}"/>
          </ac:spMkLst>
        </pc:spChg>
        <pc:spChg chg="add mod">
          <ac:chgData name="Abraham Rivera" userId="8e7d1955-7db3-40f7-911f-c4cfbf085fb2" providerId="ADAL" clId="{E639E250-2436-4370-97E9-9264F49096AD}" dt="2026-01-28T16:54:36.556" v="12966" actId="1076"/>
          <ac:spMkLst>
            <pc:docMk/>
            <pc:sldMk cId="2696654413" sldId="2147483645"/>
            <ac:spMk id="4" creationId="{131A093E-719A-FC76-CD3A-A747C9784455}"/>
          </ac:spMkLst>
        </pc:spChg>
        <pc:spChg chg="add del">
          <ac:chgData name="Abraham Rivera" userId="8e7d1955-7db3-40f7-911f-c4cfbf085fb2" providerId="ADAL" clId="{E639E250-2436-4370-97E9-9264F49096AD}" dt="2026-01-28T16:18:41.992" v="11978" actId="11529"/>
          <ac:spMkLst>
            <pc:docMk/>
            <pc:sldMk cId="2696654413" sldId="2147483645"/>
            <ac:spMk id="5" creationId="{F17F91DF-D49E-7E2B-1768-297B866F2FB9}"/>
          </ac:spMkLst>
        </pc:spChg>
        <pc:spChg chg="del">
          <ac:chgData name="Abraham Rivera" userId="8e7d1955-7db3-40f7-911f-c4cfbf085fb2" providerId="ADAL" clId="{E639E250-2436-4370-97E9-9264F49096AD}" dt="2026-01-28T16:16:54.511" v="11923" actId="478"/>
          <ac:spMkLst>
            <pc:docMk/>
            <pc:sldMk cId="2696654413" sldId="2147483645"/>
            <ac:spMk id="6" creationId="{9E339212-F5A5-DCA2-5E2B-2703D2496DA6}"/>
          </ac:spMkLst>
        </pc:spChg>
        <pc:spChg chg="del">
          <ac:chgData name="Abraham Rivera" userId="8e7d1955-7db3-40f7-911f-c4cfbf085fb2" providerId="ADAL" clId="{E639E250-2436-4370-97E9-9264F49096AD}" dt="2026-01-28T16:16:54.511" v="11923" actId="478"/>
          <ac:spMkLst>
            <pc:docMk/>
            <pc:sldMk cId="2696654413" sldId="2147483645"/>
            <ac:spMk id="7" creationId="{DC18090B-EECF-0474-B4C1-26E68AAB6777}"/>
          </ac:spMkLst>
        </pc:spChg>
        <pc:spChg chg="del">
          <ac:chgData name="Abraham Rivera" userId="8e7d1955-7db3-40f7-911f-c4cfbf085fb2" providerId="ADAL" clId="{E639E250-2436-4370-97E9-9264F49096AD}" dt="2026-01-28T16:16:54.511" v="11923" actId="478"/>
          <ac:spMkLst>
            <pc:docMk/>
            <pc:sldMk cId="2696654413" sldId="2147483645"/>
            <ac:spMk id="9" creationId="{10EE7E99-59B7-CF14-E480-2F5B727433C5}"/>
          </ac:spMkLst>
        </pc:spChg>
        <pc:spChg chg="add mod">
          <ac:chgData name="Abraham Rivera" userId="8e7d1955-7db3-40f7-911f-c4cfbf085fb2" providerId="ADAL" clId="{E639E250-2436-4370-97E9-9264F49096AD}" dt="2026-01-28T16:54:36.556" v="12966" actId="1076"/>
          <ac:spMkLst>
            <pc:docMk/>
            <pc:sldMk cId="2696654413" sldId="2147483645"/>
            <ac:spMk id="10" creationId="{9F88E8F0-C6A4-0390-4901-CE099E7CE96F}"/>
          </ac:spMkLst>
        </pc:spChg>
        <pc:spChg chg="del">
          <ac:chgData name="Abraham Rivera" userId="8e7d1955-7db3-40f7-911f-c4cfbf085fb2" providerId="ADAL" clId="{E639E250-2436-4370-97E9-9264F49096AD}" dt="2026-01-28T16:16:54.511" v="11923" actId="478"/>
          <ac:spMkLst>
            <pc:docMk/>
            <pc:sldMk cId="2696654413" sldId="2147483645"/>
            <ac:spMk id="11" creationId="{215CC031-A0E5-5CCB-3807-F0BA58187EA6}"/>
          </ac:spMkLst>
        </pc:spChg>
        <pc:spChg chg="del">
          <ac:chgData name="Abraham Rivera" userId="8e7d1955-7db3-40f7-911f-c4cfbf085fb2" providerId="ADAL" clId="{E639E250-2436-4370-97E9-9264F49096AD}" dt="2026-01-28T16:16:54.511" v="11923" actId="478"/>
          <ac:spMkLst>
            <pc:docMk/>
            <pc:sldMk cId="2696654413" sldId="2147483645"/>
            <ac:spMk id="12" creationId="{9F3DB9EF-1870-0D0B-8557-933EF9706824}"/>
          </ac:spMkLst>
        </pc:spChg>
        <pc:spChg chg="del">
          <ac:chgData name="Abraham Rivera" userId="8e7d1955-7db3-40f7-911f-c4cfbf085fb2" providerId="ADAL" clId="{E639E250-2436-4370-97E9-9264F49096AD}" dt="2026-01-28T16:16:54.511" v="11923" actId="478"/>
          <ac:spMkLst>
            <pc:docMk/>
            <pc:sldMk cId="2696654413" sldId="2147483645"/>
            <ac:spMk id="13" creationId="{DE24D2E0-53C5-D282-BCAE-8A4E7023A80D}"/>
          </ac:spMkLst>
        </pc:spChg>
        <pc:spChg chg="add mod">
          <ac:chgData name="Abraham Rivera" userId="8e7d1955-7db3-40f7-911f-c4cfbf085fb2" providerId="ADAL" clId="{E639E250-2436-4370-97E9-9264F49096AD}" dt="2026-01-28T16:19:55.204" v="12002" actId="1076"/>
          <ac:spMkLst>
            <pc:docMk/>
            <pc:sldMk cId="2696654413" sldId="2147483645"/>
            <ac:spMk id="14" creationId="{FA79DF39-411D-2465-D108-758984569854}"/>
          </ac:spMkLst>
        </pc:spChg>
        <pc:spChg chg="add mod">
          <ac:chgData name="Abraham Rivera" userId="8e7d1955-7db3-40f7-911f-c4cfbf085fb2" providerId="ADAL" clId="{E639E250-2436-4370-97E9-9264F49096AD}" dt="2026-01-28T17:00:17.163" v="13018" actId="1035"/>
          <ac:spMkLst>
            <pc:docMk/>
            <pc:sldMk cId="2696654413" sldId="2147483645"/>
            <ac:spMk id="15" creationId="{72E1A937-6827-648C-36EE-2BD2AB567FEC}"/>
          </ac:spMkLst>
        </pc:spChg>
        <pc:spChg chg="add mod">
          <ac:chgData name="Abraham Rivera" userId="8e7d1955-7db3-40f7-911f-c4cfbf085fb2" providerId="ADAL" clId="{E639E250-2436-4370-97E9-9264F49096AD}" dt="2026-01-28T16:54:36.556" v="12966" actId="1076"/>
          <ac:spMkLst>
            <pc:docMk/>
            <pc:sldMk cId="2696654413" sldId="2147483645"/>
            <ac:spMk id="16" creationId="{CE6B7486-4B8C-E8B1-83FE-1DB82589A96A}"/>
          </ac:spMkLst>
        </pc:spChg>
        <pc:spChg chg="add mod">
          <ac:chgData name="Abraham Rivera" userId="8e7d1955-7db3-40f7-911f-c4cfbf085fb2" providerId="ADAL" clId="{E639E250-2436-4370-97E9-9264F49096AD}" dt="2026-01-28T16:54:36.556" v="12966" actId="1076"/>
          <ac:spMkLst>
            <pc:docMk/>
            <pc:sldMk cId="2696654413" sldId="2147483645"/>
            <ac:spMk id="17" creationId="{E328A331-08AD-3E6C-E248-86F307AAFC2D}"/>
          </ac:spMkLst>
        </pc:spChg>
        <pc:spChg chg="add mod">
          <ac:chgData name="Abraham Rivera" userId="8e7d1955-7db3-40f7-911f-c4cfbf085fb2" providerId="ADAL" clId="{E639E250-2436-4370-97E9-9264F49096AD}" dt="2026-01-28T16:54:36.556" v="12966" actId="1076"/>
          <ac:spMkLst>
            <pc:docMk/>
            <pc:sldMk cId="2696654413" sldId="2147483645"/>
            <ac:spMk id="18" creationId="{1EA29C40-4F22-7579-84A8-2301FAB87CCE}"/>
          </ac:spMkLst>
        </pc:spChg>
        <pc:spChg chg="add mod">
          <ac:chgData name="Abraham Rivera" userId="8e7d1955-7db3-40f7-911f-c4cfbf085fb2" providerId="ADAL" clId="{E639E250-2436-4370-97E9-9264F49096AD}" dt="2026-01-28T16:54:36.556" v="12966" actId="1076"/>
          <ac:spMkLst>
            <pc:docMk/>
            <pc:sldMk cId="2696654413" sldId="2147483645"/>
            <ac:spMk id="19" creationId="{3F18D2C6-CA4D-6B8A-A866-9C732ED5FE68}"/>
          </ac:spMkLst>
        </pc:spChg>
        <pc:spChg chg="add mod">
          <ac:chgData name="Abraham Rivera" userId="8e7d1955-7db3-40f7-911f-c4cfbf085fb2" providerId="ADAL" clId="{E639E250-2436-4370-97E9-9264F49096AD}" dt="2026-01-28T17:00:17.163" v="13018" actId="1035"/>
          <ac:spMkLst>
            <pc:docMk/>
            <pc:sldMk cId="2696654413" sldId="2147483645"/>
            <ac:spMk id="20" creationId="{8D8675FA-0AB4-5486-A99C-22A074E437C7}"/>
          </ac:spMkLst>
        </pc:spChg>
        <pc:spChg chg="add mod">
          <ac:chgData name="Abraham Rivera" userId="8e7d1955-7db3-40f7-911f-c4cfbf085fb2" providerId="ADAL" clId="{E639E250-2436-4370-97E9-9264F49096AD}" dt="2026-01-28T16:24:56.263" v="12216" actId="20577"/>
          <ac:spMkLst>
            <pc:docMk/>
            <pc:sldMk cId="2696654413" sldId="2147483645"/>
            <ac:spMk id="21" creationId="{FFD448AD-CAF8-BB10-A29D-E66581492F9F}"/>
          </ac:spMkLst>
        </pc:spChg>
        <pc:spChg chg="add mod">
          <ac:chgData name="Abraham Rivera" userId="8e7d1955-7db3-40f7-911f-c4cfbf085fb2" providerId="ADAL" clId="{E639E250-2436-4370-97E9-9264F49096AD}" dt="2026-01-28T16:27:26.535" v="12349" actId="1036"/>
          <ac:spMkLst>
            <pc:docMk/>
            <pc:sldMk cId="2696654413" sldId="2147483645"/>
            <ac:spMk id="22" creationId="{CA2E5417-8B83-6DB8-B7F6-716D4EF1C88C}"/>
          </ac:spMkLst>
        </pc:spChg>
        <pc:spChg chg="add mod">
          <ac:chgData name="Abraham Rivera" userId="8e7d1955-7db3-40f7-911f-c4cfbf085fb2" providerId="ADAL" clId="{E639E250-2436-4370-97E9-9264F49096AD}" dt="2026-01-28T16:47:44.175" v="12847"/>
          <ac:spMkLst>
            <pc:docMk/>
            <pc:sldMk cId="2696654413" sldId="2147483645"/>
            <ac:spMk id="23" creationId="{D250AC02-227E-54D5-07E4-8C7D409852AC}"/>
          </ac:spMkLst>
        </pc:spChg>
        <pc:spChg chg="add mod">
          <ac:chgData name="Abraham Rivera" userId="8e7d1955-7db3-40f7-911f-c4cfbf085fb2" providerId="ADAL" clId="{E639E250-2436-4370-97E9-9264F49096AD}" dt="2026-01-28T16:23:18.205" v="12126" actId="1076"/>
          <ac:spMkLst>
            <pc:docMk/>
            <pc:sldMk cId="2696654413" sldId="2147483645"/>
            <ac:spMk id="24" creationId="{A9FB0EB8-1E13-C905-3585-B663B1CB47E5}"/>
          </ac:spMkLst>
        </pc:spChg>
        <pc:spChg chg="add mod">
          <ac:chgData name="Abraham Rivera" userId="8e7d1955-7db3-40f7-911f-c4cfbf085fb2" providerId="ADAL" clId="{E639E250-2436-4370-97E9-9264F49096AD}" dt="2026-01-28T16:47:33.383" v="12846" actId="108"/>
          <ac:spMkLst>
            <pc:docMk/>
            <pc:sldMk cId="2696654413" sldId="2147483645"/>
            <ac:spMk id="25" creationId="{9C2A2904-23F9-5F05-5DAB-0E1514E9AAA6}"/>
          </ac:spMkLst>
        </pc:spChg>
        <pc:spChg chg="add mod">
          <ac:chgData name="Abraham Rivera" userId="8e7d1955-7db3-40f7-911f-c4cfbf085fb2" providerId="ADAL" clId="{E639E250-2436-4370-97E9-9264F49096AD}" dt="2026-01-28T17:00:17.163" v="13018" actId="1035"/>
          <ac:spMkLst>
            <pc:docMk/>
            <pc:sldMk cId="2696654413" sldId="2147483645"/>
            <ac:spMk id="26" creationId="{5086C487-4070-CE01-EAD7-FF7EE765F5F2}"/>
          </ac:spMkLst>
        </pc:spChg>
        <pc:spChg chg="add mod">
          <ac:chgData name="Abraham Rivera" userId="8e7d1955-7db3-40f7-911f-c4cfbf085fb2" providerId="ADAL" clId="{E639E250-2436-4370-97E9-9264F49096AD}" dt="2026-01-28T16:28:08.302" v="12354" actId="20577"/>
          <ac:spMkLst>
            <pc:docMk/>
            <pc:sldMk cId="2696654413" sldId="2147483645"/>
            <ac:spMk id="27" creationId="{3A0FA585-F0A3-453F-85C8-E128D15E8C83}"/>
          </ac:spMkLst>
        </pc:spChg>
        <pc:spChg chg="add mod">
          <ac:chgData name="Abraham Rivera" userId="8e7d1955-7db3-40f7-911f-c4cfbf085fb2" providerId="ADAL" clId="{E639E250-2436-4370-97E9-9264F49096AD}" dt="2026-01-28T16:52:52.416" v="12961" actId="207"/>
          <ac:spMkLst>
            <pc:docMk/>
            <pc:sldMk cId="2696654413" sldId="2147483645"/>
            <ac:spMk id="28" creationId="{BD4F8F97-E85F-6D13-9CCD-9AB59516B59D}"/>
          </ac:spMkLst>
        </pc:spChg>
        <pc:spChg chg="add mod">
          <ac:chgData name="Abraham Rivera" userId="8e7d1955-7db3-40f7-911f-c4cfbf085fb2" providerId="ADAL" clId="{E639E250-2436-4370-97E9-9264F49096AD}" dt="2026-01-28T16:47:48.400" v="12848"/>
          <ac:spMkLst>
            <pc:docMk/>
            <pc:sldMk cId="2696654413" sldId="2147483645"/>
            <ac:spMk id="29" creationId="{FE0AE370-9518-24A4-B8B7-C65F67BD964A}"/>
          </ac:spMkLst>
        </pc:spChg>
        <pc:spChg chg="del">
          <ac:chgData name="Abraham Rivera" userId="8e7d1955-7db3-40f7-911f-c4cfbf085fb2" providerId="ADAL" clId="{E639E250-2436-4370-97E9-9264F49096AD}" dt="2026-01-28T16:16:54.511" v="11923" actId="478"/>
          <ac:spMkLst>
            <pc:docMk/>
            <pc:sldMk cId="2696654413" sldId="2147483645"/>
            <ac:spMk id="30" creationId="{18A7D849-32D7-39B9-FDA9-041B94B22867}"/>
          </ac:spMkLst>
        </pc:spChg>
        <pc:spChg chg="add mod">
          <ac:chgData name="Abraham Rivera" userId="8e7d1955-7db3-40f7-911f-c4cfbf085fb2" providerId="ADAL" clId="{E639E250-2436-4370-97E9-9264F49096AD}" dt="2026-01-28T16:30:53.059" v="12410" actId="207"/>
          <ac:spMkLst>
            <pc:docMk/>
            <pc:sldMk cId="2696654413" sldId="2147483645"/>
            <ac:spMk id="31" creationId="{EB116A09-09ED-F432-364E-49BB4D6DC4F9}"/>
          </ac:spMkLst>
        </pc:spChg>
        <pc:spChg chg="add mod">
          <ac:chgData name="Abraham Rivera" userId="8e7d1955-7db3-40f7-911f-c4cfbf085fb2" providerId="ADAL" clId="{E639E250-2436-4370-97E9-9264F49096AD}" dt="2026-01-28T16:47:50.161" v="12849"/>
          <ac:spMkLst>
            <pc:docMk/>
            <pc:sldMk cId="2696654413" sldId="2147483645"/>
            <ac:spMk id="32" creationId="{BCE3204C-5539-340B-CC59-D845530371E7}"/>
          </ac:spMkLst>
        </pc:spChg>
        <pc:spChg chg="add mod">
          <ac:chgData name="Abraham Rivera" userId="8e7d1955-7db3-40f7-911f-c4cfbf085fb2" providerId="ADAL" clId="{E639E250-2436-4370-97E9-9264F49096AD}" dt="2026-01-28T17:00:17.163" v="13018" actId="1035"/>
          <ac:spMkLst>
            <pc:docMk/>
            <pc:sldMk cId="2696654413" sldId="2147483645"/>
            <ac:spMk id="33" creationId="{10F072FA-01A1-5219-43D1-5CF189A0B7EC}"/>
          </ac:spMkLst>
        </pc:spChg>
        <pc:spChg chg="add mod">
          <ac:chgData name="Abraham Rivera" userId="8e7d1955-7db3-40f7-911f-c4cfbf085fb2" providerId="ADAL" clId="{E639E250-2436-4370-97E9-9264F49096AD}" dt="2026-01-28T16:47:57.085" v="12850"/>
          <ac:spMkLst>
            <pc:docMk/>
            <pc:sldMk cId="2696654413" sldId="2147483645"/>
            <ac:spMk id="34" creationId="{4274326A-9CE3-83DD-4BFF-3677F5D87610}"/>
          </ac:spMkLst>
        </pc:spChg>
        <pc:spChg chg="del">
          <ac:chgData name="Abraham Rivera" userId="8e7d1955-7db3-40f7-911f-c4cfbf085fb2" providerId="ADAL" clId="{E639E250-2436-4370-97E9-9264F49096AD}" dt="2026-01-28T16:16:54.511" v="11923" actId="478"/>
          <ac:spMkLst>
            <pc:docMk/>
            <pc:sldMk cId="2696654413" sldId="2147483645"/>
            <ac:spMk id="35" creationId="{B9A01B75-D708-D24C-70A4-D16286066CF4}"/>
          </ac:spMkLst>
        </pc:spChg>
        <pc:spChg chg="add mod">
          <ac:chgData name="Abraham Rivera" userId="8e7d1955-7db3-40f7-911f-c4cfbf085fb2" providerId="ADAL" clId="{E639E250-2436-4370-97E9-9264F49096AD}" dt="2026-01-28T16:31:01.482" v="12411" actId="207"/>
          <ac:spMkLst>
            <pc:docMk/>
            <pc:sldMk cId="2696654413" sldId="2147483645"/>
            <ac:spMk id="36" creationId="{A2713ED9-2BB5-C8CF-7568-F1934EB71A37}"/>
          </ac:spMkLst>
        </pc:spChg>
        <pc:spChg chg="add mod">
          <ac:chgData name="Abraham Rivera" userId="8e7d1955-7db3-40f7-911f-c4cfbf085fb2" providerId="ADAL" clId="{E639E250-2436-4370-97E9-9264F49096AD}" dt="2026-01-28T16:47:59.085" v="12851"/>
          <ac:spMkLst>
            <pc:docMk/>
            <pc:sldMk cId="2696654413" sldId="2147483645"/>
            <ac:spMk id="38" creationId="{84D2AD24-9939-87E2-8572-89074E8F6B88}"/>
          </ac:spMkLst>
        </pc:spChg>
        <pc:spChg chg="mod">
          <ac:chgData name="Abraham Rivera" userId="8e7d1955-7db3-40f7-911f-c4cfbf085fb2" providerId="ADAL" clId="{E639E250-2436-4370-97E9-9264F49096AD}" dt="2026-01-28T16:17:06.090" v="11933" actId="20577"/>
          <ac:spMkLst>
            <pc:docMk/>
            <pc:sldMk cId="2696654413" sldId="2147483645"/>
            <ac:spMk id="39" creationId="{E2E0677C-AC64-008E-6DB2-3F778D05D5AF}"/>
          </ac:spMkLst>
        </pc:spChg>
        <pc:spChg chg="add mod">
          <ac:chgData name="Abraham Rivera" userId="8e7d1955-7db3-40f7-911f-c4cfbf085fb2" providerId="ADAL" clId="{E639E250-2436-4370-97E9-9264F49096AD}" dt="2026-01-28T16:30:53.059" v="12410" actId="207"/>
          <ac:spMkLst>
            <pc:docMk/>
            <pc:sldMk cId="2696654413" sldId="2147483645"/>
            <ac:spMk id="40" creationId="{23754705-4A48-CFC4-6F2A-0DF4B2A51E4A}"/>
          </ac:spMkLst>
        </pc:spChg>
        <pc:spChg chg="add mod">
          <ac:chgData name="Abraham Rivera" userId="8e7d1955-7db3-40f7-911f-c4cfbf085fb2" providerId="ADAL" clId="{E639E250-2436-4370-97E9-9264F49096AD}" dt="2026-01-28T16:48:08.926" v="12853" actId="108"/>
          <ac:spMkLst>
            <pc:docMk/>
            <pc:sldMk cId="2696654413" sldId="2147483645"/>
            <ac:spMk id="41" creationId="{4E21270D-B64D-F0E6-3266-693378E88945}"/>
          </ac:spMkLst>
        </pc:spChg>
        <pc:spChg chg="add mod">
          <ac:chgData name="Abraham Rivera" userId="8e7d1955-7db3-40f7-911f-c4cfbf085fb2" providerId="ADAL" clId="{E639E250-2436-4370-97E9-9264F49096AD}" dt="2026-01-28T16:26:55.361" v="12311" actId="207"/>
          <ac:spMkLst>
            <pc:docMk/>
            <pc:sldMk cId="2696654413" sldId="2147483645"/>
            <ac:spMk id="42" creationId="{4A93EC38-F409-0E2F-F1E2-D08C1ECE646E}"/>
          </ac:spMkLst>
        </pc:spChg>
        <pc:spChg chg="add mod">
          <ac:chgData name="Abraham Rivera" userId="8e7d1955-7db3-40f7-911f-c4cfbf085fb2" providerId="ADAL" clId="{E639E250-2436-4370-97E9-9264F49096AD}" dt="2026-01-28T16:30:14.519" v="12387" actId="20577"/>
          <ac:spMkLst>
            <pc:docMk/>
            <pc:sldMk cId="2696654413" sldId="2147483645"/>
            <ac:spMk id="43" creationId="{C7D2F35C-EE6F-FDB7-7326-430C0D3CC5FA}"/>
          </ac:spMkLst>
        </pc:spChg>
        <pc:spChg chg="add mod">
          <ac:chgData name="Abraham Rivera" userId="8e7d1955-7db3-40f7-911f-c4cfbf085fb2" providerId="ADAL" clId="{E639E250-2436-4370-97E9-9264F49096AD}" dt="2026-01-28T16:29:20.159" v="12368" actId="1076"/>
          <ac:spMkLst>
            <pc:docMk/>
            <pc:sldMk cId="2696654413" sldId="2147483645"/>
            <ac:spMk id="44" creationId="{534671BD-5C0D-E24A-96C1-1B12DEE8E0D9}"/>
          </ac:spMkLst>
        </pc:spChg>
        <pc:spChg chg="add mod">
          <ac:chgData name="Abraham Rivera" userId="8e7d1955-7db3-40f7-911f-c4cfbf085fb2" providerId="ADAL" clId="{E639E250-2436-4370-97E9-9264F49096AD}" dt="2026-01-28T16:48:35.705" v="12861" actId="20577"/>
          <ac:spMkLst>
            <pc:docMk/>
            <pc:sldMk cId="2696654413" sldId="2147483645"/>
            <ac:spMk id="45" creationId="{EBD319A3-5985-B3DF-EE39-550D9CB767E9}"/>
          </ac:spMkLst>
        </pc:spChg>
        <pc:spChg chg="add mod">
          <ac:chgData name="Abraham Rivera" userId="8e7d1955-7db3-40f7-911f-c4cfbf085fb2" providerId="ADAL" clId="{E639E250-2436-4370-97E9-9264F49096AD}" dt="2026-01-28T16:29:20.159" v="12368" actId="1076"/>
          <ac:spMkLst>
            <pc:docMk/>
            <pc:sldMk cId="2696654413" sldId="2147483645"/>
            <ac:spMk id="46" creationId="{40064A60-27B0-4C72-C2AD-049FAFA02960}"/>
          </ac:spMkLst>
        </pc:spChg>
        <pc:spChg chg="add mod">
          <ac:chgData name="Abraham Rivera" userId="8e7d1955-7db3-40f7-911f-c4cfbf085fb2" providerId="ADAL" clId="{E639E250-2436-4370-97E9-9264F49096AD}" dt="2026-01-28T16:48:26.241" v="12856" actId="108"/>
          <ac:spMkLst>
            <pc:docMk/>
            <pc:sldMk cId="2696654413" sldId="2147483645"/>
            <ac:spMk id="47" creationId="{841F0141-9922-D939-C50F-72E17202D2F7}"/>
          </ac:spMkLst>
        </pc:spChg>
        <pc:spChg chg="add mod">
          <ac:chgData name="Abraham Rivera" userId="8e7d1955-7db3-40f7-911f-c4cfbf085fb2" providerId="ADAL" clId="{E639E250-2436-4370-97E9-9264F49096AD}" dt="2026-01-28T17:00:17.163" v="13018" actId="1035"/>
          <ac:spMkLst>
            <pc:docMk/>
            <pc:sldMk cId="2696654413" sldId="2147483645"/>
            <ac:spMk id="48" creationId="{DADE3D2E-242C-D557-2CD3-BEE49B0ACB9C}"/>
          </ac:spMkLst>
        </pc:spChg>
        <pc:spChg chg="add mod">
          <ac:chgData name="Abraham Rivera" userId="8e7d1955-7db3-40f7-911f-c4cfbf085fb2" providerId="ADAL" clId="{E639E250-2436-4370-97E9-9264F49096AD}" dt="2026-01-28T16:48:50.830" v="12864"/>
          <ac:spMkLst>
            <pc:docMk/>
            <pc:sldMk cId="2696654413" sldId="2147483645"/>
            <ac:spMk id="49" creationId="{E03AE986-22F3-BEFA-2841-4030B5067CB5}"/>
          </ac:spMkLst>
        </pc:spChg>
        <pc:spChg chg="add mod">
          <ac:chgData name="Abraham Rivera" userId="8e7d1955-7db3-40f7-911f-c4cfbf085fb2" providerId="ADAL" clId="{E639E250-2436-4370-97E9-9264F49096AD}" dt="2026-01-28T16:53:03.223" v="12962" actId="207"/>
          <ac:spMkLst>
            <pc:docMk/>
            <pc:sldMk cId="2696654413" sldId="2147483645"/>
            <ac:spMk id="50" creationId="{5F9C9F22-5A6A-75D9-78E9-6293E48BB82E}"/>
          </ac:spMkLst>
        </pc:spChg>
        <pc:spChg chg="add mod">
          <ac:chgData name="Abraham Rivera" userId="8e7d1955-7db3-40f7-911f-c4cfbf085fb2" providerId="ADAL" clId="{E639E250-2436-4370-97E9-9264F49096AD}" dt="2026-01-28T16:48:46.830" v="12863"/>
          <ac:spMkLst>
            <pc:docMk/>
            <pc:sldMk cId="2696654413" sldId="2147483645"/>
            <ac:spMk id="51" creationId="{34C9D632-EB03-9782-E63D-DF39AB36ADB2}"/>
          </ac:spMkLst>
        </pc:spChg>
        <pc:spChg chg="add mod">
          <ac:chgData name="Abraham Rivera" userId="8e7d1955-7db3-40f7-911f-c4cfbf085fb2" providerId="ADAL" clId="{E639E250-2436-4370-97E9-9264F49096AD}" dt="2026-01-28T16:53:03.223" v="12962" actId="207"/>
          <ac:spMkLst>
            <pc:docMk/>
            <pc:sldMk cId="2696654413" sldId="2147483645"/>
            <ac:spMk id="52" creationId="{050C8E90-502F-41B2-76BD-EE7745CBFAD3}"/>
          </ac:spMkLst>
        </pc:spChg>
        <pc:spChg chg="add mod">
          <ac:chgData name="Abraham Rivera" userId="8e7d1955-7db3-40f7-911f-c4cfbf085fb2" providerId="ADAL" clId="{E639E250-2436-4370-97E9-9264F49096AD}" dt="2026-01-28T16:34:04.134" v="12498" actId="20577"/>
          <ac:spMkLst>
            <pc:docMk/>
            <pc:sldMk cId="2696654413" sldId="2147483645"/>
            <ac:spMk id="53" creationId="{E3C0A673-E5D9-466A-5E49-CE9C15CD52C3}"/>
          </ac:spMkLst>
        </pc:spChg>
        <pc:spChg chg="add mod">
          <ac:chgData name="Abraham Rivera" userId="8e7d1955-7db3-40f7-911f-c4cfbf085fb2" providerId="ADAL" clId="{E639E250-2436-4370-97E9-9264F49096AD}" dt="2026-01-28T16:33:49.860" v="12477" actId="1076"/>
          <ac:spMkLst>
            <pc:docMk/>
            <pc:sldMk cId="2696654413" sldId="2147483645"/>
            <ac:spMk id="54" creationId="{E8CEEB13-DEC2-24F1-DFBD-AC2C6DC24964}"/>
          </ac:spMkLst>
        </pc:spChg>
        <pc:spChg chg="mod">
          <ac:chgData name="Abraham Rivera" userId="8e7d1955-7db3-40f7-911f-c4cfbf085fb2" providerId="ADAL" clId="{E639E250-2436-4370-97E9-9264F49096AD}" dt="2026-01-28T16:49:18.219" v="12865"/>
          <ac:spMkLst>
            <pc:docMk/>
            <pc:sldMk cId="2696654413" sldId="2147483645"/>
            <ac:spMk id="55" creationId="{469A1165-B981-C2C6-8AA9-AEAD3597C025}"/>
          </ac:spMkLst>
        </pc:spChg>
        <pc:spChg chg="add mod">
          <ac:chgData name="Abraham Rivera" userId="8e7d1955-7db3-40f7-911f-c4cfbf085fb2" providerId="ADAL" clId="{E639E250-2436-4370-97E9-9264F49096AD}" dt="2026-01-28T16:33:49.860" v="12477" actId="1076"/>
          <ac:spMkLst>
            <pc:docMk/>
            <pc:sldMk cId="2696654413" sldId="2147483645"/>
            <ac:spMk id="56" creationId="{FC3ADA7D-176E-6012-C4E9-12BAE228D137}"/>
          </ac:spMkLst>
        </pc:spChg>
        <pc:spChg chg="add mod">
          <ac:chgData name="Abraham Rivera" userId="8e7d1955-7db3-40f7-911f-c4cfbf085fb2" providerId="ADAL" clId="{E639E250-2436-4370-97E9-9264F49096AD}" dt="2026-01-28T16:49:31.972" v="12868" actId="108"/>
          <ac:spMkLst>
            <pc:docMk/>
            <pc:sldMk cId="2696654413" sldId="2147483645"/>
            <ac:spMk id="57" creationId="{64838D54-49E2-F1DB-15EE-605C578D6127}"/>
          </ac:spMkLst>
        </pc:spChg>
        <pc:spChg chg="add mod">
          <ac:chgData name="Abraham Rivera" userId="8e7d1955-7db3-40f7-911f-c4cfbf085fb2" providerId="ADAL" clId="{E639E250-2436-4370-97E9-9264F49096AD}" dt="2026-01-28T17:00:17.163" v="13018" actId="1035"/>
          <ac:spMkLst>
            <pc:docMk/>
            <pc:sldMk cId="2696654413" sldId="2147483645"/>
            <ac:spMk id="58" creationId="{A2008049-5516-BB13-1A45-E9AA146C589C}"/>
          </ac:spMkLst>
        </pc:spChg>
        <pc:spChg chg="add mod">
          <ac:chgData name="Abraham Rivera" userId="8e7d1955-7db3-40f7-911f-c4cfbf085fb2" providerId="ADAL" clId="{E639E250-2436-4370-97E9-9264F49096AD}" dt="2026-01-28T16:49:43.132" v="12869"/>
          <ac:spMkLst>
            <pc:docMk/>
            <pc:sldMk cId="2696654413" sldId="2147483645"/>
            <ac:spMk id="59" creationId="{FD5FC4F3-7098-162F-2466-C9F7355D3EC4}"/>
          </ac:spMkLst>
        </pc:spChg>
        <pc:spChg chg="add mod">
          <ac:chgData name="Abraham Rivera" userId="8e7d1955-7db3-40f7-911f-c4cfbf085fb2" providerId="ADAL" clId="{E639E250-2436-4370-97E9-9264F49096AD}" dt="2026-01-28T16:44:16.795" v="12762" actId="207"/>
          <ac:spMkLst>
            <pc:docMk/>
            <pc:sldMk cId="2696654413" sldId="2147483645"/>
            <ac:spMk id="60" creationId="{618AA0B9-9542-E419-C84D-C9F52120D221}"/>
          </ac:spMkLst>
        </pc:spChg>
        <pc:spChg chg="mod">
          <ac:chgData name="Abraham Rivera" userId="8e7d1955-7db3-40f7-911f-c4cfbf085fb2" providerId="ADAL" clId="{E639E250-2436-4370-97E9-9264F49096AD}" dt="2026-01-28T16:49:55.938" v="12872" actId="20577"/>
          <ac:spMkLst>
            <pc:docMk/>
            <pc:sldMk cId="2696654413" sldId="2147483645"/>
            <ac:spMk id="61" creationId="{C391EC61-DBC4-0753-687F-DF0E1742CF25}"/>
          </ac:spMkLst>
        </pc:spChg>
        <pc:spChg chg="add mod">
          <ac:chgData name="Abraham Rivera" userId="8e7d1955-7db3-40f7-911f-c4cfbf085fb2" providerId="ADAL" clId="{E639E250-2436-4370-97E9-9264F49096AD}" dt="2026-01-28T16:44:21.142" v="12763" actId="207"/>
          <ac:spMkLst>
            <pc:docMk/>
            <pc:sldMk cId="2696654413" sldId="2147483645"/>
            <ac:spMk id="62" creationId="{B234720D-61CD-A8F4-674C-49650748B259}"/>
          </ac:spMkLst>
        </pc:spChg>
        <pc:spChg chg="add mod">
          <ac:chgData name="Abraham Rivera" userId="8e7d1955-7db3-40f7-911f-c4cfbf085fb2" providerId="ADAL" clId="{E639E250-2436-4370-97E9-9264F49096AD}" dt="2026-01-28T17:00:17.163" v="13018" actId="1035"/>
          <ac:spMkLst>
            <pc:docMk/>
            <pc:sldMk cId="2696654413" sldId="2147483645"/>
            <ac:spMk id="63" creationId="{3E6D44E6-E6AB-D7E0-7000-B2C66C1FA1F3}"/>
          </ac:spMkLst>
        </pc:spChg>
        <pc:spChg chg="mod">
          <ac:chgData name="Abraham Rivera" userId="8e7d1955-7db3-40f7-911f-c4cfbf085fb2" providerId="ADAL" clId="{E639E250-2436-4370-97E9-9264F49096AD}" dt="2026-01-28T16:53:25.099" v="12965" actId="207"/>
          <ac:spMkLst>
            <pc:docMk/>
            <pc:sldMk cId="2696654413" sldId="2147483645"/>
            <ac:spMk id="64" creationId="{83D5446D-01C6-06C7-D87F-22B6C0C4536E}"/>
          </ac:spMkLst>
        </pc:spChg>
        <pc:spChg chg="mod">
          <ac:chgData name="Abraham Rivera" userId="8e7d1955-7db3-40f7-911f-c4cfbf085fb2" providerId="ADAL" clId="{E639E250-2436-4370-97E9-9264F49096AD}" dt="2026-01-28T16:35:36.093" v="12615" actId="5793"/>
          <ac:spMkLst>
            <pc:docMk/>
            <pc:sldMk cId="2696654413" sldId="2147483645"/>
            <ac:spMk id="65" creationId="{0A0344E0-E819-1F02-1543-8CD120C2B5B4}"/>
          </ac:spMkLst>
        </pc:spChg>
        <pc:spChg chg="mod">
          <ac:chgData name="Abraham Rivera" userId="8e7d1955-7db3-40f7-911f-c4cfbf085fb2" providerId="ADAL" clId="{E639E250-2436-4370-97E9-9264F49096AD}" dt="2026-01-28T16:53:25.099" v="12965" actId="207"/>
          <ac:spMkLst>
            <pc:docMk/>
            <pc:sldMk cId="2696654413" sldId="2147483645"/>
            <ac:spMk id="66" creationId="{F2CD9023-D466-C5D6-1CB4-BCE56A6D425F}"/>
          </ac:spMkLst>
        </pc:spChg>
        <pc:spChg chg="add mod">
          <ac:chgData name="Abraham Rivera" userId="8e7d1955-7db3-40f7-911f-c4cfbf085fb2" providerId="ADAL" clId="{E639E250-2436-4370-97E9-9264F49096AD}" dt="2026-01-28T16:35:44.371" v="12616"/>
          <ac:spMkLst>
            <pc:docMk/>
            <pc:sldMk cId="2696654413" sldId="2147483645"/>
            <ac:spMk id="67" creationId="{9366A183-BF75-F285-ED53-59A162F04A23}"/>
          </ac:spMkLst>
        </pc:spChg>
        <pc:spChg chg="mod">
          <ac:chgData name="Abraham Rivera" userId="8e7d1955-7db3-40f7-911f-c4cfbf085fb2" providerId="ADAL" clId="{E639E250-2436-4370-97E9-9264F49096AD}" dt="2026-01-28T16:53:25.099" v="12965" actId="207"/>
          <ac:spMkLst>
            <pc:docMk/>
            <pc:sldMk cId="2696654413" sldId="2147483645"/>
            <ac:spMk id="68" creationId="{041CFE3D-A010-511E-A0A1-7685F0734EB8}"/>
          </ac:spMkLst>
        </pc:spChg>
        <pc:spChg chg="add mod">
          <ac:chgData name="Abraham Rivera" userId="8e7d1955-7db3-40f7-911f-c4cfbf085fb2" providerId="ADAL" clId="{E639E250-2436-4370-97E9-9264F49096AD}" dt="2026-01-28T16:50:27.487" v="12879" actId="20577"/>
          <ac:spMkLst>
            <pc:docMk/>
            <pc:sldMk cId="2696654413" sldId="2147483645"/>
            <ac:spMk id="69" creationId="{A3C05479-F008-2BE5-10FD-95B0ADE01500}"/>
          </ac:spMkLst>
        </pc:spChg>
        <pc:spChg chg="add mod">
          <ac:chgData name="Abraham Rivera" userId="8e7d1955-7db3-40f7-911f-c4cfbf085fb2" providerId="ADAL" clId="{E639E250-2436-4370-97E9-9264F49096AD}" dt="2026-01-28T16:40:31.645" v="12641" actId="1076"/>
          <ac:spMkLst>
            <pc:docMk/>
            <pc:sldMk cId="2696654413" sldId="2147483645"/>
            <ac:spMk id="70" creationId="{A7607BC4-38E0-957E-5524-CA5F8166BF75}"/>
          </ac:spMkLst>
        </pc:spChg>
        <pc:spChg chg="add mod">
          <ac:chgData name="Abraham Rivera" userId="8e7d1955-7db3-40f7-911f-c4cfbf085fb2" providerId="ADAL" clId="{E639E250-2436-4370-97E9-9264F49096AD}" dt="2026-01-28T16:50:43.533" v="12905" actId="20577"/>
          <ac:spMkLst>
            <pc:docMk/>
            <pc:sldMk cId="2696654413" sldId="2147483645"/>
            <ac:spMk id="71" creationId="{E974E1A8-E984-9BE6-8E80-7DA8BB42E178}"/>
          </ac:spMkLst>
        </pc:spChg>
        <pc:spChg chg="add mod">
          <ac:chgData name="Abraham Rivera" userId="8e7d1955-7db3-40f7-911f-c4cfbf085fb2" providerId="ADAL" clId="{E639E250-2436-4370-97E9-9264F49096AD}" dt="2026-01-28T17:00:17.163" v="13018" actId="1035"/>
          <ac:spMkLst>
            <pc:docMk/>
            <pc:sldMk cId="2696654413" sldId="2147483645"/>
            <ac:spMk id="72" creationId="{16D440DB-4383-5B65-495D-05486C5242FF}"/>
          </ac:spMkLst>
        </pc:spChg>
        <pc:spChg chg="add mod">
          <ac:chgData name="Abraham Rivera" userId="8e7d1955-7db3-40f7-911f-c4cfbf085fb2" providerId="ADAL" clId="{E639E250-2436-4370-97E9-9264F49096AD}" dt="2026-01-28T16:50:53.949" v="12916" actId="20577"/>
          <ac:spMkLst>
            <pc:docMk/>
            <pc:sldMk cId="2696654413" sldId="2147483645"/>
            <ac:spMk id="73" creationId="{B352C59B-7982-3510-0C6F-FAE16D6B3BC9}"/>
          </ac:spMkLst>
        </pc:spChg>
        <pc:spChg chg="add mod">
          <ac:chgData name="Abraham Rivera" userId="8e7d1955-7db3-40f7-911f-c4cfbf085fb2" providerId="ADAL" clId="{E639E250-2436-4370-97E9-9264F49096AD}" dt="2026-01-28T16:53:12.984" v="12964" actId="207"/>
          <ac:spMkLst>
            <pc:docMk/>
            <pc:sldMk cId="2696654413" sldId="2147483645"/>
            <ac:spMk id="74" creationId="{2BC0CA7F-8C96-B077-9A64-14E895382578}"/>
          </ac:spMkLst>
        </pc:spChg>
        <pc:spChg chg="add mod">
          <ac:chgData name="Abraham Rivera" userId="8e7d1955-7db3-40f7-911f-c4cfbf085fb2" providerId="ADAL" clId="{E639E250-2436-4370-97E9-9264F49096AD}" dt="2026-01-28T16:40:59.955" v="12688" actId="20577"/>
          <ac:spMkLst>
            <pc:docMk/>
            <pc:sldMk cId="2696654413" sldId="2147483645"/>
            <ac:spMk id="75" creationId="{DA55F747-ED4A-BDB3-0629-30347452E651}"/>
          </ac:spMkLst>
        </pc:spChg>
        <pc:spChg chg="add mod">
          <ac:chgData name="Abraham Rivera" userId="8e7d1955-7db3-40f7-911f-c4cfbf085fb2" providerId="ADAL" clId="{E639E250-2436-4370-97E9-9264F49096AD}" dt="2026-01-28T16:51:09.165" v="12917"/>
          <ac:spMkLst>
            <pc:docMk/>
            <pc:sldMk cId="2696654413" sldId="2147483645"/>
            <ac:spMk id="77" creationId="{130DFDD6-747A-92E8-90B1-8F04C7F98466}"/>
          </ac:spMkLst>
        </pc:spChg>
        <pc:spChg chg="add mod">
          <ac:chgData name="Abraham Rivera" userId="8e7d1955-7db3-40f7-911f-c4cfbf085fb2" providerId="ADAL" clId="{E639E250-2436-4370-97E9-9264F49096AD}" dt="2026-01-28T16:40:31.645" v="12641" actId="1076"/>
          <ac:spMkLst>
            <pc:docMk/>
            <pc:sldMk cId="2696654413" sldId="2147483645"/>
            <ac:spMk id="78" creationId="{8AC6C714-212B-626B-F295-B01A5C78310D}"/>
          </ac:spMkLst>
        </pc:spChg>
        <pc:spChg chg="mod">
          <ac:chgData name="Abraham Rivera" userId="8e7d1955-7db3-40f7-911f-c4cfbf085fb2" providerId="ADAL" clId="{E639E250-2436-4370-97E9-9264F49096AD}" dt="2026-01-28T16:51:10.199" v="12918"/>
          <ac:spMkLst>
            <pc:docMk/>
            <pc:sldMk cId="2696654413" sldId="2147483645"/>
            <ac:spMk id="79" creationId="{5932B83D-EE88-1746-68CF-591C9DEC9D0E}"/>
          </ac:spMkLst>
        </pc:spChg>
        <pc:spChg chg="add mod">
          <ac:chgData name="Abraham Rivera" userId="8e7d1955-7db3-40f7-911f-c4cfbf085fb2" providerId="ADAL" clId="{E639E250-2436-4370-97E9-9264F49096AD}" dt="2026-01-28T17:00:17.163" v="13018" actId="1035"/>
          <ac:spMkLst>
            <pc:docMk/>
            <pc:sldMk cId="2696654413" sldId="2147483645"/>
            <ac:spMk id="80" creationId="{6DCA1C67-EDF9-D9D3-20A8-BD95924B9641}"/>
          </ac:spMkLst>
        </pc:spChg>
        <pc:spChg chg="add mod">
          <ac:chgData name="Abraham Rivera" userId="8e7d1955-7db3-40f7-911f-c4cfbf085fb2" providerId="ADAL" clId="{E639E250-2436-4370-97E9-9264F49096AD}" dt="2026-01-28T16:51:35.229" v="12932" actId="20577"/>
          <ac:spMkLst>
            <pc:docMk/>
            <pc:sldMk cId="2696654413" sldId="2147483645"/>
            <ac:spMk id="81" creationId="{133D2E52-2475-A519-8116-92CE18B35075}"/>
          </ac:spMkLst>
        </pc:spChg>
        <pc:spChg chg="add mod">
          <ac:chgData name="Abraham Rivera" userId="8e7d1955-7db3-40f7-911f-c4cfbf085fb2" providerId="ADAL" clId="{E639E250-2436-4370-97E9-9264F49096AD}" dt="2026-01-28T16:41:49.160" v="12695" actId="1076"/>
          <ac:spMkLst>
            <pc:docMk/>
            <pc:sldMk cId="2696654413" sldId="2147483645"/>
            <ac:spMk id="82" creationId="{7A218E38-9D65-0BD4-AE23-636FCDA4291C}"/>
          </ac:spMkLst>
        </pc:spChg>
        <pc:spChg chg="add mod">
          <ac:chgData name="Abraham Rivera" userId="8e7d1955-7db3-40f7-911f-c4cfbf085fb2" providerId="ADAL" clId="{E639E250-2436-4370-97E9-9264F49096AD}" dt="2026-01-28T16:51:39.103" v="12938" actId="20577"/>
          <ac:spMkLst>
            <pc:docMk/>
            <pc:sldMk cId="2696654413" sldId="2147483645"/>
            <ac:spMk id="83" creationId="{3AE9DBDB-AA6A-F9A9-CC91-7D5EDE9399D2}"/>
          </ac:spMkLst>
        </pc:spChg>
        <pc:spChg chg="add mod">
          <ac:chgData name="Abraham Rivera" userId="8e7d1955-7db3-40f7-911f-c4cfbf085fb2" providerId="ADAL" clId="{E639E250-2436-4370-97E9-9264F49096AD}" dt="2026-01-28T16:41:49.160" v="12695" actId="1076"/>
          <ac:spMkLst>
            <pc:docMk/>
            <pc:sldMk cId="2696654413" sldId="2147483645"/>
            <ac:spMk id="84" creationId="{55A9D54C-82F1-DE66-CEE1-4823B0193E80}"/>
          </ac:spMkLst>
        </pc:spChg>
        <pc:spChg chg="add mod">
          <ac:chgData name="Abraham Rivera" userId="8e7d1955-7db3-40f7-911f-c4cfbf085fb2" providerId="ADAL" clId="{E639E250-2436-4370-97E9-9264F49096AD}" dt="2026-01-28T16:51:50.682" v="12947" actId="20577"/>
          <ac:spMkLst>
            <pc:docMk/>
            <pc:sldMk cId="2696654413" sldId="2147483645"/>
            <ac:spMk id="85" creationId="{D42F805F-2292-F1DF-8871-CA80630311DE}"/>
          </ac:spMkLst>
        </pc:spChg>
        <pc:spChg chg="add mod">
          <ac:chgData name="Abraham Rivera" userId="8e7d1955-7db3-40f7-911f-c4cfbf085fb2" providerId="ADAL" clId="{E639E250-2436-4370-97E9-9264F49096AD}" dt="2026-01-28T16:53:08.716" v="12963" actId="207"/>
          <ac:spMkLst>
            <pc:docMk/>
            <pc:sldMk cId="2696654413" sldId="2147483645"/>
            <ac:spMk id="86" creationId="{EB5B9C15-FBD8-41CA-B63A-1E1770F17B67}"/>
          </ac:spMkLst>
        </pc:spChg>
        <pc:spChg chg="add mod">
          <ac:chgData name="Abraham Rivera" userId="8e7d1955-7db3-40f7-911f-c4cfbf085fb2" providerId="ADAL" clId="{E639E250-2436-4370-97E9-9264F49096AD}" dt="2026-01-28T17:00:17.163" v="13018" actId="1035"/>
          <ac:spMkLst>
            <pc:docMk/>
            <pc:sldMk cId="2696654413" sldId="2147483645"/>
            <ac:spMk id="87" creationId="{40E423FE-53C8-A3D9-C730-AE7C36556CA7}"/>
          </ac:spMkLst>
        </pc:spChg>
        <pc:spChg chg="add mod">
          <ac:chgData name="Abraham Rivera" userId="8e7d1955-7db3-40f7-911f-c4cfbf085fb2" providerId="ADAL" clId="{E639E250-2436-4370-97E9-9264F49096AD}" dt="2026-01-28T16:44:39.070" v="12765" actId="207"/>
          <ac:spMkLst>
            <pc:docMk/>
            <pc:sldMk cId="2696654413" sldId="2147483645"/>
            <ac:spMk id="88" creationId="{F38F5D45-3EA6-2C2F-CCEE-F100199546DB}"/>
          </ac:spMkLst>
        </pc:spChg>
        <pc:spChg chg="mod">
          <ac:chgData name="Abraham Rivera" userId="8e7d1955-7db3-40f7-911f-c4cfbf085fb2" providerId="ADAL" clId="{E639E250-2436-4370-97E9-9264F49096AD}" dt="2026-01-28T16:52:07.295" v="12950" actId="108"/>
          <ac:spMkLst>
            <pc:docMk/>
            <pc:sldMk cId="2696654413" sldId="2147483645"/>
            <ac:spMk id="89" creationId="{06897AEA-88E8-8708-CBD3-58C2203CA461}"/>
          </ac:spMkLst>
        </pc:spChg>
        <pc:spChg chg="add mod">
          <ac:chgData name="Abraham Rivera" userId="8e7d1955-7db3-40f7-911f-c4cfbf085fb2" providerId="ADAL" clId="{E639E250-2436-4370-97E9-9264F49096AD}" dt="2026-01-28T16:42:41.181" v="12728" actId="1076"/>
          <ac:spMkLst>
            <pc:docMk/>
            <pc:sldMk cId="2696654413" sldId="2147483645"/>
            <ac:spMk id="90" creationId="{6037DF8B-0E68-7F83-0FD0-22EB6CB5E529}"/>
          </ac:spMkLst>
        </pc:spChg>
        <pc:spChg chg="add mod">
          <ac:chgData name="Abraham Rivera" userId="8e7d1955-7db3-40f7-911f-c4cfbf085fb2" providerId="ADAL" clId="{E639E250-2436-4370-97E9-9264F49096AD}" dt="2026-01-28T16:52:14.941" v="12959" actId="20577"/>
          <ac:spMkLst>
            <pc:docMk/>
            <pc:sldMk cId="2696654413" sldId="2147483645"/>
            <ac:spMk id="91" creationId="{20411CF0-A615-861F-A542-E88A939B6845}"/>
          </ac:spMkLst>
        </pc:spChg>
        <pc:spChg chg="add mod">
          <ac:chgData name="Abraham Rivera" userId="8e7d1955-7db3-40f7-911f-c4cfbf085fb2" providerId="ADAL" clId="{E639E250-2436-4370-97E9-9264F49096AD}" dt="2026-01-28T16:42:41.181" v="12728" actId="1076"/>
          <ac:spMkLst>
            <pc:docMk/>
            <pc:sldMk cId="2696654413" sldId="2147483645"/>
            <ac:spMk id="92" creationId="{DF0F2985-CAA8-733B-5815-8A980B743E22}"/>
          </ac:spMkLst>
        </pc:spChg>
        <pc:spChg chg="add mod">
          <ac:chgData name="Abraham Rivera" userId="8e7d1955-7db3-40f7-911f-c4cfbf085fb2" providerId="ADAL" clId="{E639E250-2436-4370-97E9-9264F49096AD}" dt="2026-01-28T16:43:33.682" v="12753"/>
          <ac:spMkLst>
            <pc:docMk/>
            <pc:sldMk cId="2696654413" sldId="2147483645"/>
            <ac:spMk id="93" creationId="{208CD39E-639A-3A19-DF4A-E2E8DF909A30}"/>
          </ac:spMkLst>
        </pc:spChg>
        <pc:spChg chg="add mod">
          <ac:chgData name="Abraham Rivera" userId="8e7d1955-7db3-40f7-911f-c4cfbf085fb2" providerId="ADAL" clId="{E639E250-2436-4370-97E9-9264F49096AD}" dt="2026-01-28T16:42:41.181" v="12728" actId="1076"/>
          <ac:spMkLst>
            <pc:docMk/>
            <pc:sldMk cId="2696654413" sldId="2147483645"/>
            <ac:spMk id="94" creationId="{85F266BD-8A27-CD1F-C6B1-5FC70A7038FD}"/>
          </ac:spMkLst>
        </pc:spChg>
        <pc:spChg chg="add mod">
          <ac:chgData name="Abraham Rivera" userId="8e7d1955-7db3-40f7-911f-c4cfbf085fb2" providerId="ADAL" clId="{E639E250-2436-4370-97E9-9264F49096AD}" dt="2026-01-28T16:43:42.879" v="12760" actId="20577"/>
          <ac:spMkLst>
            <pc:docMk/>
            <pc:sldMk cId="2696654413" sldId="2147483645"/>
            <ac:spMk id="95" creationId="{85FCCEFC-0052-7309-4C6D-376A47288C66}"/>
          </ac:spMkLst>
        </pc:spChg>
        <pc:spChg chg="add del">
          <ac:chgData name="Abraham Rivera" userId="8e7d1955-7db3-40f7-911f-c4cfbf085fb2" providerId="ADAL" clId="{E639E250-2436-4370-97E9-9264F49096AD}" dt="2026-01-28T16:58:57.616" v="12998" actId="11529"/>
          <ac:spMkLst>
            <pc:docMk/>
            <pc:sldMk cId="2696654413" sldId="2147483645"/>
            <ac:spMk id="122" creationId="{5FF7C50C-5133-DC83-019F-A00A87F73C40}"/>
          </ac:spMkLst>
        </pc:spChg>
        <pc:spChg chg="add del mod ord">
          <ac:chgData name="Abraham Rivera" userId="8e7d1955-7db3-40f7-911f-c4cfbf085fb2" providerId="ADAL" clId="{E639E250-2436-4370-97E9-9264F49096AD}" dt="2026-01-28T17:00:02.544" v="13004" actId="478"/>
          <ac:spMkLst>
            <pc:docMk/>
            <pc:sldMk cId="2696654413" sldId="2147483645"/>
            <ac:spMk id="123" creationId="{6A606CF1-27A5-FE9B-E338-0170D384E122}"/>
          </ac:spMkLst>
        </pc:spChg>
        <pc:picChg chg="del">
          <ac:chgData name="Abraham Rivera" userId="8e7d1955-7db3-40f7-911f-c4cfbf085fb2" providerId="ADAL" clId="{E639E250-2436-4370-97E9-9264F49096AD}" dt="2026-01-28T16:16:59.275" v="11924" actId="478"/>
          <ac:picMkLst>
            <pc:docMk/>
            <pc:sldMk cId="2696654413" sldId="2147483645"/>
            <ac:picMk id="2" creationId="{EADC1AB5-95E7-9493-C4AD-35F72B502FBA}"/>
          </ac:picMkLst>
        </pc:picChg>
        <pc:cxnChg chg="del">
          <ac:chgData name="Abraham Rivera" userId="8e7d1955-7db3-40f7-911f-c4cfbf085fb2" providerId="ADAL" clId="{E639E250-2436-4370-97E9-9264F49096AD}" dt="2026-01-28T16:16:54.511" v="11923" actId="478"/>
          <ac:cxnSpMkLst>
            <pc:docMk/>
            <pc:sldMk cId="2696654413" sldId="2147483645"/>
            <ac:cxnSpMk id="37" creationId="{1FBDC65E-1F04-B0D4-004C-A72F4D3BD344}"/>
          </ac:cxnSpMkLst>
        </pc:cxnChg>
        <pc:cxnChg chg="add del mod">
          <ac:chgData name="Abraham Rivera" userId="8e7d1955-7db3-40f7-911f-c4cfbf085fb2" providerId="ADAL" clId="{E639E250-2436-4370-97E9-9264F49096AD}" dt="2026-01-28T16:55:29.347" v="12970" actId="478"/>
          <ac:cxnSpMkLst>
            <pc:docMk/>
            <pc:sldMk cId="2696654413" sldId="2147483645"/>
            <ac:cxnSpMk id="98" creationId="{27162C9A-6334-0F0C-E15D-7BC4AF649EC4}"/>
          </ac:cxnSpMkLst>
        </pc:cxnChg>
        <pc:cxnChg chg="add mod">
          <ac:chgData name="Abraham Rivera" userId="8e7d1955-7db3-40f7-911f-c4cfbf085fb2" providerId="ADAL" clId="{E639E250-2436-4370-97E9-9264F49096AD}" dt="2026-01-28T16:58:22.788" v="12996" actId="1582"/>
          <ac:cxnSpMkLst>
            <pc:docMk/>
            <pc:sldMk cId="2696654413" sldId="2147483645"/>
            <ac:cxnSpMk id="100" creationId="{969173C2-A7AA-2FB0-AB98-F5053B688005}"/>
          </ac:cxnSpMkLst>
        </pc:cxnChg>
        <pc:cxnChg chg="add mod">
          <ac:chgData name="Abraham Rivera" userId="8e7d1955-7db3-40f7-911f-c4cfbf085fb2" providerId="ADAL" clId="{E639E250-2436-4370-97E9-9264F49096AD}" dt="2026-01-28T16:58:22.788" v="12996" actId="1582"/>
          <ac:cxnSpMkLst>
            <pc:docMk/>
            <pc:sldMk cId="2696654413" sldId="2147483645"/>
            <ac:cxnSpMk id="102" creationId="{C26247A3-D2CB-806C-266D-2574BF2963E6}"/>
          </ac:cxnSpMkLst>
        </pc:cxnChg>
        <pc:cxnChg chg="add mod">
          <ac:chgData name="Abraham Rivera" userId="8e7d1955-7db3-40f7-911f-c4cfbf085fb2" providerId="ADAL" clId="{E639E250-2436-4370-97E9-9264F49096AD}" dt="2026-01-28T16:58:22.788" v="12996" actId="1582"/>
          <ac:cxnSpMkLst>
            <pc:docMk/>
            <pc:sldMk cId="2696654413" sldId="2147483645"/>
            <ac:cxnSpMk id="104" creationId="{EF95C2B4-9964-33B8-58F6-EA54D6784F47}"/>
          </ac:cxnSpMkLst>
        </pc:cxnChg>
        <pc:cxnChg chg="add del mod">
          <ac:chgData name="Abraham Rivera" userId="8e7d1955-7db3-40f7-911f-c4cfbf085fb2" providerId="ADAL" clId="{E639E250-2436-4370-97E9-9264F49096AD}" dt="2026-01-28T16:56:03.105" v="12977" actId="478"/>
          <ac:cxnSpMkLst>
            <pc:docMk/>
            <pc:sldMk cId="2696654413" sldId="2147483645"/>
            <ac:cxnSpMk id="105" creationId="{2BC09F37-7E69-5ACB-8B51-01142F6A5132}"/>
          </ac:cxnSpMkLst>
        </pc:cxnChg>
        <pc:cxnChg chg="add del mod">
          <ac:chgData name="Abraham Rivera" userId="8e7d1955-7db3-40f7-911f-c4cfbf085fb2" providerId="ADAL" clId="{E639E250-2436-4370-97E9-9264F49096AD}" dt="2026-01-28T16:56:00.989" v="12976" actId="11529"/>
          <ac:cxnSpMkLst>
            <pc:docMk/>
            <pc:sldMk cId="2696654413" sldId="2147483645"/>
            <ac:cxnSpMk id="108" creationId="{83C9A3E9-778A-7806-006B-4653AF876450}"/>
          </ac:cxnSpMkLst>
        </pc:cxnChg>
        <pc:cxnChg chg="add del mod">
          <ac:chgData name="Abraham Rivera" userId="8e7d1955-7db3-40f7-911f-c4cfbf085fb2" providerId="ADAL" clId="{E639E250-2436-4370-97E9-9264F49096AD}" dt="2026-01-28T16:56:28.745" v="12980" actId="478"/>
          <ac:cxnSpMkLst>
            <pc:docMk/>
            <pc:sldMk cId="2696654413" sldId="2147483645"/>
            <ac:cxnSpMk id="109" creationId="{E7C41809-256E-9D4B-1458-0F23945D2064}"/>
          </ac:cxnSpMkLst>
        </pc:cxnChg>
        <pc:cxnChg chg="add mod">
          <ac:chgData name="Abraham Rivera" userId="8e7d1955-7db3-40f7-911f-c4cfbf085fb2" providerId="ADAL" clId="{E639E250-2436-4370-97E9-9264F49096AD}" dt="2026-01-28T16:58:22.788" v="12996" actId="1582"/>
          <ac:cxnSpMkLst>
            <pc:docMk/>
            <pc:sldMk cId="2696654413" sldId="2147483645"/>
            <ac:cxnSpMk id="111" creationId="{B746DE2A-F651-73A8-CCF8-C21AF2DF9D5E}"/>
          </ac:cxnSpMkLst>
        </pc:cxnChg>
        <pc:cxnChg chg="add mod">
          <ac:chgData name="Abraham Rivera" userId="8e7d1955-7db3-40f7-911f-c4cfbf085fb2" providerId="ADAL" clId="{E639E250-2436-4370-97E9-9264F49096AD}" dt="2026-01-28T16:58:22.788" v="12996" actId="1582"/>
          <ac:cxnSpMkLst>
            <pc:docMk/>
            <pc:sldMk cId="2696654413" sldId="2147483645"/>
            <ac:cxnSpMk id="113" creationId="{7D86D479-EF70-AB66-BE34-ED036A329616}"/>
          </ac:cxnSpMkLst>
        </pc:cxnChg>
        <pc:cxnChg chg="add mod">
          <ac:chgData name="Abraham Rivera" userId="8e7d1955-7db3-40f7-911f-c4cfbf085fb2" providerId="ADAL" clId="{E639E250-2436-4370-97E9-9264F49096AD}" dt="2026-01-28T16:58:22.788" v="12996" actId="1582"/>
          <ac:cxnSpMkLst>
            <pc:docMk/>
            <pc:sldMk cId="2696654413" sldId="2147483645"/>
            <ac:cxnSpMk id="115" creationId="{CCD7CFD4-EA85-4D5F-FEA6-3BB69B3E8F14}"/>
          </ac:cxnSpMkLst>
        </pc:cxnChg>
        <pc:cxnChg chg="add mod">
          <ac:chgData name="Abraham Rivera" userId="8e7d1955-7db3-40f7-911f-c4cfbf085fb2" providerId="ADAL" clId="{E639E250-2436-4370-97E9-9264F49096AD}" dt="2026-01-28T16:58:22.788" v="12996" actId="1582"/>
          <ac:cxnSpMkLst>
            <pc:docMk/>
            <pc:sldMk cId="2696654413" sldId="2147483645"/>
            <ac:cxnSpMk id="118" creationId="{BBDAA0AA-CB81-CDA3-B8BA-77778FE96DFB}"/>
          </ac:cxnSpMkLst>
        </pc:cxnChg>
        <pc:cxnChg chg="add mod">
          <ac:chgData name="Abraham Rivera" userId="8e7d1955-7db3-40f7-911f-c4cfbf085fb2" providerId="ADAL" clId="{E639E250-2436-4370-97E9-9264F49096AD}" dt="2026-01-28T16:58:22.788" v="12996" actId="1582"/>
          <ac:cxnSpMkLst>
            <pc:docMk/>
            <pc:sldMk cId="2696654413" sldId="2147483645"/>
            <ac:cxnSpMk id="119" creationId="{A014FCF0-DF62-A3FD-9987-32CCEAF91416}"/>
          </ac:cxnSpMkLst>
        </pc:cxnChg>
        <pc:cxnChg chg="add mod">
          <ac:chgData name="Abraham Rivera" userId="8e7d1955-7db3-40f7-911f-c4cfbf085fb2" providerId="ADAL" clId="{E639E250-2436-4370-97E9-9264F49096AD}" dt="2026-01-28T16:58:22.788" v="12996" actId="1582"/>
          <ac:cxnSpMkLst>
            <pc:docMk/>
            <pc:sldMk cId="2696654413" sldId="2147483645"/>
            <ac:cxnSpMk id="120" creationId="{FF3D8148-B81A-CD02-6A38-39D72A47714F}"/>
          </ac:cxnSpMkLst>
        </pc:cxnChg>
        <pc:cxnChg chg="add mod">
          <ac:chgData name="Abraham Rivera" userId="8e7d1955-7db3-40f7-911f-c4cfbf085fb2" providerId="ADAL" clId="{E639E250-2436-4370-97E9-9264F49096AD}" dt="2026-01-28T16:58:22.788" v="12996" actId="1582"/>
          <ac:cxnSpMkLst>
            <pc:docMk/>
            <pc:sldMk cId="2696654413" sldId="2147483645"/>
            <ac:cxnSpMk id="121" creationId="{AF3E6CE4-0036-29A9-EA05-B14990EE0E04}"/>
          </ac:cxnSpMkLst>
        </pc:cxnChg>
      </pc:sldChg>
      <pc:sldChg chg="addSp delSp modSp new del mod ord modClrScheme chgLayout">
        <pc:chgData name="Abraham Rivera" userId="8e7d1955-7db3-40f7-911f-c4cfbf085fb2" providerId="ADAL" clId="{E639E250-2436-4370-97E9-9264F49096AD}" dt="2026-01-29T19:01:52.892" v="14267" actId="47"/>
        <pc:sldMkLst>
          <pc:docMk/>
          <pc:sldMk cId="3653652073" sldId="2147483646"/>
        </pc:sldMkLst>
        <pc:spChg chg="del">
          <ac:chgData name="Abraham Rivera" userId="8e7d1955-7db3-40f7-911f-c4cfbf085fb2" providerId="ADAL" clId="{E639E250-2436-4370-97E9-9264F49096AD}" dt="2026-01-28T17:00:34.054" v="13020" actId="700"/>
          <ac:spMkLst>
            <pc:docMk/>
            <pc:sldMk cId="3653652073" sldId="2147483646"/>
            <ac:spMk id="2" creationId="{13ED66B3-218C-93DF-9343-50EEBC5E4307}"/>
          </ac:spMkLst>
        </pc:spChg>
        <pc:spChg chg="del">
          <ac:chgData name="Abraham Rivera" userId="8e7d1955-7db3-40f7-911f-c4cfbf085fb2" providerId="ADAL" clId="{E639E250-2436-4370-97E9-9264F49096AD}" dt="2026-01-28T17:00:34.054" v="13020" actId="700"/>
          <ac:spMkLst>
            <pc:docMk/>
            <pc:sldMk cId="3653652073" sldId="2147483646"/>
            <ac:spMk id="3" creationId="{5B02B7A2-7FDF-3FE8-CD78-458EF9B22B39}"/>
          </ac:spMkLst>
        </pc:spChg>
        <pc:spChg chg="del">
          <ac:chgData name="Abraham Rivera" userId="8e7d1955-7db3-40f7-911f-c4cfbf085fb2" providerId="ADAL" clId="{E639E250-2436-4370-97E9-9264F49096AD}" dt="2026-01-28T17:00:34.054" v="13020" actId="700"/>
          <ac:spMkLst>
            <pc:docMk/>
            <pc:sldMk cId="3653652073" sldId="2147483646"/>
            <ac:spMk id="4" creationId="{9E25B5CF-81B6-1C3A-C3E5-C86D59BEC93D}"/>
          </ac:spMkLst>
        </pc:spChg>
        <pc:spChg chg="del">
          <ac:chgData name="Abraham Rivera" userId="8e7d1955-7db3-40f7-911f-c4cfbf085fb2" providerId="ADAL" clId="{E639E250-2436-4370-97E9-9264F49096AD}" dt="2026-01-28T17:00:34.054" v="13020" actId="700"/>
          <ac:spMkLst>
            <pc:docMk/>
            <pc:sldMk cId="3653652073" sldId="2147483646"/>
            <ac:spMk id="5" creationId="{902E5E6E-9C59-A57D-2928-26C1EE9C48A8}"/>
          </ac:spMkLst>
        </pc:spChg>
        <pc:spChg chg="del mod ord">
          <ac:chgData name="Abraham Rivera" userId="8e7d1955-7db3-40f7-911f-c4cfbf085fb2" providerId="ADAL" clId="{E639E250-2436-4370-97E9-9264F49096AD}" dt="2026-01-28T17:00:34.054" v="13020" actId="700"/>
          <ac:spMkLst>
            <pc:docMk/>
            <pc:sldMk cId="3653652073" sldId="2147483646"/>
            <ac:spMk id="6" creationId="{FDBF3FDB-1199-5F91-FF16-BD3A7A312E17}"/>
          </ac:spMkLst>
        </pc:spChg>
        <pc:spChg chg="add del mod ord">
          <ac:chgData name="Abraham Rivera" userId="8e7d1955-7db3-40f7-911f-c4cfbf085fb2" providerId="ADAL" clId="{E639E250-2436-4370-97E9-9264F49096AD}" dt="2026-01-28T17:00:38.934" v="13021" actId="478"/>
          <ac:spMkLst>
            <pc:docMk/>
            <pc:sldMk cId="3653652073" sldId="2147483646"/>
            <ac:spMk id="7" creationId="{8B27879B-3A35-D50D-A471-34E7D6B29F24}"/>
          </ac:spMkLst>
        </pc:spChg>
        <pc:spChg chg="mod">
          <ac:chgData name="Abraham Rivera" userId="8e7d1955-7db3-40f7-911f-c4cfbf085fb2" providerId="ADAL" clId="{E639E250-2436-4370-97E9-9264F49096AD}" dt="2026-01-28T17:12:58.510" v="13370" actId="1038"/>
          <ac:spMkLst>
            <pc:docMk/>
            <pc:sldMk cId="3653652073" sldId="2147483646"/>
            <ac:spMk id="8" creationId="{62A4E127-4D66-E330-0464-3EF7908D6FC1}"/>
          </ac:spMkLst>
        </pc:spChg>
        <pc:spChg chg="mod">
          <ac:chgData name="Abraham Rivera" userId="8e7d1955-7db3-40f7-911f-c4cfbf085fb2" providerId="ADAL" clId="{E639E250-2436-4370-97E9-9264F49096AD}" dt="2026-01-28T17:12:01.778" v="13346" actId="1076"/>
          <ac:spMkLst>
            <pc:docMk/>
            <pc:sldMk cId="3653652073" sldId="2147483646"/>
            <ac:spMk id="9" creationId="{287C01F2-8078-39EB-5BFB-E79358BB2522}"/>
          </ac:spMkLst>
        </pc:spChg>
        <pc:spChg chg="add mod">
          <ac:chgData name="Abraham Rivera" userId="8e7d1955-7db3-40f7-911f-c4cfbf085fb2" providerId="ADAL" clId="{E639E250-2436-4370-97E9-9264F49096AD}" dt="2026-01-28T17:13:40.164" v="13382" actId="164"/>
          <ac:spMkLst>
            <pc:docMk/>
            <pc:sldMk cId="3653652073" sldId="2147483646"/>
            <ac:spMk id="11" creationId="{96F5812D-284A-29A2-3EB7-4D5ABDE113BF}"/>
          </ac:spMkLst>
        </pc:spChg>
        <pc:spChg chg="add mod">
          <ac:chgData name="Abraham Rivera" userId="8e7d1955-7db3-40f7-911f-c4cfbf085fb2" providerId="ADAL" clId="{E639E250-2436-4370-97E9-9264F49096AD}" dt="2026-01-28T17:21:17.953" v="13388" actId="207"/>
          <ac:spMkLst>
            <pc:docMk/>
            <pc:sldMk cId="3653652073" sldId="2147483646"/>
            <ac:spMk id="16" creationId="{D5C3F68E-B057-EB59-36DF-AE36853623C6}"/>
          </ac:spMkLst>
        </pc:spChg>
        <pc:spChg chg="mod">
          <ac:chgData name="Abraham Rivera" userId="8e7d1955-7db3-40f7-911f-c4cfbf085fb2" providerId="ADAL" clId="{E639E250-2436-4370-97E9-9264F49096AD}" dt="2026-01-28T17:21:22.605" v="13389" actId="207"/>
          <ac:spMkLst>
            <pc:docMk/>
            <pc:sldMk cId="3653652073" sldId="2147483646"/>
            <ac:spMk id="18" creationId="{A5423090-1365-CAB8-2E65-546166448240}"/>
          </ac:spMkLst>
        </pc:spChg>
        <pc:spChg chg="mod">
          <ac:chgData name="Abraham Rivera" userId="8e7d1955-7db3-40f7-911f-c4cfbf085fb2" providerId="ADAL" clId="{E639E250-2436-4370-97E9-9264F49096AD}" dt="2026-01-28T17:12:51.808" v="13365" actId="1037"/>
          <ac:spMkLst>
            <pc:docMk/>
            <pc:sldMk cId="3653652073" sldId="2147483646"/>
            <ac:spMk id="19" creationId="{85996365-E3A0-31C2-A671-588546203ACB}"/>
          </ac:spMkLst>
        </pc:spChg>
        <pc:spChg chg="mod">
          <ac:chgData name="Abraham Rivera" userId="8e7d1955-7db3-40f7-911f-c4cfbf085fb2" providerId="ADAL" clId="{E639E250-2436-4370-97E9-9264F49096AD}" dt="2026-01-28T17:12:51.808" v="13365" actId="1037"/>
          <ac:spMkLst>
            <pc:docMk/>
            <pc:sldMk cId="3653652073" sldId="2147483646"/>
            <ac:spMk id="21" creationId="{7541AC5D-5270-8FDF-9F47-24690C41E84F}"/>
          </ac:spMkLst>
        </pc:spChg>
        <pc:spChg chg="mod">
          <ac:chgData name="Abraham Rivera" userId="8e7d1955-7db3-40f7-911f-c4cfbf085fb2" providerId="ADAL" clId="{E639E250-2436-4370-97E9-9264F49096AD}" dt="2026-01-28T17:12:51.808" v="13365" actId="1037"/>
          <ac:spMkLst>
            <pc:docMk/>
            <pc:sldMk cId="3653652073" sldId="2147483646"/>
            <ac:spMk id="26" creationId="{93D433E9-2A17-9FCA-F275-D1AFCD8773CD}"/>
          </ac:spMkLst>
        </pc:spChg>
        <pc:spChg chg="add mod">
          <ac:chgData name="Abraham Rivera" userId="8e7d1955-7db3-40f7-911f-c4cfbf085fb2" providerId="ADAL" clId="{E639E250-2436-4370-97E9-9264F49096AD}" dt="2026-01-28T17:13:40.164" v="13382" actId="164"/>
          <ac:spMkLst>
            <pc:docMk/>
            <pc:sldMk cId="3653652073" sldId="2147483646"/>
            <ac:spMk id="27" creationId="{10A3510E-2A99-EFAF-681F-29EF2D0BC1C6}"/>
          </ac:spMkLst>
        </pc:spChg>
        <pc:spChg chg="mod">
          <ac:chgData name="Abraham Rivera" userId="8e7d1955-7db3-40f7-911f-c4cfbf085fb2" providerId="ADAL" clId="{E639E250-2436-4370-97E9-9264F49096AD}" dt="2026-01-28T17:12:51.808" v="13365" actId="1037"/>
          <ac:spMkLst>
            <pc:docMk/>
            <pc:sldMk cId="3653652073" sldId="2147483646"/>
            <ac:spMk id="28" creationId="{8A10FF09-2E06-1D39-C3A7-AAE23CE95C05}"/>
          </ac:spMkLst>
        </pc:spChg>
        <pc:spChg chg="mod">
          <ac:chgData name="Abraham Rivera" userId="8e7d1955-7db3-40f7-911f-c4cfbf085fb2" providerId="ADAL" clId="{E639E250-2436-4370-97E9-9264F49096AD}" dt="2026-01-28T17:12:51.808" v="13365" actId="1037"/>
          <ac:spMkLst>
            <pc:docMk/>
            <pc:sldMk cId="3653652073" sldId="2147483646"/>
            <ac:spMk id="29" creationId="{882775B8-E1F4-1C95-F1B5-511145962564}"/>
          </ac:spMkLst>
        </pc:spChg>
        <pc:spChg chg="mod">
          <ac:chgData name="Abraham Rivera" userId="8e7d1955-7db3-40f7-911f-c4cfbf085fb2" providerId="ADAL" clId="{E639E250-2436-4370-97E9-9264F49096AD}" dt="2026-01-28T17:12:51.808" v="13365" actId="1037"/>
          <ac:spMkLst>
            <pc:docMk/>
            <pc:sldMk cId="3653652073" sldId="2147483646"/>
            <ac:spMk id="30" creationId="{76459A9E-7A46-8B4D-F86C-29730F58AF8E}"/>
          </ac:spMkLst>
        </pc:spChg>
        <pc:spChg chg="mod">
          <ac:chgData name="Abraham Rivera" userId="8e7d1955-7db3-40f7-911f-c4cfbf085fb2" providerId="ADAL" clId="{E639E250-2436-4370-97E9-9264F49096AD}" dt="2026-01-28T17:12:51.808" v="13365" actId="1037"/>
          <ac:spMkLst>
            <pc:docMk/>
            <pc:sldMk cId="3653652073" sldId="2147483646"/>
            <ac:spMk id="31" creationId="{7343BAA1-2BE4-059B-5C61-939526077E51}"/>
          </ac:spMkLst>
        </pc:spChg>
        <pc:spChg chg="add mod">
          <ac:chgData name="Abraham Rivera" userId="8e7d1955-7db3-40f7-911f-c4cfbf085fb2" providerId="ADAL" clId="{E639E250-2436-4370-97E9-9264F49096AD}" dt="2026-01-28T17:30:46.374" v="13463" actId="207"/>
          <ac:spMkLst>
            <pc:docMk/>
            <pc:sldMk cId="3653652073" sldId="2147483646"/>
            <ac:spMk id="32" creationId="{DBEB5208-2A16-EE3F-A8D7-E42544ABE324}"/>
          </ac:spMkLst>
        </pc:spChg>
        <pc:spChg chg="add mod">
          <ac:chgData name="Abraham Rivera" userId="8e7d1955-7db3-40f7-911f-c4cfbf085fb2" providerId="ADAL" clId="{E639E250-2436-4370-97E9-9264F49096AD}" dt="2026-01-28T17:00:52.430" v="13023" actId="1076"/>
          <ac:spMkLst>
            <pc:docMk/>
            <pc:sldMk cId="3653652073" sldId="2147483646"/>
            <ac:spMk id="33" creationId="{82FA4D35-F3CE-62FD-8075-D3A3056A30C2}"/>
          </ac:spMkLst>
        </pc:spChg>
        <pc:spChg chg="mod">
          <ac:chgData name="Abraham Rivera" userId="8e7d1955-7db3-40f7-911f-c4cfbf085fb2" providerId="ADAL" clId="{E639E250-2436-4370-97E9-9264F49096AD}" dt="2026-01-28T17:22:24.947" v="13390" actId="207"/>
          <ac:spMkLst>
            <pc:docMk/>
            <pc:sldMk cId="3653652073" sldId="2147483646"/>
            <ac:spMk id="34" creationId="{F43DD63E-1316-5E9A-1492-53D9375AD153}"/>
          </ac:spMkLst>
        </pc:spChg>
        <pc:spChg chg="add mod">
          <ac:chgData name="Abraham Rivera" userId="8e7d1955-7db3-40f7-911f-c4cfbf085fb2" providerId="ADAL" clId="{E639E250-2436-4370-97E9-9264F49096AD}" dt="2026-01-28T17:24:16.052" v="13391" actId="207"/>
          <ac:spMkLst>
            <pc:docMk/>
            <pc:sldMk cId="3653652073" sldId="2147483646"/>
            <ac:spMk id="36" creationId="{6ED79083-FE6C-C84C-3EF3-E3372234B7B0}"/>
          </ac:spMkLst>
        </pc:spChg>
        <pc:spChg chg="add mod">
          <ac:chgData name="Abraham Rivera" userId="8e7d1955-7db3-40f7-911f-c4cfbf085fb2" providerId="ADAL" clId="{E639E250-2436-4370-97E9-9264F49096AD}" dt="2026-01-28T17:13:40.164" v="13382" actId="164"/>
          <ac:spMkLst>
            <pc:docMk/>
            <pc:sldMk cId="3653652073" sldId="2147483646"/>
            <ac:spMk id="37" creationId="{C3E443A3-BE6A-0FFE-DC35-6EAE869CA3F3}"/>
          </ac:spMkLst>
        </pc:spChg>
        <pc:spChg chg="mod">
          <ac:chgData name="Abraham Rivera" userId="8e7d1955-7db3-40f7-911f-c4cfbf085fb2" providerId="ADAL" clId="{E639E250-2436-4370-97E9-9264F49096AD}" dt="2026-01-28T17:24:20.403" v="13392" actId="207"/>
          <ac:spMkLst>
            <pc:docMk/>
            <pc:sldMk cId="3653652073" sldId="2147483646"/>
            <ac:spMk id="38" creationId="{D11810FD-CBA9-AC25-0CC0-DAA58951FF5F}"/>
          </ac:spMkLst>
        </pc:spChg>
        <pc:spChg chg="mod">
          <ac:chgData name="Abraham Rivera" userId="8e7d1955-7db3-40f7-911f-c4cfbf085fb2" providerId="ADAL" clId="{E639E250-2436-4370-97E9-9264F49096AD}" dt="2026-01-28T17:05:44.657" v="13137" actId="1037"/>
          <ac:spMkLst>
            <pc:docMk/>
            <pc:sldMk cId="3653652073" sldId="2147483646"/>
            <ac:spMk id="39" creationId="{20EB0064-E7FA-4687-3CF7-BA6B29D03D3E}"/>
          </ac:spMkLst>
        </pc:spChg>
        <pc:spChg chg="mod">
          <ac:chgData name="Abraham Rivera" userId="8e7d1955-7db3-40f7-911f-c4cfbf085fb2" providerId="ADAL" clId="{E639E250-2436-4370-97E9-9264F49096AD}" dt="2026-01-28T17:05:44.657" v="13137" actId="1037"/>
          <ac:spMkLst>
            <pc:docMk/>
            <pc:sldMk cId="3653652073" sldId="2147483646"/>
            <ac:spMk id="41" creationId="{1F81D10C-20AF-867C-E91A-E721C56139C1}"/>
          </ac:spMkLst>
        </pc:spChg>
        <pc:spChg chg="mod">
          <ac:chgData name="Abraham Rivera" userId="8e7d1955-7db3-40f7-911f-c4cfbf085fb2" providerId="ADAL" clId="{E639E250-2436-4370-97E9-9264F49096AD}" dt="2026-01-28T17:05:44.657" v="13137" actId="1037"/>
          <ac:spMkLst>
            <pc:docMk/>
            <pc:sldMk cId="3653652073" sldId="2147483646"/>
            <ac:spMk id="42" creationId="{177E3FB1-4264-E473-2791-A8D44CC288B0}"/>
          </ac:spMkLst>
        </pc:spChg>
        <pc:spChg chg="mod">
          <ac:chgData name="Abraham Rivera" userId="8e7d1955-7db3-40f7-911f-c4cfbf085fb2" providerId="ADAL" clId="{E639E250-2436-4370-97E9-9264F49096AD}" dt="2026-01-28T17:24:35.221" v="13393" actId="207"/>
          <ac:spMkLst>
            <pc:docMk/>
            <pc:sldMk cId="3653652073" sldId="2147483646"/>
            <ac:spMk id="44" creationId="{26A42A60-490B-31F3-F0ED-AC79BFE20579}"/>
          </ac:spMkLst>
        </pc:spChg>
        <pc:spChg chg="add mod">
          <ac:chgData name="Abraham Rivera" userId="8e7d1955-7db3-40f7-911f-c4cfbf085fb2" providerId="ADAL" clId="{E639E250-2436-4370-97E9-9264F49096AD}" dt="2026-01-28T17:13:40.164" v="13382" actId="164"/>
          <ac:spMkLst>
            <pc:docMk/>
            <pc:sldMk cId="3653652073" sldId="2147483646"/>
            <ac:spMk id="45" creationId="{D242A86F-D800-E1C1-F77C-9AAE27BF7300}"/>
          </ac:spMkLst>
        </pc:spChg>
        <pc:spChg chg="mod">
          <ac:chgData name="Abraham Rivera" userId="8e7d1955-7db3-40f7-911f-c4cfbf085fb2" providerId="ADAL" clId="{E639E250-2436-4370-97E9-9264F49096AD}" dt="2026-01-28T17:24:40.531" v="13394" actId="207"/>
          <ac:spMkLst>
            <pc:docMk/>
            <pc:sldMk cId="3653652073" sldId="2147483646"/>
            <ac:spMk id="46" creationId="{B508727A-B5DE-EDE3-4C34-FD0C07B60799}"/>
          </ac:spMkLst>
        </pc:spChg>
        <pc:spChg chg="mod">
          <ac:chgData name="Abraham Rivera" userId="8e7d1955-7db3-40f7-911f-c4cfbf085fb2" providerId="ADAL" clId="{E639E250-2436-4370-97E9-9264F49096AD}" dt="2026-01-28T17:06:38.411" v="13153" actId="1038"/>
          <ac:spMkLst>
            <pc:docMk/>
            <pc:sldMk cId="3653652073" sldId="2147483646"/>
            <ac:spMk id="47" creationId="{FFD3BBD0-D448-E2B8-4236-E4303D833D41}"/>
          </ac:spMkLst>
        </pc:spChg>
        <pc:spChg chg="mod">
          <ac:chgData name="Abraham Rivera" userId="8e7d1955-7db3-40f7-911f-c4cfbf085fb2" providerId="ADAL" clId="{E639E250-2436-4370-97E9-9264F49096AD}" dt="2026-01-28T17:24:45.981" v="13395" actId="207"/>
          <ac:spMkLst>
            <pc:docMk/>
            <pc:sldMk cId="3653652073" sldId="2147483646"/>
            <ac:spMk id="48" creationId="{211C4370-96FA-156B-924D-D021A0A111ED}"/>
          </ac:spMkLst>
        </pc:spChg>
        <pc:spChg chg="mod">
          <ac:chgData name="Abraham Rivera" userId="8e7d1955-7db3-40f7-911f-c4cfbf085fb2" providerId="ADAL" clId="{E639E250-2436-4370-97E9-9264F49096AD}" dt="2026-01-28T17:06:38.411" v="13153" actId="1038"/>
          <ac:spMkLst>
            <pc:docMk/>
            <pc:sldMk cId="3653652073" sldId="2147483646"/>
            <ac:spMk id="49" creationId="{78913813-29B2-5717-593C-D13802FF35DA}"/>
          </ac:spMkLst>
        </pc:spChg>
        <pc:spChg chg="mod">
          <ac:chgData name="Abraham Rivera" userId="8e7d1955-7db3-40f7-911f-c4cfbf085fb2" providerId="ADAL" clId="{E639E250-2436-4370-97E9-9264F49096AD}" dt="2026-01-28T17:25:04.476" v="13396" actId="207"/>
          <ac:spMkLst>
            <pc:docMk/>
            <pc:sldMk cId="3653652073" sldId="2147483646"/>
            <ac:spMk id="50" creationId="{CCA478EC-DF80-AA3B-DD8B-837A9D8B2C11}"/>
          </ac:spMkLst>
        </pc:spChg>
        <pc:spChg chg="mod">
          <ac:chgData name="Abraham Rivera" userId="8e7d1955-7db3-40f7-911f-c4cfbf085fb2" providerId="ADAL" clId="{E639E250-2436-4370-97E9-9264F49096AD}" dt="2026-01-28T17:06:38.411" v="13153" actId="1038"/>
          <ac:spMkLst>
            <pc:docMk/>
            <pc:sldMk cId="3653652073" sldId="2147483646"/>
            <ac:spMk id="51" creationId="{CDD83683-8217-9FD4-DE09-6A7686F5DC9B}"/>
          </ac:spMkLst>
        </pc:spChg>
        <pc:spChg chg="mod">
          <ac:chgData name="Abraham Rivera" userId="8e7d1955-7db3-40f7-911f-c4cfbf085fb2" providerId="ADAL" clId="{E639E250-2436-4370-97E9-9264F49096AD}" dt="2026-01-28T17:25:10.048" v="13397" actId="207"/>
          <ac:spMkLst>
            <pc:docMk/>
            <pc:sldMk cId="3653652073" sldId="2147483646"/>
            <ac:spMk id="52" creationId="{CB6D4C3B-0288-70FC-6059-7FB1EC047A0C}"/>
          </ac:spMkLst>
        </pc:spChg>
        <pc:spChg chg="mod">
          <ac:chgData name="Abraham Rivera" userId="8e7d1955-7db3-40f7-911f-c4cfbf085fb2" providerId="ADAL" clId="{E639E250-2436-4370-97E9-9264F49096AD}" dt="2026-01-28T17:06:38.411" v="13153" actId="1038"/>
          <ac:spMkLst>
            <pc:docMk/>
            <pc:sldMk cId="3653652073" sldId="2147483646"/>
            <ac:spMk id="53" creationId="{7909C361-AD42-5A91-18C6-3A3D56366F2B}"/>
          </ac:spMkLst>
        </pc:spChg>
        <pc:spChg chg="mod">
          <ac:chgData name="Abraham Rivera" userId="8e7d1955-7db3-40f7-911f-c4cfbf085fb2" providerId="ADAL" clId="{E639E250-2436-4370-97E9-9264F49096AD}" dt="2026-01-28T17:06:38.411" v="13153" actId="1038"/>
          <ac:spMkLst>
            <pc:docMk/>
            <pc:sldMk cId="3653652073" sldId="2147483646"/>
            <ac:spMk id="55" creationId="{4B42A781-0F0D-8348-53F1-CAFE558D1562}"/>
          </ac:spMkLst>
        </pc:spChg>
        <pc:spChg chg="mod">
          <ac:chgData name="Abraham Rivera" userId="8e7d1955-7db3-40f7-911f-c4cfbf085fb2" providerId="ADAL" clId="{E639E250-2436-4370-97E9-9264F49096AD}" dt="2026-01-28T17:06:38.411" v="13153" actId="1038"/>
          <ac:spMkLst>
            <pc:docMk/>
            <pc:sldMk cId="3653652073" sldId="2147483646"/>
            <ac:spMk id="56" creationId="{AAA703B9-83EC-6E54-2AEE-5E0D5ADDD574}"/>
          </ac:spMkLst>
        </pc:spChg>
        <pc:spChg chg="mod">
          <ac:chgData name="Abraham Rivera" userId="8e7d1955-7db3-40f7-911f-c4cfbf085fb2" providerId="ADAL" clId="{E639E250-2436-4370-97E9-9264F49096AD}" dt="2026-01-28T17:06:38.411" v="13153" actId="1038"/>
          <ac:spMkLst>
            <pc:docMk/>
            <pc:sldMk cId="3653652073" sldId="2147483646"/>
            <ac:spMk id="59" creationId="{1DC579CF-A97A-BD2B-2C77-74CCA254DDD3}"/>
          </ac:spMkLst>
        </pc:spChg>
        <pc:spChg chg="mod">
          <ac:chgData name="Abraham Rivera" userId="8e7d1955-7db3-40f7-911f-c4cfbf085fb2" providerId="ADAL" clId="{E639E250-2436-4370-97E9-9264F49096AD}" dt="2026-01-28T17:25:27.911" v="13398" actId="207"/>
          <ac:spMkLst>
            <pc:docMk/>
            <pc:sldMk cId="3653652073" sldId="2147483646"/>
            <ac:spMk id="60" creationId="{32F652AE-10EE-5710-CA40-44447F910CF9}"/>
          </ac:spMkLst>
        </pc:spChg>
        <pc:spChg chg="mod">
          <ac:chgData name="Abraham Rivera" userId="8e7d1955-7db3-40f7-911f-c4cfbf085fb2" providerId="ADAL" clId="{E639E250-2436-4370-97E9-9264F49096AD}" dt="2026-01-28T17:09:12.890" v="13225" actId="1037"/>
          <ac:spMkLst>
            <pc:docMk/>
            <pc:sldMk cId="3653652073" sldId="2147483646"/>
            <ac:spMk id="61" creationId="{5EE95A71-5FBD-6FB3-A252-572961F54E07}"/>
          </ac:spMkLst>
        </pc:spChg>
        <pc:spChg chg="mod">
          <ac:chgData name="Abraham Rivera" userId="8e7d1955-7db3-40f7-911f-c4cfbf085fb2" providerId="ADAL" clId="{E639E250-2436-4370-97E9-9264F49096AD}" dt="2026-01-28T17:27:26.686" v="13405" actId="207"/>
          <ac:spMkLst>
            <pc:docMk/>
            <pc:sldMk cId="3653652073" sldId="2147483646"/>
            <ac:spMk id="62" creationId="{99CA3595-728E-B3EB-33E9-CF30FBE5579D}"/>
          </ac:spMkLst>
        </pc:spChg>
        <pc:spChg chg="mod">
          <ac:chgData name="Abraham Rivera" userId="8e7d1955-7db3-40f7-911f-c4cfbf085fb2" providerId="ADAL" clId="{E639E250-2436-4370-97E9-9264F49096AD}" dt="2026-01-28T17:09:12.890" v="13225" actId="1037"/>
          <ac:spMkLst>
            <pc:docMk/>
            <pc:sldMk cId="3653652073" sldId="2147483646"/>
            <ac:spMk id="63" creationId="{AC53A5A4-0928-EF1D-C181-78D1915A6CC2}"/>
          </ac:spMkLst>
        </pc:spChg>
        <pc:spChg chg="mod">
          <ac:chgData name="Abraham Rivera" userId="8e7d1955-7db3-40f7-911f-c4cfbf085fb2" providerId="ADAL" clId="{E639E250-2436-4370-97E9-9264F49096AD}" dt="2026-01-28T17:27:34.673" v="13406" actId="207"/>
          <ac:spMkLst>
            <pc:docMk/>
            <pc:sldMk cId="3653652073" sldId="2147483646"/>
            <ac:spMk id="64" creationId="{1F936014-05D2-B8B1-8F3C-005AF7CF1BB7}"/>
          </ac:spMkLst>
        </pc:spChg>
        <pc:spChg chg="mod">
          <ac:chgData name="Abraham Rivera" userId="8e7d1955-7db3-40f7-911f-c4cfbf085fb2" providerId="ADAL" clId="{E639E250-2436-4370-97E9-9264F49096AD}" dt="2026-01-28T17:09:12.890" v="13225" actId="1037"/>
          <ac:spMkLst>
            <pc:docMk/>
            <pc:sldMk cId="3653652073" sldId="2147483646"/>
            <ac:spMk id="66" creationId="{34DDBE67-0C0F-9001-0184-B74EF46F982D}"/>
          </ac:spMkLst>
        </pc:spChg>
        <pc:spChg chg="mod">
          <ac:chgData name="Abraham Rivera" userId="8e7d1955-7db3-40f7-911f-c4cfbf085fb2" providerId="ADAL" clId="{E639E250-2436-4370-97E9-9264F49096AD}" dt="2026-01-29T16:51:30.837" v="14061" actId="207"/>
          <ac:spMkLst>
            <pc:docMk/>
            <pc:sldMk cId="3653652073" sldId="2147483646"/>
            <ac:spMk id="67" creationId="{AC0DC391-75A8-11E4-9B29-6E0E64E39AF5}"/>
          </ac:spMkLst>
        </pc:spChg>
        <pc:spChg chg="mod">
          <ac:chgData name="Abraham Rivera" userId="8e7d1955-7db3-40f7-911f-c4cfbf085fb2" providerId="ADAL" clId="{E639E250-2436-4370-97E9-9264F49096AD}" dt="2026-01-28T17:09:12.890" v="13225" actId="1037"/>
          <ac:spMkLst>
            <pc:docMk/>
            <pc:sldMk cId="3653652073" sldId="2147483646"/>
            <ac:spMk id="68" creationId="{7A57CD21-A67A-F1F8-83F2-3176117DF1C3}"/>
          </ac:spMkLst>
        </pc:spChg>
        <pc:spChg chg="mod">
          <ac:chgData name="Abraham Rivera" userId="8e7d1955-7db3-40f7-911f-c4cfbf085fb2" providerId="ADAL" clId="{E639E250-2436-4370-97E9-9264F49096AD}" dt="2026-01-29T16:51:51.088" v="14069" actId="207"/>
          <ac:spMkLst>
            <pc:docMk/>
            <pc:sldMk cId="3653652073" sldId="2147483646"/>
            <ac:spMk id="69" creationId="{CCEE617F-5FC0-9D66-9FAC-F7C8CDB19B04}"/>
          </ac:spMkLst>
        </pc:spChg>
        <pc:spChg chg="add mod">
          <ac:chgData name="Abraham Rivera" userId="8e7d1955-7db3-40f7-911f-c4cfbf085fb2" providerId="ADAL" clId="{E639E250-2436-4370-97E9-9264F49096AD}" dt="2026-01-29T16:51:44.509" v="14068" actId="20577"/>
          <ac:spMkLst>
            <pc:docMk/>
            <pc:sldMk cId="3653652073" sldId="2147483646"/>
            <ac:spMk id="70" creationId="{D920FF0F-1100-E011-759A-48F8F8035324}"/>
          </ac:spMkLst>
        </pc:spChg>
        <pc:spChg chg="mod">
          <ac:chgData name="Abraham Rivera" userId="8e7d1955-7db3-40f7-911f-c4cfbf085fb2" providerId="ADAL" clId="{E639E250-2436-4370-97E9-9264F49096AD}" dt="2026-01-29T16:51:54.742" v="14070" actId="207"/>
          <ac:spMkLst>
            <pc:docMk/>
            <pc:sldMk cId="3653652073" sldId="2147483646"/>
            <ac:spMk id="71" creationId="{07851F0A-B089-C7BB-9226-6536B9B4504D}"/>
          </ac:spMkLst>
        </pc:spChg>
        <pc:spChg chg="mod">
          <ac:chgData name="Abraham Rivera" userId="8e7d1955-7db3-40f7-911f-c4cfbf085fb2" providerId="ADAL" clId="{E639E250-2436-4370-97E9-9264F49096AD}" dt="2026-01-28T17:25:51.754" v="13400" actId="207"/>
          <ac:spMkLst>
            <pc:docMk/>
            <pc:sldMk cId="3653652073" sldId="2147483646"/>
            <ac:spMk id="72" creationId="{B3C50D63-F2B8-BAB4-F34A-7996E19061AA}"/>
          </ac:spMkLst>
        </pc:spChg>
        <pc:spChg chg="add mod">
          <ac:chgData name="Abraham Rivera" userId="8e7d1955-7db3-40f7-911f-c4cfbf085fb2" providerId="ADAL" clId="{E639E250-2436-4370-97E9-9264F49096AD}" dt="2026-01-28T17:13:40.164" v="13382" actId="164"/>
          <ac:spMkLst>
            <pc:docMk/>
            <pc:sldMk cId="3653652073" sldId="2147483646"/>
            <ac:spMk id="73" creationId="{034D48FE-3FAB-0628-725F-C8A64C59AEA6}"/>
          </ac:spMkLst>
        </pc:spChg>
        <pc:spChg chg="mod">
          <ac:chgData name="Abraham Rivera" userId="8e7d1955-7db3-40f7-911f-c4cfbf085fb2" providerId="ADAL" clId="{E639E250-2436-4370-97E9-9264F49096AD}" dt="2026-01-28T17:32:01.432" v="13465" actId="207"/>
          <ac:spMkLst>
            <pc:docMk/>
            <pc:sldMk cId="3653652073" sldId="2147483646"/>
            <ac:spMk id="74" creationId="{A70D6F9F-4B79-245D-FA37-4BFA7B7BE038}"/>
          </ac:spMkLst>
        </pc:spChg>
        <pc:spChg chg="mod">
          <ac:chgData name="Abraham Rivera" userId="8e7d1955-7db3-40f7-911f-c4cfbf085fb2" providerId="ADAL" clId="{E639E250-2436-4370-97E9-9264F49096AD}" dt="2026-01-28T17:09:55.774" v="13267" actId="1038"/>
          <ac:spMkLst>
            <pc:docMk/>
            <pc:sldMk cId="3653652073" sldId="2147483646"/>
            <ac:spMk id="75" creationId="{5802A9D8-9E0A-22E9-70BA-455CBBD29C83}"/>
          </ac:spMkLst>
        </pc:spChg>
        <pc:spChg chg="mod">
          <ac:chgData name="Abraham Rivera" userId="8e7d1955-7db3-40f7-911f-c4cfbf085fb2" providerId="ADAL" clId="{E639E250-2436-4370-97E9-9264F49096AD}" dt="2026-01-28T17:27:42.700" v="13407" actId="207"/>
          <ac:spMkLst>
            <pc:docMk/>
            <pc:sldMk cId="3653652073" sldId="2147483646"/>
            <ac:spMk id="76" creationId="{83068D6F-578F-223B-6F75-7418D48C86F5}"/>
          </ac:spMkLst>
        </pc:spChg>
        <pc:spChg chg="mod">
          <ac:chgData name="Abraham Rivera" userId="8e7d1955-7db3-40f7-911f-c4cfbf085fb2" providerId="ADAL" clId="{E639E250-2436-4370-97E9-9264F49096AD}" dt="2026-01-28T17:11:19.866" v="13339" actId="1037"/>
          <ac:spMkLst>
            <pc:docMk/>
            <pc:sldMk cId="3653652073" sldId="2147483646"/>
            <ac:spMk id="77" creationId="{6184EB6A-599D-FB31-BC9B-353F7C37657B}"/>
          </ac:spMkLst>
        </pc:spChg>
        <pc:spChg chg="mod">
          <ac:chgData name="Abraham Rivera" userId="8e7d1955-7db3-40f7-911f-c4cfbf085fb2" providerId="ADAL" clId="{E639E250-2436-4370-97E9-9264F49096AD}" dt="2026-01-28T17:11:19.866" v="13339" actId="1037"/>
          <ac:spMkLst>
            <pc:docMk/>
            <pc:sldMk cId="3653652073" sldId="2147483646"/>
            <ac:spMk id="78" creationId="{84BFA61E-A31B-2747-BEE0-85EAD500FA12}"/>
          </ac:spMkLst>
        </pc:spChg>
        <pc:spChg chg="mod">
          <ac:chgData name="Abraham Rivera" userId="8e7d1955-7db3-40f7-911f-c4cfbf085fb2" providerId="ADAL" clId="{E639E250-2436-4370-97E9-9264F49096AD}" dt="2026-01-28T17:11:19.866" v="13339" actId="1037"/>
          <ac:spMkLst>
            <pc:docMk/>
            <pc:sldMk cId="3653652073" sldId="2147483646"/>
            <ac:spMk id="79" creationId="{9A8305F9-7BD3-BFAE-AF66-A58C9AFDA951}"/>
          </ac:spMkLst>
        </pc:spChg>
        <pc:spChg chg="mod">
          <ac:chgData name="Abraham Rivera" userId="8e7d1955-7db3-40f7-911f-c4cfbf085fb2" providerId="ADAL" clId="{E639E250-2436-4370-97E9-9264F49096AD}" dt="2026-01-28T17:11:19.866" v="13339" actId="1037"/>
          <ac:spMkLst>
            <pc:docMk/>
            <pc:sldMk cId="3653652073" sldId="2147483646"/>
            <ac:spMk id="81" creationId="{2127CBB9-783C-1C77-5412-83735B223182}"/>
          </ac:spMkLst>
        </pc:spChg>
        <pc:spChg chg="mod">
          <ac:chgData name="Abraham Rivera" userId="8e7d1955-7db3-40f7-911f-c4cfbf085fb2" providerId="ADAL" clId="{E639E250-2436-4370-97E9-9264F49096AD}" dt="2026-01-28T17:11:19.866" v="13339" actId="1037"/>
          <ac:spMkLst>
            <pc:docMk/>
            <pc:sldMk cId="3653652073" sldId="2147483646"/>
            <ac:spMk id="82" creationId="{469B1B0A-554C-8C68-8D1E-3C589AFDEB4D}"/>
          </ac:spMkLst>
        </pc:spChg>
        <pc:spChg chg="mod">
          <ac:chgData name="Abraham Rivera" userId="8e7d1955-7db3-40f7-911f-c4cfbf085fb2" providerId="ADAL" clId="{E639E250-2436-4370-97E9-9264F49096AD}" dt="2026-01-28T17:11:19.866" v="13339" actId="1037"/>
          <ac:spMkLst>
            <pc:docMk/>
            <pc:sldMk cId="3653652073" sldId="2147483646"/>
            <ac:spMk id="83" creationId="{A001A369-42FD-C854-9CC2-2E91C19BB414}"/>
          </ac:spMkLst>
        </pc:spChg>
        <pc:spChg chg="mod">
          <ac:chgData name="Abraham Rivera" userId="8e7d1955-7db3-40f7-911f-c4cfbf085fb2" providerId="ADAL" clId="{E639E250-2436-4370-97E9-9264F49096AD}" dt="2026-01-28T17:11:19.866" v="13339" actId="1037"/>
          <ac:spMkLst>
            <pc:docMk/>
            <pc:sldMk cId="3653652073" sldId="2147483646"/>
            <ac:spMk id="84" creationId="{A3D93E44-1B96-CA9D-E3B2-C5011EA1EF7B}"/>
          </ac:spMkLst>
        </pc:spChg>
        <pc:spChg chg="mod">
          <ac:chgData name="Abraham Rivera" userId="8e7d1955-7db3-40f7-911f-c4cfbf085fb2" providerId="ADAL" clId="{E639E250-2436-4370-97E9-9264F49096AD}" dt="2026-01-28T17:11:19.866" v="13339" actId="1037"/>
          <ac:spMkLst>
            <pc:docMk/>
            <pc:sldMk cId="3653652073" sldId="2147483646"/>
            <ac:spMk id="85" creationId="{0CF2BA21-D8B7-FA46-6CF4-A51CD30F6E78}"/>
          </ac:spMkLst>
        </pc:spChg>
        <pc:spChg chg="mod">
          <ac:chgData name="Abraham Rivera" userId="8e7d1955-7db3-40f7-911f-c4cfbf085fb2" providerId="ADAL" clId="{E639E250-2436-4370-97E9-9264F49096AD}" dt="2026-01-28T17:11:19.866" v="13339" actId="1037"/>
          <ac:spMkLst>
            <pc:docMk/>
            <pc:sldMk cId="3653652073" sldId="2147483646"/>
            <ac:spMk id="86" creationId="{04323C0E-E3D3-DCC2-2461-521E8E396618}"/>
          </ac:spMkLst>
        </pc:spChg>
        <pc:spChg chg="add del mod ord">
          <ac:chgData name="Abraham Rivera" userId="8e7d1955-7db3-40f7-911f-c4cfbf085fb2" providerId="ADAL" clId="{E639E250-2436-4370-97E9-9264F49096AD}" dt="2026-01-28T17:02:40.592" v="13029" actId="478"/>
          <ac:spMkLst>
            <pc:docMk/>
            <pc:sldMk cId="3653652073" sldId="2147483646"/>
            <ac:spMk id="98" creationId="{8846C35D-2F4E-EFEF-F916-B243A2FDBC16}"/>
          </ac:spMkLst>
        </pc:spChg>
        <pc:spChg chg="add mod ord">
          <ac:chgData name="Abraham Rivera" userId="8e7d1955-7db3-40f7-911f-c4cfbf085fb2" providerId="ADAL" clId="{E639E250-2436-4370-97E9-9264F49096AD}" dt="2026-01-28T17:03:23.117" v="13035" actId="167"/>
          <ac:spMkLst>
            <pc:docMk/>
            <pc:sldMk cId="3653652073" sldId="2147483646"/>
            <ac:spMk id="99" creationId="{DBF50BC4-081D-C4ED-C5DF-B3DEDCDAFEAB}"/>
          </ac:spMkLst>
        </pc:spChg>
        <pc:spChg chg="add mod ord">
          <ac:chgData name="Abraham Rivera" userId="8e7d1955-7db3-40f7-911f-c4cfbf085fb2" providerId="ADAL" clId="{E639E250-2436-4370-97E9-9264F49096AD}" dt="2026-01-28T17:06:01.502" v="13140" actId="1076"/>
          <ac:spMkLst>
            <pc:docMk/>
            <pc:sldMk cId="3653652073" sldId="2147483646"/>
            <ac:spMk id="100" creationId="{87D51594-9CAC-2B1D-53B1-C1EC989830D6}"/>
          </ac:spMkLst>
        </pc:spChg>
        <pc:spChg chg="add mod">
          <ac:chgData name="Abraham Rivera" userId="8e7d1955-7db3-40f7-911f-c4cfbf085fb2" providerId="ADAL" clId="{E639E250-2436-4370-97E9-9264F49096AD}" dt="2026-01-28T17:12:39.319" v="13361" actId="207"/>
          <ac:spMkLst>
            <pc:docMk/>
            <pc:sldMk cId="3653652073" sldId="2147483646"/>
            <ac:spMk id="101" creationId="{6858076E-F254-B270-6FBB-0160A6A6CAF0}"/>
          </ac:spMkLst>
        </pc:spChg>
        <pc:spChg chg="add mod">
          <ac:chgData name="Abraham Rivera" userId="8e7d1955-7db3-40f7-911f-c4cfbf085fb2" providerId="ADAL" clId="{E639E250-2436-4370-97E9-9264F49096AD}" dt="2026-01-28T17:12:34.490" v="13360" actId="207"/>
          <ac:spMkLst>
            <pc:docMk/>
            <pc:sldMk cId="3653652073" sldId="2147483646"/>
            <ac:spMk id="102" creationId="{26BA93F0-0826-A392-BFB3-19E746531F61}"/>
          </ac:spMkLst>
        </pc:spChg>
        <pc:spChg chg="add mod ord">
          <ac:chgData name="Abraham Rivera" userId="8e7d1955-7db3-40f7-911f-c4cfbf085fb2" providerId="ADAL" clId="{E639E250-2436-4370-97E9-9264F49096AD}" dt="2026-01-28T17:13:40.164" v="13382" actId="164"/>
          <ac:spMkLst>
            <pc:docMk/>
            <pc:sldMk cId="3653652073" sldId="2147483646"/>
            <ac:spMk id="103" creationId="{DB606794-C9B2-CCE4-512A-F959921FBDC9}"/>
          </ac:spMkLst>
        </pc:spChg>
        <pc:spChg chg="add mod">
          <ac:chgData name="Abraham Rivera" userId="8e7d1955-7db3-40f7-911f-c4cfbf085fb2" providerId="ADAL" clId="{E639E250-2436-4370-97E9-9264F49096AD}" dt="2026-01-28T17:12:42.432" v="13362" actId="207"/>
          <ac:spMkLst>
            <pc:docMk/>
            <pc:sldMk cId="3653652073" sldId="2147483646"/>
            <ac:spMk id="104" creationId="{45C39827-B0AC-5D3D-3422-CF6C980D1987}"/>
          </ac:spMkLst>
        </pc:spChg>
        <pc:spChg chg="add mod ord">
          <ac:chgData name="Abraham Rivera" userId="8e7d1955-7db3-40f7-911f-c4cfbf085fb2" providerId="ADAL" clId="{E639E250-2436-4370-97E9-9264F49096AD}" dt="2026-01-28T17:08:09.220" v="13178" actId="167"/>
          <ac:spMkLst>
            <pc:docMk/>
            <pc:sldMk cId="3653652073" sldId="2147483646"/>
            <ac:spMk id="105" creationId="{60F4BABA-40CB-ED2C-5DB7-3C533BA1F6CA}"/>
          </ac:spMkLst>
        </pc:spChg>
        <pc:spChg chg="add mod">
          <ac:chgData name="Abraham Rivera" userId="8e7d1955-7db3-40f7-911f-c4cfbf085fb2" providerId="ADAL" clId="{E639E250-2436-4370-97E9-9264F49096AD}" dt="2026-01-28T17:13:17.006" v="13376" actId="1038"/>
          <ac:spMkLst>
            <pc:docMk/>
            <pc:sldMk cId="3653652073" sldId="2147483646"/>
            <ac:spMk id="106" creationId="{BDADBA9D-963A-D996-8C77-C680F1AE7A97}"/>
          </ac:spMkLst>
        </pc:spChg>
        <pc:spChg chg="add mod ord">
          <ac:chgData name="Abraham Rivera" userId="8e7d1955-7db3-40f7-911f-c4cfbf085fb2" providerId="ADAL" clId="{E639E250-2436-4370-97E9-9264F49096AD}" dt="2026-01-28T17:09:40.271" v="13228" actId="167"/>
          <ac:spMkLst>
            <pc:docMk/>
            <pc:sldMk cId="3653652073" sldId="2147483646"/>
            <ac:spMk id="107" creationId="{FD7B9E31-3FD2-C917-18A9-8FC8F23D9832}"/>
          </ac:spMkLst>
        </pc:spChg>
        <pc:spChg chg="add mod">
          <ac:chgData name="Abraham Rivera" userId="8e7d1955-7db3-40f7-911f-c4cfbf085fb2" providerId="ADAL" clId="{E639E250-2436-4370-97E9-9264F49096AD}" dt="2026-01-28T17:13:23.012" v="13380" actId="1038"/>
          <ac:spMkLst>
            <pc:docMk/>
            <pc:sldMk cId="3653652073" sldId="2147483646"/>
            <ac:spMk id="108" creationId="{9155688E-010F-051B-F297-538720A4F24E}"/>
          </ac:spMkLst>
        </pc:spChg>
        <pc:spChg chg="add mod ord">
          <ac:chgData name="Abraham Rivera" userId="8e7d1955-7db3-40f7-911f-c4cfbf085fb2" providerId="ADAL" clId="{E639E250-2436-4370-97E9-9264F49096AD}" dt="2026-01-28T17:11:14.412" v="13319" actId="167"/>
          <ac:spMkLst>
            <pc:docMk/>
            <pc:sldMk cId="3653652073" sldId="2147483646"/>
            <ac:spMk id="109" creationId="{448D821B-899D-6FC8-7680-BE4E11806A64}"/>
          </ac:spMkLst>
        </pc:spChg>
        <pc:spChg chg="add mod">
          <ac:chgData name="Abraham Rivera" userId="8e7d1955-7db3-40f7-911f-c4cfbf085fb2" providerId="ADAL" clId="{E639E250-2436-4370-97E9-9264F49096AD}" dt="2026-01-28T17:13:40.164" v="13382" actId="164"/>
          <ac:spMkLst>
            <pc:docMk/>
            <pc:sldMk cId="3653652073" sldId="2147483646"/>
            <ac:spMk id="110" creationId="{19164659-B988-2465-453E-BF47FA95273E}"/>
          </ac:spMkLst>
        </pc:spChg>
        <pc:spChg chg="add mod">
          <ac:chgData name="Abraham Rivera" userId="8e7d1955-7db3-40f7-911f-c4cfbf085fb2" providerId="ADAL" clId="{E639E250-2436-4370-97E9-9264F49096AD}" dt="2026-01-28T17:14:49.840" v="13384"/>
          <ac:spMkLst>
            <pc:docMk/>
            <pc:sldMk cId="3653652073" sldId="2147483646"/>
            <ac:spMk id="120" creationId="{DF1EE1BB-A306-DE7E-DC8C-301239BC1321}"/>
          </ac:spMkLst>
        </pc:spChg>
        <pc:spChg chg="add mod">
          <ac:chgData name="Abraham Rivera" userId="8e7d1955-7db3-40f7-911f-c4cfbf085fb2" providerId="ADAL" clId="{E639E250-2436-4370-97E9-9264F49096AD}" dt="2026-01-28T17:30:19.997" v="13462" actId="1076"/>
          <ac:spMkLst>
            <pc:docMk/>
            <pc:sldMk cId="3653652073" sldId="2147483646"/>
            <ac:spMk id="121" creationId="{92ACB454-46FA-EDFD-9C2E-427409195983}"/>
          </ac:spMkLst>
        </pc:spChg>
        <pc:grpChg chg="mod">
          <ac:chgData name="Abraham Rivera" userId="8e7d1955-7db3-40f7-911f-c4cfbf085fb2" providerId="ADAL" clId="{E639E250-2436-4370-97E9-9264F49096AD}" dt="2026-01-29T13:50:22.666" v="13746" actId="1035"/>
          <ac:grpSpMkLst>
            <pc:docMk/>
            <pc:sldMk cId="3653652073" sldId="2147483646"/>
            <ac:grpSpMk id="119" creationId="{FBA84BC7-5FEB-71D5-0A40-82A6B0C65CE4}"/>
          </ac:grpSpMkLst>
        </pc:grpChg>
        <pc:cxnChg chg="mod">
          <ac:chgData name="Abraham Rivera" userId="8e7d1955-7db3-40f7-911f-c4cfbf085fb2" providerId="ADAL" clId="{E639E250-2436-4370-97E9-9264F49096AD}" dt="2026-01-28T17:12:58.510" v="13370" actId="1038"/>
          <ac:cxnSpMkLst>
            <pc:docMk/>
            <pc:sldMk cId="3653652073" sldId="2147483646"/>
            <ac:cxnSpMk id="90" creationId="{EA79C80B-70FA-099E-3E64-C0F0DA92BFE6}"/>
          </ac:cxnSpMkLst>
        </pc:cxnChg>
        <pc:cxnChg chg="mod">
          <ac:chgData name="Abraham Rivera" userId="8e7d1955-7db3-40f7-911f-c4cfbf085fb2" providerId="ADAL" clId="{E639E250-2436-4370-97E9-9264F49096AD}" dt="2026-01-28T17:12:58.510" v="13370" actId="1038"/>
          <ac:cxnSpMkLst>
            <pc:docMk/>
            <pc:sldMk cId="3653652073" sldId="2147483646"/>
            <ac:cxnSpMk id="91" creationId="{C9145E01-7949-4989-0A33-9DE35ABB7940}"/>
          </ac:cxnSpMkLst>
        </pc:cxnChg>
        <pc:cxnChg chg="mod">
          <ac:chgData name="Abraham Rivera" userId="8e7d1955-7db3-40f7-911f-c4cfbf085fb2" providerId="ADAL" clId="{E639E250-2436-4370-97E9-9264F49096AD}" dt="2026-01-28T17:13:04.150" v="13371" actId="14100"/>
          <ac:cxnSpMkLst>
            <pc:docMk/>
            <pc:sldMk cId="3653652073" sldId="2147483646"/>
            <ac:cxnSpMk id="92" creationId="{608B5B0B-D14A-DB6B-9AE0-BADF0C62CA24}"/>
          </ac:cxnSpMkLst>
        </pc:cxnChg>
        <pc:cxnChg chg="mod">
          <ac:chgData name="Abraham Rivera" userId="8e7d1955-7db3-40f7-911f-c4cfbf085fb2" providerId="ADAL" clId="{E639E250-2436-4370-97E9-9264F49096AD}" dt="2026-01-28T17:11:38.191" v="13341" actId="14100"/>
          <ac:cxnSpMkLst>
            <pc:docMk/>
            <pc:sldMk cId="3653652073" sldId="2147483646"/>
            <ac:cxnSpMk id="93" creationId="{3C6CBDD9-43B2-FD3C-364D-06CC76A23357}"/>
          </ac:cxnSpMkLst>
        </pc:cxnChg>
        <pc:cxnChg chg="mod">
          <ac:chgData name="Abraham Rivera" userId="8e7d1955-7db3-40f7-911f-c4cfbf085fb2" providerId="ADAL" clId="{E639E250-2436-4370-97E9-9264F49096AD}" dt="2026-01-28T17:10:01.797" v="13268" actId="1076"/>
          <ac:cxnSpMkLst>
            <pc:docMk/>
            <pc:sldMk cId="3653652073" sldId="2147483646"/>
            <ac:cxnSpMk id="94" creationId="{94A4B958-BEA8-B879-2F8A-5CAB13C9D486}"/>
          </ac:cxnSpMkLst>
        </pc:cxnChg>
        <pc:cxnChg chg="mod">
          <ac:chgData name="Abraham Rivera" userId="8e7d1955-7db3-40f7-911f-c4cfbf085fb2" providerId="ADAL" clId="{E639E250-2436-4370-97E9-9264F49096AD}" dt="2026-01-28T17:11:43.974" v="13342" actId="1076"/>
          <ac:cxnSpMkLst>
            <pc:docMk/>
            <pc:sldMk cId="3653652073" sldId="2147483646"/>
            <ac:cxnSpMk id="96" creationId="{EFB5804E-04EE-A9CA-B342-DFCC6B65A0DD}"/>
          </ac:cxnSpMkLst>
        </pc:cxnChg>
        <pc:cxnChg chg="mod">
          <ac:chgData name="Abraham Rivera" userId="8e7d1955-7db3-40f7-911f-c4cfbf085fb2" providerId="ADAL" clId="{E639E250-2436-4370-97E9-9264F49096AD}" dt="2026-01-28T17:11:47.878" v="13343" actId="1076"/>
          <ac:cxnSpMkLst>
            <pc:docMk/>
            <pc:sldMk cId="3653652073" sldId="2147483646"/>
            <ac:cxnSpMk id="97" creationId="{29679038-F5B8-193B-EB0F-BC385B10997E}"/>
          </ac:cxnSpMkLst>
        </pc:cxnChg>
      </pc:sldChg>
      <pc:sldChg chg="addSp delSp modSp add mod ord">
        <pc:chgData name="Abraham Rivera" userId="8e7d1955-7db3-40f7-911f-c4cfbf085fb2" providerId="ADAL" clId="{E639E250-2436-4370-97E9-9264F49096AD}" dt="2026-01-29T19:03:46.368" v="14275"/>
        <pc:sldMkLst>
          <pc:docMk/>
          <pc:sldMk cId="3972150036" sldId="2147483647"/>
        </pc:sldMkLst>
        <pc:spChg chg="add del mod">
          <ac:chgData name="Abraham Rivera" userId="8e7d1955-7db3-40f7-911f-c4cfbf085fb2" providerId="ADAL" clId="{E639E250-2436-4370-97E9-9264F49096AD}" dt="2026-01-28T19:32:42.532" v="13519" actId="11529"/>
          <ac:spMkLst>
            <pc:docMk/>
            <pc:sldMk cId="3972150036" sldId="2147483647"/>
            <ac:spMk id="2" creationId="{EEAC35D8-DB87-5435-2D4E-49CECF007AA6}"/>
          </ac:spMkLst>
        </pc:spChg>
        <pc:spChg chg="add mod">
          <ac:chgData name="Abraham Rivera" userId="8e7d1955-7db3-40f7-911f-c4cfbf085fb2" providerId="ADAL" clId="{E639E250-2436-4370-97E9-9264F49096AD}" dt="2026-01-28T19:37:53.517" v="13667" actId="404"/>
          <ac:spMkLst>
            <pc:docMk/>
            <pc:sldMk cId="3972150036" sldId="2147483647"/>
            <ac:spMk id="3" creationId="{61E15A2B-968E-AFF3-78FC-D7B41F3B0B39}"/>
          </ac:spMkLst>
        </pc:spChg>
        <pc:spChg chg="add mod">
          <ac:chgData name="Abraham Rivera" userId="8e7d1955-7db3-40f7-911f-c4cfbf085fb2" providerId="ADAL" clId="{E639E250-2436-4370-97E9-9264F49096AD}" dt="2026-01-28T19:37:57.585" v="13668" actId="404"/>
          <ac:spMkLst>
            <pc:docMk/>
            <pc:sldMk cId="3972150036" sldId="2147483647"/>
            <ac:spMk id="4" creationId="{9BAD460A-423F-16AA-21F8-5ABF11EC43BE}"/>
          </ac:spMkLst>
        </pc:spChg>
        <pc:spChg chg="add mod">
          <ac:chgData name="Abraham Rivera" userId="8e7d1955-7db3-40f7-911f-c4cfbf085fb2" providerId="ADAL" clId="{E639E250-2436-4370-97E9-9264F49096AD}" dt="2026-01-28T19:38:00.395" v="13669" actId="404"/>
          <ac:spMkLst>
            <pc:docMk/>
            <pc:sldMk cId="3972150036" sldId="2147483647"/>
            <ac:spMk id="5" creationId="{EEAB2BEA-1BCD-DBF5-1C11-13CF36794008}"/>
          </ac:spMkLst>
        </pc:spChg>
        <pc:spChg chg="add mod">
          <ac:chgData name="Abraham Rivera" userId="8e7d1955-7db3-40f7-911f-c4cfbf085fb2" providerId="ADAL" clId="{E639E250-2436-4370-97E9-9264F49096AD}" dt="2026-01-28T19:38:03.486" v="13670" actId="404"/>
          <ac:spMkLst>
            <pc:docMk/>
            <pc:sldMk cId="3972150036" sldId="2147483647"/>
            <ac:spMk id="6" creationId="{CADC2695-4A44-61FA-170C-5E8B622659EA}"/>
          </ac:spMkLst>
        </pc:spChg>
        <pc:spChg chg="add mod">
          <ac:chgData name="Abraham Rivera" userId="8e7d1955-7db3-40f7-911f-c4cfbf085fb2" providerId="ADAL" clId="{E639E250-2436-4370-97E9-9264F49096AD}" dt="2026-01-28T19:37:38.101" v="13666" actId="1038"/>
          <ac:spMkLst>
            <pc:docMk/>
            <pc:sldMk cId="3972150036" sldId="2147483647"/>
            <ac:spMk id="7" creationId="{3DDB4677-F652-1648-5FB4-3E538BA8585F}"/>
          </ac:spMkLst>
        </pc:spChg>
        <pc:spChg chg="mod">
          <ac:chgData name="Abraham Rivera" userId="8e7d1955-7db3-40f7-911f-c4cfbf085fb2" providerId="ADAL" clId="{E639E250-2436-4370-97E9-9264F49096AD}" dt="2026-01-28T19:30:58.068" v="13468" actId="20577"/>
          <ac:spMkLst>
            <pc:docMk/>
            <pc:sldMk cId="3972150036" sldId="2147483647"/>
            <ac:spMk id="8" creationId="{85457122-324D-5913-F442-C02AB39901F3}"/>
          </ac:spMkLst>
        </pc:spChg>
        <pc:spChg chg="mod">
          <ac:chgData name="Abraham Rivera" userId="8e7d1955-7db3-40f7-911f-c4cfbf085fb2" providerId="ADAL" clId="{E639E250-2436-4370-97E9-9264F49096AD}" dt="2026-01-28T19:30:59.555" v="13469" actId="20577"/>
          <ac:spMkLst>
            <pc:docMk/>
            <pc:sldMk cId="3972150036" sldId="2147483647"/>
            <ac:spMk id="10" creationId="{E8FC992D-4852-0DC7-FC70-C654A8473C9B}"/>
          </ac:spMkLst>
        </pc:spChg>
        <pc:spChg chg="mod">
          <ac:chgData name="Abraham Rivera" userId="8e7d1955-7db3-40f7-911f-c4cfbf085fb2" providerId="ADAL" clId="{E639E250-2436-4370-97E9-9264F49096AD}" dt="2026-01-28T19:31:01.001" v="13470" actId="20577"/>
          <ac:spMkLst>
            <pc:docMk/>
            <pc:sldMk cId="3972150036" sldId="2147483647"/>
            <ac:spMk id="12" creationId="{363928BF-6C63-C89B-588B-AB7653DF8B72}"/>
          </ac:spMkLst>
        </pc:spChg>
        <pc:spChg chg="mod">
          <ac:chgData name="Abraham Rivera" userId="8e7d1955-7db3-40f7-911f-c4cfbf085fb2" providerId="ADAL" clId="{E639E250-2436-4370-97E9-9264F49096AD}" dt="2026-01-28T19:31:02.252" v="13471" actId="20577"/>
          <ac:spMkLst>
            <pc:docMk/>
            <pc:sldMk cId="3972150036" sldId="2147483647"/>
            <ac:spMk id="14" creationId="{20B159F3-A935-D107-B6FD-DD3D141A4DD9}"/>
          </ac:spMkLst>
        </pc:spChg>
        <pc:spChg chg="mod">
          <ac:chgData name="Abraham Rivera" userId="8e7d1955-7db3-40f7-911f-c4cfbf085fb2" providerId="ADAL" clId="{E639E250-2436-4370-97E9-9264F49096AD}" dt="2026-01-28T19:31:03.834" v="13472" actId="20577"/>
          <ac:spMkLst>
            <pc:docMk/>
            <pc:sldMk cId="3972150036" sldId="2147483647"/>
            <ac:spMk id="16" creationId="{6D3A80E8-8FFD-EE6A-89B2-9AD2A9977DC1}"/>
          </ac:spMkLst>
        </pc:spChg>
        <pc:spChg chg="mod">
          <ac:chgData name="Abraham Rivera" userId="8e7d1955-7db3-40f7-911f-c4cfbf085fb2" providerId="ADAL" clId="{E639E250-2436-4370-97E9-9264F49096AD}" dt="2026-01-28T21:11:40.789" v="13680" actId="20577"/>
          <ac:spMkLst>
            <pc:docMk/>
            <pc:sldMk cId="3972150036" sldId="2147483647"/>
            <ac:spMk id="18" creationId="{AA26F9F6-24C4-068B-8787-8CC6A7ABEAD8}"/>
          </ac:spMkLst>
        </pc:spChg>
        <pc:spChg chg="mod">
          <ac:chgData name="Abraham Rivera" userId="8e7d1955-7db3-40f7-911f-c4cfbf085fb2" providerId="ADAL" clId="{E639E250-2436-4370-97E9-9264F49096AD}" dt="2026-01-29T13:49:50.588" v="13706" actId="207"/>
          <ac:spMkLst>
            <pc:docMk/>
            <pc:sldMk cId="3972150036" sldId="2147483647"/>
            <ac:spMk id="20" creationId="{85B81B42-FC77-7232-811C-EEE4311C88B6}"/>
          </ac:spMkLst>
        </pc:spChg>
        <pc:spChg chg="mod">
          <ac:chgData name="Abraham Rivera" userId="8e7d1955-7db3-40f7-911f-c4cfbf085fb2" providerId="ADAL" clId="{E639E250-2436-4370-97E9-9264F49096AD}" dt="2026-01-29T13:49:59.436" v="13707" actId="207"/>
          <ac:spMkLst>
            <pc:docMk/>
            <pc:sldMk cId="3972150036" sldId="2147483647"/>
            <ac:spMk id="22" creationId="{6E78537A-54AA-063B-A74D-DF451B3AC539}"/>
          </ac:spMkLst>
        </pc:spChg>
        <pc:spChg chg="mod">
          <ac:chgData name="Abraham Rivera" userId="8e7d1955-7db3-40f7-911f-c4cfbf085fb2" providerId="ADAL" clId="{E639E250-2436-4370-97E9-9264F49096AD}" dt="2026-01-28T19:31:09.059" v="13476" actId="20577"/>
          <ac:spMkLst>
            <pc:docMk/>
            <pc:sldMk cId="3972150036" sldId="2147483647"/>
            <ac:spMk id="24" creationId="{54360F5C-5F13-6B8F-7B7D-33ABF4A96383}"/>
          </ac:spMkLst>
        </pc:spChg>
        <pc:spChg chg="mod">
          <ac:chgData name="Abraham Rivera" userId="8e7d1955-7db3-40f7-911f-c4cfbf085fb2" providerId="ADAL" clId="{E639E250-2436-4370-97E9-9264F49096AD}" dt="2026-01-28T19:31:10.100" v="13477" actId="20577"/>
          <ac:spMkLst>
            <pc:docMk/>
            <pc:sldMk cId="3972150036" sldId="2147483647"/>
            <ac:spMk id="26" creationId="{803B4E7E-0433-0CF6-BFAE-6DB8F66B19A4}"/>
          </ac:spMkLst>
        </pc:spChg>
        <pc:spChg chg="mod">
          <ac:chgData name="Abraham Rivera" userId="8e7d1955-7db3-40f7-911f-c4cfbf085fb2" providerId="ADAL" clId="{E639E250-2436-4370-97E9-9264F49096AD}" dt="2026-01-28T19:31:11.124" v="13478" actId="20577"/>
          <ac:spMkLst>
            <pc:docMk/>
            <pc:sldMk cId="3972150036" sldId="2147483647"/>
            <ac:spMk id="28" creationId="{FE706068-406A-D604-35AD-338BD9AEA36C}"/>
          </ac:spMkLst>
        </pc:spChg>
        <pc:spChg chg="mod">
          <ac:chgData name="Abraham Rivera" userId="8e7d1955-7db3-40f7-911f-c4cfbf085fb2" providerId="ADAL" clId="{E639E250-2436-4370-97E9-9264F49096AD}" dt="2026-01-28T19:31:12.337" v="13479" actId="20577"/>
          <ac:spMkLst>
            <pc:docMk/>
            <pc:sldMk cId="3972150036" sldId="2147483647"/>
            <ac:spMk id="30" creationId="{B212DBB4-B471-263E-F9FE-96969B93AA49}"/>
          </ac:spMkLst>
        </pc:spChg>
        <pc:spChg chg="mod">
          <ac:chgData name="Abraham Rivera" userId="8e7d1955-7db3-40f7-911f-c4cfbf085fb2" providerId="ADAL" clId="{E639E250-2436-4370-97E9-9264F49096AD}" dt="2026-01-28T19:31:14.733" v="13480" actId="20577"/>
          <ac:spMkLst>
            <pc:docMk/>
            <pc:sldMk cId="3972150036" sldId="2147483647"/>
            <ac:spMk id="34" creationId="{3E5C27EE-486B-8C33-53C0-411E1F4473B3}"/>
          </ac:spMkLst>
        </pc:spChg>
        <pc:spChg chg="mod">
          <ac:chgData name="Abraham Rivera" userId="8e7d1955-7db3-40f7-911f-c4cfbf085fb2" providerId="ADAL" clId="{E639E250-2436-4370-97E9-9264F49096AD}" dt="2026-01-28T19:31:16.082" v="13481" actId="20577"/>
          <ac:spMkLst>
            <pc:docMk/>
            <pc:sldMk cId="3972150036" sldId="2147483647"/>
            <ac:spMk id="36" creationId="{23F6393A-F0C2-C7CE-5A50-2BABF3A59CC1}"/>
          </ac:spMkLst>
        </pc:spChg>
        <pc:spChg chg="mod">
          <ac:chgData name="Abraham Rivera" userId="8e7d1955-7db3-40f7-911f-c4cfbf085fb2" providerId="ADAL" clId="{E639E250-2436-4370-97E9-9264F49096AD}" dt="2026-01-28T19:31:17.498" v="13482" actId="20577"/>
          <ac:spMkLst>
            <pc:docMk/>
            <pc:sldMk cId="3972150036" sldId="2147483647"/>
            <ac:spMk id="38" creationId="{994428E1-D0D9-D791-282C-A6FC51B3998C}"/>
          </ac:spMkLst>
        </pc:spChg>
        <pc:spChg chg="mod">
          <ac:chgData name="Abraham Rivera" userId="8e7d1955-7db3-40f7-911f-c4cfbf085fb2" providerId="ADAL" clId="{E639E250-2436-4370-97E9-9264F49096AD}" dt="2026-01-28T19:31:18.503" v="13483" actId="20577"/>
          <ac:spMkLst>
            <pc:docMk/>
            <pc:sldMk cId="3972150036" sldId="2147483647"/>
            <ac:spMk id="40" creationId="{3A77B8FF-9215-BC37-F828-4041C529D9B6}"/>
          </ac:spMkLst>
        </pc:spChg>
        <pc:spChg chg="mod">
          <ac:chgData name="Abraham Rivera" userId="8e7d1955-7db3-40f7-911f-c4cfbf085fb2" providerId="ADAL" clId="{E639E250-2436-4370-97E9-9264F49096AD}" dt="2026-01-28T19:31:19.875" v="13484" actId="20577"/>
          <ac:spMkLst>
            <pc:docMk/>
            <pc:sldMk cId="3972150036" sldId="2147483647"/>
            <ac:spMk id="42" creationId="{E050EDBD-E331-5DC6-02AE-9646647C4D17}"/>
          </ac:spMkLst>
        </pc:spChg>
        <pc:spChg chg="mod">
          <ac:chgData name="Abraham Rivera" userId="8e7d1955-7db3-40f7-911f-c4cfbf085fb2" providerId="ADAL" clId="{E639E250-2436-4370-97E9-9264F49096AD}" dt="2026-01-28T19:31:21.366" v="13485" actId="20577"/>
          <ac:spMkLst>
            <pc:docMk/>
            <pc:sldMk cId="3972150036" sldId="2147483647"/>
            <ac:spMk id="44" creationId="{7847A981-211F-6B24-5DE2-CD7745575613}"/>
          </ac:spMkLst>
        </pc:spChg>
        <pc:spChg chg="mod">
          <ac:chgData name="Abraham Rivera" userId="8e7d1955-7db3-40f7-911f-c4cfbf085fb2" providerId="ADAL" clId="{E639E250-2436-4370-97E9-9264F49096AD}" dt="2026-01-28T19:31:23.967" v="13487" actId="20577"/>
          <ac:spMkLst>
            <pc:docMk/>
            <pc:sldMk cId="3972150036" sldId="2147483647"/>
            <ac:spMk id="46" creationId="{80FCC85E-5F87-5823-915D-9B457B8B2147}"/>
          </ac:spMkLst>
        </pc:spChg>
        <pc:spChg chg="mod">
          <ac:chgData name="Abraham Rivera" userId="8e7d1955-7db3-40f7-911f-c4cfbf085fb2" providerId="ADAL" clId="{E639E250-2436-4370-97E9-9264F49096AD}" dt="2026-01-28T19:31:25.584" v="13488" actId="20577"/>
          <ac:spMkLst>
            <pc:docMk/>
            <pc:sldMk cId="3972150036" sldId="2147483647"/>
            <ac:spMk id="48" creationId="{B012CF73-456A-A267-E007-D10A840E4F20}"/>
          </ac:spMkLst>
        </pc:spChg>
        <pc:spChg chg="mod">
          <ac:chgData name="Abraham Rivera" userId="8e7d1955-7db3-40f7-911f-c4cfbf085fb2" providerId="ADAL" clId="{E639E250-2436-4370-97E9-9264F49096AD}" dt="2026-01-28T19:31:26.824" v="13489" actId="20577"/>
          <ac:spMkLst>
            <pc:docMk/>
            <pc:sldMk cId="3972150036" sldId="2147483647"/>
            <ac:spMk id="50" creationId="{0480DCA6-5382-D2D8-5599-B022518F312E}"/>
          </ac:spMkLst>
        </pc:spChg>
        <pc:spChg chg="mod">
          <ac:chgData name="Abraham Rivera" userId="8e7d1955-7db3-40f7-911f-c4cfbf085fb2" providerId="ADAL" clId="{E639E250-2436-4370-97E9-9264F49096AD}" dt="2026-01-28T19:31:28.459" v="13490" actId="20577"/>
          <ac:spMkLst>
            <pc:docMk/>
            <pc:sldMk cId="3972150036" sldId="2147483647"/>
            <ac:spMk id="52" creationId="{EEB30FE1-04F1-C1A3-BA7B-182B7ADF7D47}"/>
          </ac:spMkLst>
        </pc:spChg>
        <pc:spChg chg="mod">
          <ac:chgData name="Abraham Rivera" userId="8e7d1955-7db3-40f7-911f-c4cfbf085fb2" providerId="ADAL" clId="{E639E250-2436-4370-97E9-9264F49096AD}" dt="2026-01-28T19:31:29.724" v="13491" actId="20577"/>
          <ac:spMkLst>
            <pc:docMk/>
            <pc:sldMk cId="3972150036" sldId="2147483647"/>
            <ac:spMk id="54" creationId="{241B1BA6-2ECC-7386-A8B1-5D1D0B15CF65}"/>
          </ac:spMkLst>
        </pc:spChg>
        <pc:spChg chg="mod">
          <ac:chgData name="Abraham Rivera" userId="8e7d1955-7db3-40f7-911f-c4cfbf085fb2" providerId="ADAL" clId="{E639E250-2436-4370-97E9-9264F49096AD}" dt="2026-01-28T19:31:31.334" v="13492" actId="20577"/>
          <ac:spMkLst>
            <pc:docMk/>
            <pc:sldMk cId="3972150036" sldId="2147483647"/>
            <ac:spMk id="56" creationId="{7904AD5A-0411-FE44-C7FF-CD84F2B884DE}"/>
          </ac:spMkLst>
        </pc:spChg>
        <pc:spChg chg="mod">
          <ac:chgData name="Abraham Rivera" userId="8e7d1955-7db3-40f7-911f-c4cfbf085fb2" providerId="ADAL" clId="{E639E250-2436-4370-97E9-9264F49096AD}" dt="2026-01-28T19:31:35.897" v="13494" actId="20577"/>
          <ac:spMkLst>
            <pc:docMk/>
            <pc:sldMk cId="3972150036" sldId="2147483647"/>
            <ac:spMk id="58" creationId="{843F7387-6750-2E69-8DBC-6D157D65F3B6}"/>
          </ac:spMkLst>
        </pc:spChg>
        <pc:spChg chg="mod">
          <ac:chgData name="Abraham Rivera" userId="8e7d1955-7db3-40f7-911f-c4cfbf085fb2" providerId="ADAL" clId="{E639E250-2436-4370-97E9-9264F49096AD}" dt="2026-01-28T19:31:47.035" v="13501" actId="404"/>
          <ac:spMkLst>
            <pc:docMk/>
            <pc:sldMk cId="3972150036" sldId="2147483647"/>
            <ac:spMk id="60" creationId="{15B5B5EE-EF40-B61B-432A-F9BCD406949D}"/>
          </ac:spMkLst>
        </pc:spChg>
        <pc:spChg chg="mod">
          <ac:chgData name="Abraham Rivera" userId="8e7d1955-7db3-40f7-911f-c4cfbf085fb2" providerId="ADAL" clId="{E639E250-2436-4370-97E9-9264F49096AD}" dt="2026-01-28T19:31:48.744" v="13502" actId="20577"/>
          <ac:spMkLst>
            <pc:docMk/>
            <pc:sldMk cId="3972150036" sldId="2147483647"/>
            <ac:spMk id="62" creationId="{B5AE9D8E-A9B6-5C24-36AE-83851C5B8002}"/>
          </ac:spMkLst>
        </pc:spChg>
        <pc:spChg chg="mod">
          <ac:chgData name="Abraham Rivera" userId="8e7d1955-7db3-40f7-911f-c4cfbf085fb2" providerId="ADAL" clId="{E639E250-2436-4370-97E9-9264F49096AD}" dt="2026-01-28T19:31:50.081" v="13503" actId="20577"/>
          <ac:spMkLst>
            <pc:docMk/>
            <pc:sldMk cId="3972150036" sldId="2147483647"/>
            <ac:spMk id="64" creationId="{3EC8B334-AB83-C879-5056-B3BA78117CCC}"/>
          </ac:spMkLst>
        </pc:spChg>
        <pc:spChg chg="mod">
          <ac:chgData name="Abraham Rivera" userId="8e7d1955-7db3-40f7-911f-c4cfbf085fb2" providerId="ADAL" clId="{E639E250-2436-4370-97E9-9264F49096AD}" dt="2026-01-28T19:31:53.338" v="13504" actId="20577"/>
          <ac:spMkLst>
            <pc:docMk/>
            <pc:sldMk cId="3972150036" sldId="2147483647"/>
            <ac:spMk id="66" creationId="{AA628D2C-B7E4-EC53-9579-6632279DD76B}"/>
          </ac:spMkLst>
        </pc:spChg>
        <pc:spChg chg="mod">
          <ac:chgData name="Abraham Rivera" userId="8e7d1955-7db3-40f7-911f-c4cfbf085fb2" providerId="ADAL" clId="{E639E250-2436-4370-97E9-9264F49096AD}" dt="2026-01-28T19:31:54.852" v="13505" actId="20577"/>
          <ac:spMkLst>
            <pc:docMk/>
            <pc:sldMk cId="3972150036" sldId="2147483647"/>
            <ac:spMk id="68" creationId="{E09F583B-DAE1-F3DC-21F1-78E6F37153FE}"/>
          </ac:spMkLst>
        </pc:spChg>
        <pc:spChg chg="mod">
          <ac:chgData name="Abraham Rivera" userId="8e7d1955-7db3-40f7-911f-c4cfbf085fb2" providerId="ADAL" clId="{E639E250-2436-4370-97E9-9264F49096AD}" dt="2026-01-28T19:31:57.943" v="13506" actId="20577"/>
          <ac:spMkLst>
            <pc:docMk/>
            <pc:sldMk cId="3972150036" sldId="2147483647"/>
            <ac:spMk id="70" creationId="{BB98A931-3783-51F1-4562-153A7E86DC8A}"/>
          </ac:spMkLst>
        </pc:spChg>
        <pc:spChg chg="mod">
          <ac:chgData name="Abraham Rivera" userId="8e7d1955-7db3-40f7-911f-c4cfbf085fb2" providerId="ADAL" clId="{E639E250-2436-4370-97E9-9264F49096AD}" dt="2026-01-28T19:31:59.602" v="13507" actId="20577"/>
          <ac:spMkLst>
            <pc:docMk/>
            <pc:sldMk cId="3972150036" sldId="2147483647"/>
            <ac:spMk id="72" creationId="{38ED6C03-E6E7-B158-224D-C0D44A5DD208}"/>
          </ac:spMkLst>
        </pc:spChg>
        <pc:spChg chg="mod">
          <ac:chgData name="Abraham Rivera" userId="8e7d1955-7db3-40f7-911f-c4cfbf085fb2" providerId="ADAL" clId="{E639E250-2436-4370-97E9-9264F49096AD}" dt="2026-01-28T19:32:00.969" v="13508" actId="20577"/>
          <ac:spMkLst>
            <pc:docMk/>
            <pc:sldMk cId="3972150036" sldId="2147483647"/>
            <ac:spMk id="74" creationId="{E55398F7-BCFA-561B-E8BE-A8ADA92892A7}"/>
          </ac:spMkLst>
        </pc:spChg>
        <pc:spChg chg="mod">
          <ac:chgData name="Abraham Rivera" userId="8e7d1955-7db3-40f7-911f-c4cfbf085fb2" providerId="ADAL" clId="{E639E250-2436-4370-97E9-9264F49096AD}" dt="2026-01-28T19:32:02.773" v="13509" actId="20577"/>
          <ac:spMkLst>
            <pc:docMk/>
            <pc:sldMk cId="3972150036" sldId="2147483647"/>
            <ac:spMk id="76" creationId="{4E9A2AC3-C386-FC1B-F960-4398CFEFE51A}"/>
          </ac:spMkLst>
        </pc:spChg>
        <pc:spChg chg="mod">
          <ac:chgData name="Abraham Rivera" userId="8e7d1955-7db3-40f7-911f-c4cfbf085fb2" providerId="ADAL" clId="{E639E250-2436-4370-97E9-9264F49096AD}" dt="2026-01-28T19:32:04.259" v="13510" actId="20577"/>
          <ac:spMkLst>
            <pc:docMk/>
            <pc:sldMk cId="3972150036" sldId="2147483647"/>
            <ac:spMk id="78" creationId="{B26F59E0-144D-3D39-5ADA-9776056E3388}"/>
          </ac:spMkLst>
        </pc:spChg>
        <pc:spChg chg="mod">
          <ac:chgData name="Abraham Rivera" userId="8e7d1955-7db3-40f7-911f-c4cfbf085fb2" providerId="ADAL" clId="{E639E250-2436-4370-97E9-9264F49096AD}" dt="2026-01-28T19:32:05.543" v="13511" actId="20577"/>
          <ac:spMkLst>
            <pc:docMk/>
            <pc:sldMk cId="3972150036" sldId="2147483647"/>
            <ac:spMk id="80" creationId="{E5295A2E-C74D-DF88-4CB9-E5AFDB442108}"/>
          </ac:spMkLst>
        </pc:spChg>
        <pc:spChg chg="mod">
          <ac:chgData name="Abraham Rivera" userId="8e7d1955-7db3-40f7-911f-c4cfbf085fb2" providerId="ADAL" clId="{E639E250-2436-4370-97E9-9264F49096AD}" dt="2026-01-28T19:32:07.096" v="13512" actId="20577"/>
          <ac:spMkLst>
            <pc:docMk/>
            <pc:sldMk cId="3972150036" sldId="2147483647"/>
            <ac:spMk id="82" creationId="{27B06CC4-4A97-E98A-B4D2-9A9D69FB54B0}"/>
          </ac:spMkLst>
        </pc:spChg>
        <pc:spChg chg="mod">
          <ac:chgData name="Abraham Rivera" userId="8e7d1955-7db3-40f7-911f-c4cfbf085fb2" providerId="ADAL" clId="{E639E250-2436-4370-97E9-9264F49096AD}" dt="2026-01-28T19:32:08.891" v="13513" actId="20577"/>
          <ac:spMkLst>
            <pc:docMk/>
            <pc:sldMk cId="3972150036" sldId="2147483647"/>
            <ac:spMk id="84" creationId="{9BE89E44-0DA0-7A9A-8394-190B12610479}"/>
          </ac:spMkLst>
        </pc:spChg>
        <pc:spChg chg="mod">
          <ac:chgData name="Abraham Rivera" userId="8e7d1955-7db3-40f7-911f-c4cfbf085fb2" providerId="ADAL" clId="{E639E250-2436-4370-97E9-9264F49096AD}" dt="2026-01-28T19:32:10.417" v="13514" actId="20577"/>
          <ac:spMkLst>
            <pc:docMk/>
            <pc:sldMk cId="3972150036" sldId="2147483647"/>
            <ac:spMk id="86" creationId="{8FAD7D0E-4FE8-45F3-0400-D83075F54FC1}"/>
          </ac:spMkLst>
        </pc:spChg>
        <pc:spChg chg="add mod">
          <ac:chgData name="Abraham Rivera" userId="8e7d1955-7db3-40f7-911f-c4cfbf085fb2" providerId="ADAL" clId="{E639E250-2436-4370-97E9-9264F49096AD}" dt="2026-01-28T19:37:18.198" v="13654" actId="1038"/>
          <ac:spMkLst>
            <pc:docMk/>
            <pc:sldMk cId="3972150036" sldId="2147483647"/>
            <ac:spMk id="98" creationId="{E9B4BB4F-6849-CFE2-8551-92AD0F609D18}"/>
          </ac:spMkLst>
        </pc:spChg>
        <pc:spChg chg="add mod">
          <ac:chgData name="Abraham Rivera" userId="8e7d1955-7db3-40f7-911f-c4cfbf085fb2" providerId="ADAL" clId="{E639E250-2436-4370-97E9-9264F49096AD}" dt="2026-01-28T19:37:24.617" v="13657" actId="1035"/>
          <ac:spMkLst>
            <pc:docMk/>
            <pc:sldMk cId="3972150036" sldId="2147483647"/>
            <ac:spMk id="111" creationId="{164CD70D-6DF8-4711-F347-6F113EC37234}"/>
          </ac:spMkLst>
        </pc:spChg>
        <pc:spChg chg="add mod">
          <ac:chgData name="Abraham Rivera" userId="8e7d1955-7db3-40f7-911f-c4cfbf085fb2" providerId="ADAL" clId="{E639E250-2436-4370-97E9-9264F49096AD}" dt="2026-01-28T19:37:30.725" v="13663" actId="1035"/>
          <ac:spMkLst>
            <pc:docMk/>
            <pc:sldMk cId="3972150036" sldId="2147483647"/>
            <ac:spMk id="112" creationId="{D9C45DE4-80AC-21C8-1EB7-660316EC2A35}"/>
          </ac:spMkLst>
        </pc:spChg>
        <pc:spChg chg="add mod ord">
          <ac:chgData name="Abraham Rivera" userId="8e7d1955-7db3-40f7-911f-c4cfbf085fb2" providerId="ADAL" clId="{E639E250-2436-4370-97E9-9264F49096AD}" dt="2026-01-29T13:49:28.041" v="13705" actId="207"/>
          <ac:spMkLst>
            <pc:docMk/>
            <pc:sldMk cId="3972150036" sldId="2147483647"/>
            <ac:spMk id="113" creationId="{0F26146A-781A-497C-D8B9-F8A5A705DBCE}"/>
          </ac:spMkLst>
        </pc:spChg>
        <pc:spChg chg="del mod">
          <ac:chgData name="Abraham Rivera" userId="8e7d1955-7db3-40f7-911f-c4cfbf085fb2" providerId="ADAL" clId="{E639E250-2436-4370-97E9-9264F49096AD}" dt="2026-01-28T19:35:48.248" v="13569" actId="478"/>
          <ac:spMkLst>
            <pc:docMk/>
            <pc:sldMk cId="3972150036" sldId="2147483647"/>
            <ac:spMk id="121" creationId="{B675DC1D-BD79-91E9-CE65-41750537CBA0}"/>
          </ac:spMkLst>
        </pc:spChg>
        <pc:grpChg chg="mod">
          <ac:chgData name="Abraham Rivera" userId="8e7d1955-7db3-40f7-911f-c4cfbf085fb2" providerId="ADAL" clId="{E639E250-2436-4370-97E9-9264F49096AD}" dt="2026-01-29T13:49:08.852" v="13704" actId="1036"/>
          <ac:grpSpMkLst>
            <pc:docMk/>
            <pc:sldMk cId="3972150036" sldId="2147483647"/>
            <ac:grpSpMk id="119" creationId="{8375C97F-BB8F-BC3C-7628-E81F700ABB75}"/>
          </ac:grpSpMkLst>
        </pc:grpChg>
      </pc:sldChg>
    </pc:docChg>
  </pc:docChgLst>
  <pc:docChgLst>
    <pc:chgData name="Karen Villaca" userId="S::kvillaca_gsc@santander.com.pe::331067c4-6004-404b-a263-6517a121ddd5" providerId="AD" clId="Web-{E4AA5DA8-AD68-D781-91CD-681339CBCFB4}"/>
    <pc:docChg chg="modSld">
      <pc:chgData name="Karen Villaca" userId="S::kvillaca_gsc@santander.com.pe::331067c4-6004-404b-a263-6517a121ddd5" providerId="AD" clId="Web-{E4AA5DA8-AD68-D781-91CD-681339CBCFB4}" dt="2026-01-16T16:08:14.173" v="28" actId="20577"/>
      <pc:docMkLst>
        <pc:docMk/>
      </pc:docMkLst>
      <pc:sldChg chg="delSp modSp">
        <pc:chgData name="Karen Villaca" userId="S::kvillaca_gsc@santander.com.pe::331067c4-6004-404b-a263-6517a121ddd5" providerId="AD" clId="Web-{E4AA5DA8-AD68-D781-91CD-681339CBCFB4}" dt="2026-01-16T16:08:14.173" v="28" actId="20577"/>
        <pc:sldMkLst>
          <pc:docMk/>
          <pc:sldMk cId="1279343961" sldId="2147483643"/>
        </pc:sldMkLst>
        <pc:spChg chg="mod">
          <ac:chgData name="Karen Villaca" userId="S::kvillaca_gsc@santander.com.pe::331067c4-6004-404b-a263-6517a121ddd5" providerId="AD" clId="Web-{E4AA5DA8-AD68-D781-91CD-681339CBCFB4}" dt="2026-01-16T16:06:41.594" v="18" actId="20577"/>
          <ac:spMkLst>
            <pc:docMk/>
            <pc:sldMk cId="1279343961" sldId="2147483643"/>
            <ac:spMk id="23" creationId="{B5C87F25-290D-3863-9EBE-59C4A0536433}"/>
          </ac:spMkLst>
        </pc:spChg>
        <pc:spChg chg="mod">
          <ac:chgData name="Karen Villaca" userId="S::kvillaca_gsc@santander.com.pe::331067c4-6004-404b-a263-6517a121ddd5" providerId="AD" clId="Web-{E4AA5DA8-AD68-D781-91CD-681339CBCFB4}" dt="2026-01-16T16:07:34.542" v="20" actId="20577"/>
          <ac:spMkLst>
            <pc:docMk/>
            <pc:sldMk cId="1279343961" sldId="2147483643"/>
            <ac:spMk id="28" creationId="{0545A075-F29B-4A07-C672-D35A98A7CBFD}"/>
          </ac:spMkLst>
        </pc:spChg>
        <pc:spChg chg="mod">
          <ac:chgData name="Karen Villaca" userId="S::kvillaca_gsc@santander.com.pe::331067c4-6004-404b-a263-6517a121ddd5" providerId="AD" clId="Web-{E4AA5DA8-AD68-D781-91CD-681339CBCFB4}" dt="2026-01-16T15:44:27.423" v="13" actId="20577"/>
          <ac:spMkLst>
            <pc:docMk/>
            <pc:sldMk cId="1279343961" sldId="2147483643"/>
            <ac:spMk id="29" creationId="{F1A0B998-B252-3CE1-2D6A-78BCE05D5898}"/>
          </ac:spMkLst>
        </pc:spChg>
        <pc:spChg chg="mod">
          <ac:chgData name="Karen Villaca" userId="S::kvillaca_gsc@santander.com.pe::331067c4-6004-404b-a263-6517a121ddd5" providerId="AD" clId="Web-{E4AA5DA8-AD68-D781-91CD-681339CBCFB4}" dt="2026-01-16T16:08:14.173" v="28" actId="20577"/>
          <ac:spMkLst>
            <pc:docMk/>
            <pc:sldMk cId="1279343961" sldId="2147483643"/>
            <ac:spMk id="31" creationId="{5B2D829C-0EA3-F824-FFD0-BEC6917A6B42}"/>
          </ac:spMkLst>
        </pc:spChg>
        <pc:spChg chg="mod">
          <ac:chgData name="Karen Villaca" userId="S::kvillaca_gsc@santander.com.pe::331067c4-6004-404b-a263-6517a121ddd5" providerId="AD" clId="Web-{E4AA5DA8-AD68-D781-91CD-681339CBCFB4}" dt="2026-01-16T16:08:08.657" v="24" actId="20577"/>
          <ac:spMkLst>
            <pc:docMk/>
            <pc:sldMk cId="1279343961" sldId="2147483643"/>
            <ac:spMk id="33" creationId="{BCF695BD-8E2B-EF0C-A516-9EFB01439A71}"/>
          </ac:spMkLst>
        </pc:spChg>
        <pc:spChg chg="mod">
          <ac:chgData name="Karen Villaca" userId="S::kvillaca_gsc@santander.com.pe::331067c4-6004-404b-a263-6517a121ddd5" providerId="AD" clId="Web-{E4AA5DA8-AD68-D781-91CD-681339CBCFB4}" dt="2026-01-16T15:34:48.915" v="7" actId="20577"/>
          <ac:spMkLst>
            <pc:docMk/>
            <pc:sldMk cId="1279343961" sldId="2147483643"/>
            <ac:spMk id="63" creationId="{73FF910F-16D0-2DF5-047C-250A739E70E1}"/>
          </ac:spMkLst>
        </pc:spChg>
      </pc:sldChg>
    </pc:docChg>
  </pc:docChgLst>
  <pc:docChgLst>
    <pc:chgData name="Saul Galan" userId="S::sgalan_scb@santander.com.pe::68d484d1-bcaf-4963-921a-3a6a9650e46f" providerId="AD" clId="Web-{B65338A1-DB87-6E76-C253-A7A55302C921}"/>
    <pc:docChg chg="modSld">
      <pc:chgData name="Saul Galan" userId="S::sgalan_scb@santander.com.pe::68d484d1-bcaf-4963-921a-3a6a9650e46f" providerId="AD" clId="Web-{B65338A1-DB87-6E76-C253-A7A55302C921}" dt="2026-01-08T15:22:48.577" v="0" actId="1076"/>
      <pc:docMkLst>
        <pc:docMk/>
      </pc:docMkLst>
      <pc:sldChg chg="modSp">
        <pc:chgData name="Saul Galan" userId="S::sgalan_scb@santander.com.pe::68d484d1-bcaf-4963-921a-3a6a9650e46f" providerId="AD" clId="Web-{B65338A1-DB87-6E76-C253-A7A55302C921}" dt="2026-01-08T15:22:48.577" v="0" actId="1076"/>
        <pc:sldMkLst>
          <pc:docMk/>
          <pc:sldMk cId="3900818322" sldId="2147483593"/>
        </pc:sldMkLst>
        <pc:picChg chg="mod">
          <ac:chgData name="Saul Galan" userId="S::sgalan_scb@santander.com.pe::68d484d1-bcaf-4963-921a-3a6a9650e46f" providerId="AD" clId="Web-{B65338A1-DB87-6E76-C253-A7A55302C921}" dt="2026-01-08T15:22:48.577" v="0" actId="1076"/>
          <ac:picMkLst>
            <pc:docMk/>
            <pc:sldMk cId="3900818322" sldId="2147483593"/>
            <ac:picMk id="2078" creationId="{6962F950-FC02-A7AC-F68F-FD5B814D3A9D}"/>
          </ac:picMkLst>
        </pc:picChg>
      </pc:sldChg>
    </pc:docChg>
  </pc:docChgLst>
  <pc:docChgLst>
    <pc:chgData name="Karen Villaca" userId="S::kvillaca_gsc@santander.com.pe::331067c4-6004-404b-a263-6517a121ddd5" providerId="AD" clId="Web-{06DB82D2-71A5-B3C9-6E4A-16C6D1F0A7F3}"/>
    <pc:docChg chg="modSld">
      <pc:chgData name="Karen Villaca" userId="S::kvillaca_gsc@santander.com.pe::331067c4-6004-404b-a263-6517a121ddd5" providerId="AD" clId="Web-{06DB82D2-71A5-B3C9-6E4A-16C6D1F0A7F3}" dt="2026-01-23T17:18:05.904" v="739" actId="20577"/>
      <pc:docMkLst>
        <pc:docMk/>
      </pc:docMkLst>
      <pc:sldChg chg="modSp">
        <pc:chgData name="Karen Villaca" userId="S::kvillaca_gsc@santander.com.pe::331067c4-6004-404b-a263-6517a121ddd5" providerId="AD" clId="Web-{06DB82D2-71A5-B3C9-6E4A-16C6D1F0A7F3}" dt="2026-01-23T17:18:05.904" v="739" actId="20577"/>
        <pc:sldMkLst>
          <pc:docMk/>
          <pc:sldMk cId="1279343961" sldId="2147483643"/>
        </pc:sldMkLst>
        <pc:spChg chg="mod">
          <ac:chgData name="Karen Villaca" userId="S::kvillaca_gsc@santander.com.pe::331067c4-6004-404b-a263-6517a121ddd5" providerId="AD" clId="Web-{06DB82D2-71A5-B3C9-6E4A-16C6D1F0A7F3}" dt="2026-01-23T17:11:03.516" v="436" actId="20577"/>
          <ac:spMkLst>
            <pc:docMk/>
            <pc:sldMk cId="1279343961" sldId="2147483643"/>
            <ac:spMk id="7" creationId="{F87802E2-58A2-63B9-7B3D-B8F40E577879}"/>
          </ac:spMkLst>
        </pc:spChg>
        <pc:spChg chg="mod">
          <ac:chgData name="Karen Villaca" userId="S::kvillaca_gsc@santander.com.pe::331067c4-6004-404b-a263-6517a121ddd5" providerId="AD" clId="Web-{06DB82D2-71A5-B3C9-6E4A-16C6D1F0A7F3}" dt="2026-01-23T17:16:21.027" v="702" actId="1076"/>
          <ac:spMkLst>
            <pc:docMk/>
            <pc:sldMk cId="1279343961" sldId="2147483643"/>
            <ac:spMk id="20" creationId="{B7A7A396-98CB-BA0A-9715-B07FD5AF9A25}"/>
          </ac:spMkLst>
        </pc:spChg>
        <pc:spChg chg="mod">
          <ac:chgData name="Karen Villaca" userId="S::kvillaca_gsc@santander.com.pe::331067c4-6004-404b-a263-6517a121ddd5" providerId="AD" clId="Web-{06DB82D2-71A5-B3C9-6E4A-16C6D1F0A7F3}" dt="2026-01-23T17:16:14.621" v="701" actId="20577"/>
          <ac:spMkLst>
            <pc:docMk/>
            <pc:sldMk cId="1279343961" sldId="2147483643"/>
            <ac:spMk id="22" creationId="{683C7D13-6537-A96D-1430-2F1666C1586F}"/>
          </ac:spMkLst>
        </pc:spChg>
        <pc:spChg chg="mod">
          <ac:chgData name="Karen Villaca" userId="S::kvillaca_gsc@santander.com.pe::331067c4-6004-404b-a263-6517a121ddd5" providerId="AD" clId="Web-{06DB82D2-71A5-B3C9-6E4A-16C6D1F0A7F3}" dt="2026-01-23T17:06:02.826" v="123" actId="20577"/>
          <ac:spMkLst>
            <pc:docMk/>
            <pc:sldMk cId="1279343961" sldId="2147483643"/>
            <ac:spMk id="32" creationId="{4D2D4315-5DAD-945C-1927-B575A05B8DD2}"/>
          </ac:spMkLst>
        </pc:spChg>
        <pc:spChg chg="mod">
          <ac:chgData name="Karen Villaca" userId="S::kvillaca_gsc@santander.com.pe::331067c4-6004-404b-a263-6517a121ddd5" providerId="AD" clId="Web-{06DB82D2-71A5-B3C9-6E4A-16C6D1F0A7F3}" dt="2026-01-23T17:16:46.309" v="710" actId="20577"/>
          <ac:spMkLst>
            <pc:docMk/>
            <pc:sldMk cId="1279343961" sldId="2147483643"/>
            <ac:spMk id="33" creationId="{BCF695BD-8E2B-EF0C-A516-9EFB01439A71}"/>
          </ac:spMkLst>
        </pc:spChg>
        <pc:spChg chg="mod">
          <ac:chgData name="Karen Villaca" userId="S::kvillaca_gsc@santander.com.pe::331067c4-6004-404b-a263-6517a121ddd5" providerId="AD" clId="Web-{06DB82D2-71A5-B3C9-6E4A-16C6D1F0A7F3}" dt="2026-01-23T17:14:23.648" v="551" actId="20577"/>
          <ac:spMkLst>
            <pc:docMk/>
            <pc:sldMk cId="1279343961" sldId="2147483643"/>
            <ac:spMk id="46" creationId="{A168BDF4-9F99-4C29-AD89-FD260F768918}"/>
          </ac:spMkLst>
        </pc:spChg>
        <pc:spChg chg="mod">
          <ac:chgData name="Karen Villaca" userId="S::kvillaca_gsc@santander.com.pe::331067c4-6004-404b-a263-6517a121ddd5" providerId="AD" clId="Web-{06DB82D2-71A5-B3C9-6E4A-16C6D1F0A7F3}" dt="2026-01-23T17:18:05.904" v="739" actId="20577"/>
          <ac:spMkLst>
            <pc:docMk/>
            <pc:sldMk cId="1279343961" sldId="2147483643"/>
            <ac:spMk id="63" creationId="{73FF910F-16D0-2DF5-047C-250A739E70E1}"/>
          </ac:spMkLst>
        </pc:spChg>
        <pc:spChg chg="mod">
          <ac:chgData name="Karen Villaca" userId="S::kvillaca_gsc@santander.com.pe::331067c4-6004-404b-a263-6517a121ddd5" providerId="AD" clId="Web-{06DB82D2-71A5-B3C9-6E4A-16C6D1F0A7F3}" dt="2026-01-23T17:12:42.943" v="444" actId="20577"/>
          <ac:spMkLst>
            <pc:docMk/>
            <pc:sldMk cId="1279343961" sldId="2147483643"/>
            <ac:spMk id="72" creationId="{A000A27F-5818-6F96-3056-4A3426BA2978}"/>
          </ac:spMkLst>
        </pc:spChg>
        <pc:spChg chg="mod">
          <ac:chgData name="Karen Villaca" userId="S::kvillaca_gsc@santander.com.pe::331067c4-6004-404b-a263-6517a121ddd5" providerId="AD" clId="Web-{06DB82D2-71A5-B3C9-6E4A-16C6D1F0A7F3}" dt="2026-01-23T17:17:41.888" v="736" actId="20577"/>
          <ac:spMkLst>
            <pc:docMk/>
            <pc:sldMk cId="1279343961" sldId="2147483643"/>
            <ac:spMk id="95" creationId="{0AC09648-197A-4E31-ABF5-B613CD7215BE}"/>
          </ac:spMkLst>
        </pc:spChg>
        <pc:cxnChg chg="mod">
          <ac:chgData name="Karen Villaca" userId="S::kvillaca_gsc@santander.com.pe::331067c4-6004-404b-a263-6517a121ddd5" providerId="AD" clId="Web-{06DB82D2-71A5-B3C9-6E4A-16C6D1F0A7F3}" dt="2026-01-23T17:07:41.858" v="231" actId="1076"/>
          <ac:cxnSpMkLst>
            <pc:docMk/>
            <pc:sldMk cId="1279343961" sldId="2147483643"/>
            <ac:cxnSpMk id="10" creationId="{0040C2F4-81E9-1A9B-4B87-A77C54338F51}"/>
          </ac:cxnSpMkLst>
        </pc:cxnChg>
        <pc:cxnChg chg="mod">
          <ac:chgData name="Karen Villaca" userId="S::kvillaca_gsc@santander.com.pe::331067c4-6004-404b-a263-6517a121ddd5" providerId="AD" clId="Web-{06DB82D2-71A5-B3C9-6E4A-16C6D1F0A7F3}" dt="2026-01-23T17:10:32.515" v="405" actId="1076"/>
          <ac:cxnSpMkLst>
            <pc:docMk/>
            <pc:sldMk cId="1279343961" sldId="2147483643"/>
            <ac:cxnSpMk id="109" creationId="{A5B90D8D-636A-9396-7E86-2CE9787E0936}"/>
          </ac:cxnSpMkLst>
        </pc:cxn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193A61-B607-4618-90C3-115CBB2105AC}"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s-ES"/>
        </a:p>
      </dgm:t>
    </dgm:pt>
    <dgm:pt modelId="{6715025F-E60B-43D2-858E-AA94FC81C30B}">
      <dgm:prSet phldrT="[Texto]"/>
      <dgm:spPr>
        <a:xfrm>
          <a:off x="2100519" y="3005"/>
          <a:ext cx="1564761" cy="1564761"/>
        </a:xfrm>
        <a:prstGeom prst="ellipse">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s-ES">
              <a:solidFill>
                <a:sysClr val="window" lastClr="FFFFFF"/>
              </a:solidFill>
              <a:latin typeface="Calibri" panose="020F0502020204030204"/>
              <a:ea typeface="+mn-ea"/>
              <a:cs typeface="+mn-cs"/>
            </a:rPr>
            <a:t>Escribir un escenario que falle</a:t>
          </a:r>
        </a:p>
      </dgm:t>
    </dgm:pt>
    <dgm:pt modelId="{1FDBC135-48CC-4524-90B6-0196768460F1}" type="parTrans" cxnId="{6CD91C5E-92BE-4E4E-90EA-B57741FEE674}">
      <dgm:prSet/>
      <dgm:spPr/>
      <dgm:t>
        <a:bodyPr/>
        <a:lstStyle/>
        <a:p>
          <a:endParaRPr lang="es-ES"/>
        </a:p>
      </dgm:t>
    </dgm:pt>
    <dgm:pt modelId="{5549875E-7E8B-4668-9522-9081EACAA7CD}" type="sibTrans" cxnId="{6CD91C5E-92BE-4E4E-90EA-B57741FEE674}">
      <dgm:prSet/>
      <dgm:spPr>
        <a:xfrm>
          <a:off x="452565" y="729054"/>
          <a:ext cx="4860670" cy="4860670"/>
        </a:xfrm>
        <a:prstGeom prst="blockArc">
          <a:avLst>
            <a:gd name="adj1" fmla="val 16200000"/>
            <a:gd name="adj2" fmla="val 1800000"/>
            <a:gd name="adj3" fmla="val 4636"/>
          </a:avLst>
        </a:prstGeom>
        <a:solidFill>
          <a:srgbClr val="5B9BD5">
            <a:tint val="60000"/>
            <a:hueOff val="0"/>
            <a:satOff val="0"/>
            <a:lumOff val="0"/>
            <a:alphaOff val="0"/>
          </a:srgbClr>
        </a:solidFill>
        <a:ln>
          <a:noFill/>
        </a:ln>
        <a:effectLst/>
      </dgm:spPr>
      <dgm:t>
        <a:bodyPr/>
        <a:lstStyle/>
        <a:p>
          <a:endParaRPr lang="es-ES"/>
        </a:p>
      </dgm:t>
    </dgm:pt>
    <dgm:pt modelId="{FC09B3C8-455C-4699-BA2B-7874E2F5ABF3}">
      <dgm:prSet phldrT="[Texto]"/>
      <dgm:spPr>
        <a:xfrm>
          <a:off x="44571" y="3564010"/>
          <a:ext cx="1564761" cy="1564761"/>
        </a:xfrm>
        <a:prstGeom prst="ellipse">
          <a:avLst/>
        </a:prstGeom>
        <a:solidFill>
          <a:srgbClr val="548123"/>
        </a:solidFill>
        <a:ln w="12700" cap="flat" cmpd="sng" algn="ctr">
          <a:solidFill>
            <a:sysClr val="window" lastClr="FFFFFF">
              <a:hueOff val="0"/>
              <a:satOff val="0"/>
              <a:lumOff val="0"/>
              <a:alphaOff val="0"/>
            </a:sysClr>
          </a:solidFill>
          <a:prstDash val="solid"/>
          <a:miter lim="800000"/>
        </a:ln>
        <a:effectLst/>
      </dgm:spPr>
      <dgm:t>
        <a:bodyPr/>
        <a:lstStyle/>
        <a:p>
          <a:pPr>
            <a:buNone/>
          </a:pPr>
          <a:r>
            <a:rPr lang="es-ES">
              <a:solidFill>
                <a:sysClr val="window" lastClr="FFFFFF"/>
              </a:solidFill>
              <a:latin typeface="Calibri" panose="020F0502020204030204"/>
              <a:ea typeface="+mn-ea"/>
              <a:cs typeface="+mn-cs"/>
            </a:rPr>
            <a:t>Implementar en Producción</a:t>
          </a:r>
        </a:p>
      </dgm:t>
    </dgm:pt>
    <dgm:pt modelId="{97554A94-866E-44EC-A91F-00F62200FFD8}" type="parTrans" cxnId="{DD036A71-87F2-4B29-9A6E-D698767DB574}">
      <dgm:prSet/>
      <dgm:spPr/>
      <dgm:t>
        <a:bodyPr/>
        <a:lstStyle/>
        <a:p>
          <a:endParaRPr lang="es-ES"/>
        </a:p>
      </dgm:t>
    </dgm:pt>
    <dgm:pt modelId="{C7C122F7-5F3B-45B0-8BD6-79225F31EB79}" type="sibTrans" cxnId="{DD036A71-87F2-4B29-9A6E-D698767DB574}">
      <dgm:prSet/>
      <dgm:spPr>
        <a:xfrm>
          <a:off x="452565" y="729054"/>
          <a:ext cx="4860670" cy="4860670"/>
        </a:xfrm>
        <a:prstGeom prst="blockArc">
          <a:avLst>
            <a:gd name="adj1" fmla="val 9000000"/>
            <a:gd name="adj2" fmla="val 16200000"/>
            <a:gd name="adj3" fmla="val 4636"/>
          </a:avLst>
        </a:prstGeom>
        <a:solidFill>
          <a:srgbClr val="92D050"/>
        </a:solidFill>
        <a:ln>
          <a:noFill/>
        </a:ln>
        <a:effectLst/>
      </dgm:spPr>
      <dgm:t>
        <a:bodyPr/>
        <a:lstStyle/>
        <a:p>
          <a:endParaRPr lang="es-ES"/>
        </a:p>
      </dgm:t>
    </dgm:pt>
    <dgm:pt modelId="{34C8860E-328F-405C-99C5-1A3D71694452}">
      <dgm:prSet phldrT="[Texto]"/>
      <dgm:spPr>
        <a:xfrm>
          <a:off x="4156467" y="3564010"/>
          <a:ext cx="1564761" cy="1564761"/>
        </a:xfrm>
        <a:prstGeom prst="ellipse">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endParaRPr lang="es-ES">
            <a:solidFill>
              <a:sysClr val="window" lastClr="FFFFFF"/>
            </a:solidFill>
            <a:latin typeface="Calibri" panose="020F0502020204030204"/>
            <a:ea typeface="+mn-ea"/>
            <a:cs typeface="+mn-cs"/>
          </a:endParaRPr>
        </a:p>
      </dgm:t>
    </dgm:pt>
    <dgm:pt modelId="{59CCC67A-0A5D-4B9F-B811-3450FACB5100}" type="parTrans" cxnId="{3316A58A-C2BC-45B7-997F-ABA1EB3D72C4}">
      <dgm:prSet/>
      <dgm:spPr/>
      <dgm:t>
        <a:bodyPr/>
        <a:lstStyle/>
        <a:p>
          <a:endParaRPr lang="es-ES"/>
        </a:p>
      </dgm:t>
    </dgm:pt>
    <dgm:pt modelId="{D1664947-84F8-49C8-8E02-2B68035CFDEF}" type="sibTrans" cxnId="{3316A58A-C2BC-45B7-997F-ABA1EB3D72C4}">
      <dgm:prSet/>
      <dgm:spPr>
        <a:xfrm>
          <a:off x="452565" y="729054"/>
          <a:ext cx="4860670" cy="4860670"/>
        </a:xfrm>
        <a:prstGeom prst="blockArc">
          <a:avLst>
            <a:gd name="adj1" fmla="val 1800000"/>
            <a:gd name="adj2" fmla="val 9000000"/>
            <a:gd name="adj3" fmla="val 4636"/>
          </a:avLst>
        </a:prstGeom>
        <a:solidFill>
          <a:srgbClr val="92D050"/>
        </a:solidFill>
        <a:ln>
          <a:noFill/>
        </a:ln>
        <a:effectLst/>
      </dgm:spPr>
      <dgm:t>
        <a:bodyPr/>
        <a:lstStyle/>
        <a:p>
          <a:endParaRPr lang="es-ES"/>
        </a:p>
      </dgm:t>
    </dgm:pt>
    <dgm:pt modelId="{A1F80907-088E-4530-8D98-B00A05712950}">
      <dgm:prSet phldrT="[Texto]"/>
      <dgm:spPr>
        <a:xfrm>
          <a:off x="1765213" y="2041702"/>
          <a:ext cx="2235374" cy="2235374"/>
        </a:xfrm>
        <a:prstGeom prst="ellipse">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s-ES">
              <a:solidFill>
                <a:sysClr val="window" lastClr="FFFFFF"/>
              </a:solidFill>
              <a:latin typeface="Calibri" panose="020F0502020204030204"/>
              <a:ea typeface="+mn-ea"/>
              <a:cs typeface="+mn-cs"/>
            </a:rPr>
            <a:t>BDD</a:t>
          </a:r>
        </a:p>
      </dgm:t>
    </dgm:pt>
    <dgm:pt modelId="{AE9A0B4B-72AF-4D2B-9E8E-2479A40F9B34}" type="parTrans" cxnId="{940805A0-1A18-464E-9DA7-F4ABF75DFC9D}">
      <dgm:prSet/>
      <dgm:spPr/>
      <dgm:t>
        <a:bodyPr/>
        <a:lstStyle/>
        <a:p>
          <a:endParaRPr lang="es-ES"/>
        </a:p>
      </dgm:t>
    </dgm:pt>
    <dgm:pt modelId="{32293801-86BD-4578-80E3-7895E27D20E9}" type="sibTrans" cxnId="{940805A0-1A18-464E-9DA7-F4ABF75DFC9D}">
      <dgm:prSet/>
      <dgm:spPr/>
      <dgm:t>
        <a:bodyPr/>
        <a:lstStyle/>
        <a:p>
          <a:endParaRPr lang="es-ES"/>
        </a:p>
      </dgm:t>
    </dgm:pt>
    <dgm:pt modelId="{02ED27F2-6D91-480C-8E25-A8A7D07DDD39}" type="pres">
      <dgm:prSet presAssocID="{0C193A61-B607-4618-90C3-115CBB2105AC}" presName="Name0" presStyleCnt="0">
        <dgm:presLayoutVars>
          <dgm:chMax val="1"/>
          <dgm:dir/>
          <dgm:animLvl val="ctr"/>
          <dgm:resizeHandles val="exact"/>
        </dgm:presLayoutVars>
      </dgm:prSet>
      <dgm:spPr/>
    </dgm:pt>
    <dgm:pt modelId="{0063558C-DD37-4EAC-A093-6F5E04E16F2A}" type="pres">
      <dgm:prSet presAssocID="{A1F80907-088E-4530-8D98-B00A05712950}" presName="centerShape" presStyleLbl="node0" presStyleIdx="0" presStyleCnt="1"/>
      <dgm:spPr/>
    </dgm:pt>
    <dgm:pt modelId="{00BC8F4E-2AD7-4382-BF5C-424A10A920A6}" type="pres">
      <dgm:prSet presAssocID="{6715025F-E60B-43D2-858E-AA94FC81C30B}" presName="node" presStyleLbl="node1" presStyleIdx="0" presStyleCnt="3">
        <dgm:presLayoutVars>
          <dgm:bulletEnabled val="1"/>
        </dgm:presLayoutVars>
      </dgm:prSet>
      <dgm:spPr/>
    </dgm:pt>
    <dgm:pt modelId="{3CF358F2-70B1-4545-9570-CD8A80C6857B}" type="pres">
      <dgm:prSet presAssocID="{6715025F-E60B-43D2-858E-AA94FC81C30B}" presName="dummy" presStyleCnt="0"/>
      <dgm:spPr/>
    </dgm:pt>
    <dgm:pt modelId="{58485C68-B2F6-42D2-8FCC-74F25912A6BF}" type="pres">
      <dgm:prSet presAssocID="{5549875E-7E8B-4668-9522-9081EACAA7CD}" presName="sibTrans" presStyleLbl="sibTrans2D1" presStyleIdx="0" presStyleCnt="3"/>
      <dgm:spPr/>
    </dgm:pt>
    <dgm:pt modelId="{8742DE98-9876-4AA1-BFA3-C536F678F9AA}" type="pres">
      <dgm:prSet presAssocID="{34C8860E-328F-405C-99C5-1A3D71694452}" presName="node" presStyleLbl="node1" presStyleIdx="1" presStyleCnt="3">
        <dgm:presLayoutVars>
          <dgm:bulletEnabled val="1"/>
        </dgm:presLayoutVars>
      </dgm:prSet>
      <dgm:spPr/>
    </dgm:pt>
    <dgm:pt modelId="{FE7B84E1-A26A-4AAA-B637-0778DE3CC71D}" type="pres">
      <dgm:prSet presAssocID="{34C8860E-328F-405C-99C5-1A3D71694452}" presName="dummy" presStyleCnt="0"/>
      <dgm:spPr/>
    </dgm:pt>
    <dgm:pt modelId="{5534365F-C394-4D3E-8259-D33FF2621EDD}" type="pres">
      <dgm:prSet presAssocID="{D1664947-84F8-49C8-8E02-2B68035CFDEF}" presName="sibTrans" presStyleLbl="sibTrans2D1" presStyleIdx="1" presStyleCnt="3"/>
      <dgm:spPr/>
    </dgm:pt>
    <dgm:pt modelId="{F0C7FC2A-7998-465C-A2B7-47EC99942A42}" type="pres">
      <dgm:prSet presAssocID="{FC09B3C8-455C-4699-BA2B-7874E2F5ABF3}" presName="node" presStyleLbl="node1" presStyleIdx="2" presStyleCnt="3">
        <dgm:presLayoutVars>
          <dgm:bulletEnabled val="1"/>
        </dgm:presLayoutVars>
      </dgm:prSet>
      <dgm:spPr/>
    </dgm:pt>
    <dgm:pt modelId="{19E475A7-B91A-45F8-8DA4-6B7D9A5D76CD}" type="pres">
      <dgm:prSet presAssocID="{FC09B3C8-455C-4699-BA2B-7874E2F5ABF3}" presName="dummy" presStyleCnt="0"/>
      <dgm:spPr/>
    </dgm:pt>
    <dgm:pt modelId="{A71EB51E-2B41-47BB-A5BE-570CDA9DF372}" type="pres">
      <dgm:prSet presAssocID="{C7C122F7-5F3B-45B0-8BD6-79225F31EB79}" presName="sibTrans" presStyleLbl="sibTrans2D1" presStyleIdx="2" presStyleCnt="3"/>
      <dgm:spPr/>
    </dgm:pt>
  </dgm:ptLst>
  <dgm:cxnLst>
    <dgm:cxn modelId="{CE6E0D25-20C1-4593-A0FF-E09A50BB115F}" type="presOf" srcId="{D1664947-84F8-49C8-8E02-2B68035CFDEF}" destId="{5534365F-C394-4D3E-8259-D33FF2621EDD}" srcOrd="0" destOrd="0" presId="urn:microsoft.com/office/officeart/2005/8/layout/radial6"/>
    <dgm:cxn modelId="{B429C03F-08FC-42B2-B27E-99BBC3F40BB1}" type="presOf" srcId="{C7C122F7-5F3B-45B0-8BD6-79225F31EB79}" destId="{A71EB51E-2B41-47BB-A5BE-570CDA9DF372}" srcOrd="0" destOrd="0" presId="urn:microsoft.com/office/officeart/2005/8/layout/radial6"/>
    <dgm:cxn modelId="{B979D73F-B222-4F50-845A-DBED3ADBF5B9}" type="presOf" srcId="{6715025F-E60B-43D2-858E-AA94FC81C30B}" destId="{00BC8F4E-2AD7-4382-BF5C-424A10A920A6}" srcOrd="0" destOrd="0" presId="urn:microsoft.com/office/officeart/2005/8/layout/radial6"/>
    <dgm:cxn modelId="{6CD91C5E-92BE-4E4E-90EA-B57741FEE674}" srcId="{A1F80907-088E-4530-8D98-B00A05712950}" destId="{6715025F-E60B-43D2-858E-AA94FC81C30B}" srcOrd="0" destOrd="0" parTransId="{1FDBC135-48CC-4524-90B6-0196768460F1}" sibTransId="{5549875E-7E8B-4668-9522-9081EACAA7CD}"/>
    <dgm:cxn modelId="{0E528449-A3F2-4707-8166-7D05A531229C}" type="presOf" srcId="{FC09B3C8-455C-4699-BA2B-7874E2F5ABF3}" destId="{F0C7FC2A-7998-465C-A2B7-47EC99942A42}" srcOrd="0" destOrd="0" presId="urn:microsoft.com/office/officeart/2005/8/layout/radial6"/>
    <dgm:cxn modelId="{DD036A71-87F2-4B29-9A6E-D698767DB574}" srcId="{A1F80907-088E-4530-8D98-B00A05712950}" destId="{FC09B3C8-455C-4699-BA2B-7874E2F5ABF3}" srcOrd="2" destOrd="0" parTransId="{97554A94-866E-44EC-A91F-00F62200FFD8}" sibTransId="{C7C122F7-5F3B-45B0-8BD6-79225F31EB79}"/>
    <dgm:cxn modelId="{B2A8977F-E6D6-4723-AEB0-FB62AB7A0CBC}" type="presOf" srcId="{34C8860E-328F-405C-99C5-1A3D71694452}" destId="{8742DE98-9876-4AA1-BFA3-C536F678F9AA}" srcOrd="0" destOrd="0" presId="urn:microsoft.com/office/officeart/2005/8/layout/radial6"/>
    <dgm:cxn modelId="{3316A58A-C2BC-45B7-997F-ABA1EB3D72C4}" srcId="{A1F80907-088E-4530-8D98-B00A05712950}" destId="{34C8860E-328F-405C-99C5-1A3D71694452}" srcOrd="1" destOrd="0" parTransId="{59CCC67A-0A5D-4B9F-B811-3450FACB5100}" sibTransId="{D1664947-84F8-49C8-8E02-2B68035CFDEF}"/>
    <dgm:cxn modelId="{940805A0-1A18-464E-9DA7-F4ABF75DFC9D}" srcId="{0C193A61-B607-4618-90C3-115CBB2105AC}" destId="{A1F80907-088E-4530-8D98-B00A05712950}" srcOrd="0" destOrd="0" parTransId="{AE9A0B4B-72AF-4D2B-9E8E-2479A40F9B34}" sibTransId="{32293801-86BD-4578-80E3-7895E27D20E9}"/>
    <dgm:cxn modelId="{CF8A7BB8-9F8A-42FC-AC14-FC35972F3649}" type="presOf" srcId="{A1F80907-088E-4530-8D98-B00A05712950}" destId="{0063558C-DD37-4EAC-A093-6F5E04E16F2A}" srcOrd="0" destOrd="0" presId="urn:microsoft.com/office/officeart/2005/8/layout/radial6"/>
    <dgm:cxn modelId="{7F40AADE-F44D-490A-B670-FB55048732C2}" type="presOf" srcId="{0C193A61-B607-4618-90C3-115CBB2105AC}" destId="{02ED27F2-6D91-480C-8E25-A8A7D07DDD39}" srcOrd="0" destOrd="0" presId="urn:microsoft.com/office/officeart/2005/8/layout/radial6"/>
    <dgm:cxn modelId="{C5094CF7-E357-40B2-A86A-F22F482F466E}" type="presOf" srcId="{5549875E-7E8B-4668-9522-9081EACAA7CD}" destId="{58485C68-B2F6-42D2-8FCC-74F25912A6BF}" srcOrd="0" destOrd="0" presId="urn:microsoft.com/office/officeart/2005/8/layout/radial6"/>
    <dgm:cxn modelId="{AD757EF4-0ACF-491C-87E8-679EEEEB86DD}" type="presParOf" srcId="{02ED27F2-6D91-480C-8E25-A8A7D07DDD39}" destId="{0063558C-DD37-4EAC-A093-6F5E04E16F2A}" srcOrd="0" destOrd="0" presId="urn:microsoft.com/office/officeart/2005/8/layout/radial6"/>
    <dgm:cxn modelId="{C1067A57-0B73-4269-BC9A-8F879A1D81CB}" type="presParOf" srcId="{02ED27F2-6D91-480C-8E25-A8A7D07DDD39}" destId="{00BC8F4E-2AD7-4382-BF5C-424A10A920A6}" srcOrd="1" destOrd="0" presId="urn:microsoft.com/office/officeart/2005/8/layout/radial6"/>
    <dgm:cxn modelId="{4A22549A-9943-4E77-85E1-41A15A04DEC3}" type="presParOf" srcId="{02ED27F2-6D91-480C-8E25-A8A7D07DDD39}" destId="{3CF358F2-70B1-4545-9570-CD8A80C6857B}" srcOrd="2" destOrd="0" presId="urn:microsoft.com/office/officeart/2005/8/layout/radial6"/>
    <dgm:cxn modelId="{894AD558-1D2A-44EA-A4F2-9210037DC2A3}" type="presParOf" srcId="{02ED27F2-6D91-480C-8E25-A8A7D07DDD39}" destId="{58485C68-B2F6-42D2-8FCC-74F25912A6BF}" srcOrd="3" destOrd="0" presId="urn:microsoft.com/office/officeart/2005/8/layout/radial6"/>
    <dgm:cxn modelId="{0C784979-76E6-4659-A69C-E877A8170120}" type="presParOf" srcId="{02ED27F2-6D91-480C-8E25-A8A7D07DDD39}" destId="{8742DE98-9876-4AA1-BFA3-C536F678F9AA}" srcOrd="4" destOrd="0" presId="urn:microsoft.com/office/officeart/2005/8/layout/radial6"/>
    <dgm:cxn modelId="{D3FBA70F-7D45-4916-A26D-C2F243CCF846}" type="presParOf" srcId="{02ED27F2-6D91-480C-8E25-A8A7D07DDD39}" destId="{FE7B84E1-A26A-4AAA-B637-0778DE3CC71D}" srcOrd="5" destOrd="0" presId="urn:microsoft.com/office/officeart/2005/8/layout/radial6"/>
    <dgm:cxn modelId="{811789A9-F471-4C67-82F3-D16594051786}" type="presParOf" srcId="{02ED27F2-6D91-480C-8E25-A8A7D07DDD39}" destId="{5534365F-C394-4D3E-8259-D33FF2621EDD}" srcOrd="6" destOrd="0" presId="urn:microsoft.com/office/officeart/2005/8/layout/radial6"/>
    <dgm:cxn modelId="{9D9EDB0B-EBBF-413D-9B9E-5D57EC813975}" type="presParOf" srcId="{02ED27F2-6D91-480C-8E25-A8A7D07DDD39}" destId="{F0C7FC2A-7998-465C-A2B7-47EC99942A42}" srcOrd="7" destOrd="0" presId="urn:microsoft.com/office/officeart/2005/8/layout/radial6"/>
    <dgm:cxn modelId="{BC0F87D9-222E-4BC0-ADF1-3BF55B9639D2}" type="presParOf" srcId="{02ED27F2-6D91-480C-8E25-A8A7D07DDD39}" destId="{19E475A7-B91A-45F8-8DA4-6B7D9A5D76CD}" srcOrd="8" destOrd="0" presId="urn:microsoft.com/office/officeart/2005/8/layout/radial6"/>
    <dgm:cxn modelId="{27347678-D51F-467C-907F-F72AE4C3A93B}" type="presParOf" srcId="{02ED27F2-6D91-480C-8E25-A8A7D07DDD39}" destId="{A71EB51E-2B41-47BB-A5BE-570CDA9DF372}" srcOrd="9"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B57953-831D-43FE-93CF-D1270C5F4E17}" type="doc">
      <dgm:prSet loTypeId="urn:microsoft.com/office/officeart/2005/8/layout/cycle8" loCatId="cycle" qsTypeId="urn:microsoft.com/office/officeart/2005/8/quickstyle/simple1" qsCatId="simple" csTypeId="urn:microsoft.com/office/officeart/2005/8/colors/accent1_2" csCatId="accent1" phldr="1"/>
      <dgm:spPr/>
    </dgm:pt>
    <dgm:pt modelId="{07046DA0-0B3D-4613-BE41-0288FA640140}">
      <dgm:prSet phldrT="[Texto]"/>
      <dgm:spPr>
        <a:xfrm>
          <a:off x="180962" y="578513"/>
          <a:ext cx="1900106" cy="1900106"/>
        </a:xfrm>
        <a:prstGeom prst="pie">
          <a:avLst>
            <a:gd name="adj1" fmla="val 1800000"/>
            <a:gd name="adj2" fmla="val 9000000"/>
          </a:avLst>
        </a:prstGeom>
        <a:solidFill>
          <a:srgbClr val="00B050"/>
        </a:solidFill>
        <a:ln w="12700" cap="flat" cmpd="sng" algn="ctr">
          <a:solidFill>
            <a:sysClr val="window" lastClr="FFFFFF">
              <a:hueOff val="0"/>
              <a:satOff val="0"/>
              <a:lumOff val="0"/>
              <a:alphaOff val="0"/>
            </a:sysClr>
          </a:solidFill>
          <a:prstDash val="solid"/>
          <a:miter lim="800000"/>
        </a:ln>
        <a:effectLst/>
      </dgm:spPr>
      <dgm:t>
        <a:bodyPr/>
        <a:lstStyle/>
        <a:p>
          <a:pPr>
            <a:buNone/>
          </a:pPr>
          <a:r>
            <a:rPr lang="es-ES">
              <a:solidFill>
                <a:sysClr val="window" lastClr="FFFFFF"/>
              </a:solidFill>
              <a:latin typeface="Calibri" panose="020F0502020204030204"/>
              <a:ea typeface="+mn-ea"/>
              <a:cs typeface="+mn-cs"/>
            </a:rPr>
            <a:t>Escribir código para que el test pase</a:t>
          </a:r>
        </a:p>
      </dgm:t>
    </dgm:pt>
    <dgm:pt modelId="{F6FE741D-F024-4DFE-BC39-6DFAA56B79C1}" type="parTrans" cxnId="{8046E2D6-7223-4FF8-805A-09A2D6E8389A}">
      <dgm:prSet/>
      <dgm:spPr/>
      <dgm:t>
        <a:bodyPr/>
        <a:lstStyle/>
        <a:p>
          <a:endParaRPr lang="es-ES"/>
        </a:p>
      </dgm:t>
    </dgm:pt>
    <dgm:pt modelId="{9142E75D-A17C-4DDF-AA47-A7A035CBBE05}" type="sibTrans" cxnId="{8046E2D6-7223-4FF8-805A-09A2D6E8389A}">
      <dgm:prSet/>
      <dgm:spPr/>
      <dgm:t>
        <a:bodyPr/>
        <a:lstStyle/>
        <a:p>
          <a:endParaRPr lang="es-ES"/>
        </a:p>
      </dgm:t>
    </dgm:pt>
    <dgm:pt modelId="{42026683-7B98-45BE-AD97-5D87B000A853}">
      <dgm:prSet phldrT="[Texto]"/>
      <dgm:spPr>
        <a:xfrm>
          <a:off x="141829" y="510652"/>
          <a:ext cx="1900106" cy="1900106"/>
        </a:xfrm>
        <a:prstGeom prst="pie">
          <a:avLst>
            <a:gd name="adj1" fmla="val 9000000"/>
            <a:gd name="adj2" fmla="val 16200000"/>
          </a:avLst>
        </a:prstGeom>
        <a:solidFill>
          <a:srgbClr val="0070C0"/>
        </a:solidFill>
        <a:ln w="12700" cap="flat" cmpd="sng" algn="ctr">
          <a:solidFill>
            <a:sysClr val="window" lastClr="FFFFFF">
              <a:hueOff val="0"/>
              <a:satOff val="0"/>
              <a:lumOff val="0"/>
              <a:alphaOff val="0"/>
            </a:sysClr>
          </a:solidFill>
          <a:prstDash val="solid"/>
          <a:miter lim="800000"/>
        </a:ln>
        <a:effectLst/>
      </dgm:spPr>
      <dgm:t>
        <a:bodyPr/>
        <a:lstStyle/>
        <a:p>
          <a:pPr>
            <a:buNone/>
          </a:pPr>
          <a:r>
            <a:rPr lang="es-ES" err="1">
              <a:solidFill>
                <a:sysClr val="window" lastClr="FFFFFF"/>
              </a:solidFill>
              <a:latin typeface="Calibri" panose="020F0502020204030204"/>
              <a:ea typeface="+mn-ea"/>
              <a:cs typeface="+mn-cs"/>
            </a:rPr>
            <a:t>Refactor</a:t>
          </a:r>
          <a:endParaRPr lang="es-ES">
            <a:solidFill>
              <a:sysClr val="window" lastClr="FFFFFF"/>
            </a:solidFill>
            <a:latin typeface="Calibri" panose="020F0502020204030204"/>
            <a:ea typeface="+mn-ea"/>
            <a:cs typeface="+mn-cs"/>
          </a:endParaRPr>
        </a:p>
      </dgm:t>
    </dgm:pt>
    <dgm:pt modelId="{EC8A3336-3209-4FD8-B4B1-0F3C8D5F934B}" type="parTrans" cxnId="{81AFA15B-A55A-434A-8A0B-A945847A0E7F}">
      <dgm:prSet/>
      <dgm:spPr/>
      <dgm:t>
        <a:bodyPr/>
        <a:lstStyle/>
        <a:p>
          <a:endParaRPr lang="es-ES"/>
        </a:p>
      </dgm:t>
    </dgm:pt>
    <dgm:pt modelId="{2E023D8A-741D-4CBE-90D9-A12F64DEC7FB}" type="sibTrans" cxnId="{81AFA15B-A55A-434A-8A0B-A945847A0E7F}">
      <dgm:prSet/>
      <dgm:spPr/>
      <dgm:t>
        <a:bodyPr/>
        <a:lstStyle/>
        <a:p>
          <a:endParaRPr lang="es-ES"/>
        </a:p>
      </dgm:t>
    </dgm:pt>
    <dgm:pt modelId="{49E22E3E-18B0-466F-B14C-6BCA85D4DCD4}">
      <dgm:prSet phldrT="[Texto]"/>
      <dgm:spPr>
        <a:xfrm>
          <a:off x="220095" y="510652"/>
          <a:ext cx="1900106" cy="1900106"/>
        </a:xfrm>
        <a:prstGeom prst="pie">
          <a:avLst>
            <a:gd name="adj1" fmla="val 16200000"/>
            <a:gd name="adj2" fmla="val 1800000"/>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s-ES">
              <a:solidFill>
                <a:sysClr val="window" lastClr="FFFFFF"/>
              </a:solidFill>
              <a:latin typeface="Calibri" panose="020F0502020204030204"/>
              <a:ea typeface="+mn-ea"/>
              <a:cs typeface="+mn-cs"/>
            </a:rPr>
            <a:t>Escribir un test unitario que falla</a:t>
          </a:r>
        </a:p>
      </dgm:t>
    </dgm:pt>
    <dgm:pt modelId="{B99FDABC-03D8-4C65-9A55-706791641278}" type="parTrans" cxnId="{A4B4A9C2-136D-4A36-AE84-19EB7551B193}">
      <dgm:prSet/>
      <dgm:spPr/>
      <dgm:t>
        <a:bodyPr/>
        <a:lstStyle/>
        <a:p>
          <a:endParaRPr lang="es-ES"/>
        </a:p>
      </dgm:t>
    </dgm:pt>
    <dgm:pt modelId="{69F74C1F-D28A-413B-9E8E-09F94B96CD74}" type="sibTrans" cxnId="{A4B4A9C2-136D-4A36-AE84-19EB7551B193}">
      <dgm:prSet/>
      <dgm:spPr/>
      <dgm:t>
        <a:bodyPr/>
        <a:lstStyle/>
        <a:p>
          <a:endParaRPr lang="es-ES"/>
        </a:p>
      </dgm:t>
    </dgm:pt>
    <dgm:pt modelId="{2C206E23-8CAC-4AA5-99A6-23E716AF18D7}" type="pres">
      <dgm:prSet presAssocID="{D3B57953-831D-43FE-93CF-D1270C5F4E17}" presName="compositeShape" presStyleCnt="0">
        <dgm:presLayoutVars>
          <dgm:chMax val="7"/>
          <dgm:dir/>
          <dgm:resizeHandles val="exact"/>
        </dgm:presLayoutVars>
      </dgm:prSet>
      <dgm:spPr/>
    </dgm:pt>
    <dgm:pt modelId="{CD0266FD-E038-49A8-81A0-2177E8FB586A}" type="pres">
      <dgm:prSet presAssocID="{D3B57953-831D-43FE-93CF-D1270C5F4E17}" presName="wedge1" presStyleLbl="node1" presStyleIdx="0" presStyleCnt="3"/>
      <dgm:spPr/>
    </dgm:pt>
    <dgm:pt modelId="{9BCAE340-F9C2-4FFF-B0AD-C9032EBFC381}" type="pres">
      <dgm:prSet presAssocID="{D3B57953-831D-43FE-93CF-D1270C5F4E17}" presName="dummy1a" presStyleCnt="0"/>
      <dgm:spPr/>
    </dgm:pt>
    <dgm:pt modelId="{0E5CAD35-3F63-4D6C-9C34-EA9271E5BFD0}" type="pres">
      <dgm:prSet presAssocID="{D3B57953-831D-43FE-93CF-D1270C5F4E17}" presName="dummy1b" presStyleCnt="0"/>
      <dgm:spPr/>
    </dgm:pt>
    <dgm:pt modelId="{3A48D5D4-E3D3-4111-92FC-7EB20206A538}" type="pres">
      <dgm:prSet presAssocID="{D3B57953-831D-43FE-93CF-D1270C5F4E17}" presName="wedge1Tx" presStyleLbl="node1" presStyleIdx="0" presStyleCnt="3">
        <dgm:presLayoutVars>
          <dgm:chMax val="0"/>
          <dgm:chPref val="0"/>
          <dgm:bulletEnabled val="1"/>
        </dgm:presLayoutVars>
      </dgm:prSet>
      <dgm:spPr/>
    </dgm:pt>
    <dgm:pt modelId="{EC72D37D-CC1C-4DCC-BE19-6771331B4206}" type="pres">
      <dgm:prSet presAssocID="{D3B57953-831D-43FE-93CF-D1270C5F4E17}" presName="wedge2" presStyleLbl="node1" presStyleIdx="1" presStyleCnt="3"/>
      <dgm:spPr/>
    </dgm:pt>
    <dgm:pt modelId="{91674BAF-CD87-45FD-9458-FBBDBE71B285}" type="pres">
      <dgm:prSet presAssocID="{D3B57953-831D-43FE-93CF-D1270C5F4E17}" presName="dummy2a" presStyleCnt="0"/>
      <dgm:spPr/>
    </dgm:pt>
    <dgm:pt modelId="{346B1E58-CD10-4A8C-B0B2-ABC868D9DB32}" type="pres">
      <dgm:prSet presAssocID="{D3B57953-831D-43FE-93CF-D1270C5F4E17}" presName="dummy2b" presStyleCnt="0"/>
      <dgm:spPr/>
    </dgm:pt>
    <dgm:pt modelId="{04AE42F3-D130-481A-AA54-7AEDC0E72524}" type="pres">
      <dgm:prSet presAssocID="{D3B57953-831D-43FE-93CF-D1270C5F4E17}" presName="wedge2Tx" presStyleLbl="node1" presStyleIdx="1" presStyleCnt="3">
        <dgm:presLayoutVars>
          <dgm:chMax val="0"/>
          <dgm:chPref val="0"/>
          <dgm:bulletEnabled val="1"/>
        </dgm:presLayoutVars>
      </dgm:prSet>
      <dgm:spPr/>
    </dgm:pt>
    <dgm:pt modelId="{93B0732B-79E1-4B29-9308-2054DF5F22F0}" type="pres">
      <dgm:prSet presAssocID="{D3B57953-831D-43FE-93CF-D1270C5F4E17}" presName="wedge3" presStyleLbl="node1" presStyleIdx="2" presStyleCnt="3"/>
      <dgm:spPr/>
    </dgm:pt>
    <dgm:pt modelId="{3343FD6C-1CE4-4EE9-AF31-14DD44D540D1}" type="pres">
      <dgm:prSet presAssocID="{D3B57953-831D-43FE-93CF-D1270C5F4E17}" presName="dummy3a" presStyleCnt="0"/>
      <dgm:spPr/>
    </dgm:pt>
    <dgm:pt modelId="{B009455D-7D33-4016-9365-28B13DE5F51A}" type="pres">
      <dgm:prSet presAssocID="{D3B57953-831D-43FE-93CF-D1270C5F4E17}" presName="dummy3b" presStyleCnt="0"/>
      <dgm:spPr/>
    </dgm:pt>
    <dgm:pt modelId="{F78ED231-999A-43C1-990F-39E56A6C5757}" type="pres">
      <dgm:prSet presAssocID="{D3B57953-831D-43FE-93CF-D1270C5F4E17}" presName="wedge3Tx" presStyleLbl="node1" presStyleIdx="2" presStyleCnt="3">
        <dgm:presLayoutVars>
          <dgm:chMax val="0"/>
          <dgm:chPref val="0"/>
          <dgm:bulletEnabled val="1"/>
        </dgm:presLayoutVars>
      </dgm:prSet>
      <dgm:spPr/>
    </dgm:pt>
    <dgm:pt modelId="{2110182A-D0F4-4620-8E5C-330A6021B563}" type="pres">
      <dgm:prSet presAssocID="{69F74C1F-D28A-413B-9E8E-09F94B96CD74}" presName="arrowWedge1" presStyleLbl="fgSibTrans2D1" presStyleIdx="0" presStyleCnt="3"/>
      <dgm:spPr>
        <a:xfrm>
          <a:off x="102626" y="393026"/>
          <a:ext cx="2135357" cy="2135357"/>
        </a:xfrm>
        <a:prstGeom prst="circularArrow">
          <a:avLst>
            <a:gd name="adj1" fmla="val 5085"/>
            <a:gd name="adj2" fmla="val 327528"/>
            <a:gd name="adj3" fmla="val 1472472"/>
            <a:gd name="adj4" fmla="val 16199432"/>
            <a:gd name="adj5" fmla="val 5932"/>
          </a:avLst>
        </a:prstGeom>
        <a:solidFill>
          <a:srgbClr val="5B9BD5">
            <a:tint val="60000"/>
            <a:hueOff val="0"/>
            <a:satOff val="0"/>
            <a:lumOff val="0"/>
            <a:alphaOff val="0"/>
          </a:srgbClr>
        </a:solidFill>
        <a:ln>
          <a:noFill/>
        </a:ln>
        <a:effectLst/>
      </dgm:spPr>
    </dgm:pt>
    <dgm:pt modelId="{43AD1794-31A1-44C6-A815-BF73B8124218}" type="pres">
      <dgm:prSet presAssocID="{9142E75D-A17C-4DDF-AA47-A7A035CBBE05}" presName="arrowWedge2" presStyleLbl="fgSibTrans2D1" presStyleIdx="1" presStyleCnt="3"/>
      <dgm:spPr>
        <a:xfrm>
          <a:off x="63336" y="460767"/>
          <a:ext cx="2135357" cy="2135357"/>
        </a:xfrm>
        <a:prstGeom prst="circularArrow">
          <a:avLst>
            <a:gd name="adj1" fmla="val 5085"/>
            <a:gd name="adj2" fmla="val 327528"/>
            <a:gd name="adj3" fmla="val 8671970"/>
            <a:gd name="adj4" fmla="val 1800502"/>
            <a:gd name="adj5" fmla="val 5932"/>
          </a:avLst>
        </a:prstGeom>
        <a:solidFill>
          <a:srgbClr val="92D050"/>
        </a:solidFill>
        <a:ln>
          <a:noFill/>
        </a:ln>
        <a:effectLst/>
      </dgm:spPr>
    </dgm:pt>
    <dgm:pt modelId="{581C8B0A-2B25-4E6F-B40B-6A4089052D49}" type="pres">
      <dgm:prSet presAssocID="{2E023D8A-741D-4CBE-90D9-A12F64DEC7FB}" presName="arrowWedge3" presStyleLbl="fgSibTrans2D1" presStyleIdx="2" presStyleCnt="3"/>
      <dgm:spPr>
        <a:xfrm>
          <a:off x="24046" y="393026"/>
          <a:ext cx="2135357" cy="2135357"/>
        </a:xfrm>
        <a:prstGeom prst="circularArrow">
          <a:avLst>
            <a:gd name="adj1" fmla="val 5085"/>
            <a:gd name="adj2" fmla="val 327528"/>
            <a:gd name="adj3" fmla="val 15873039"/>
            <a:gd name="adj4" fmla="val 9000000"/>
            <a:gd name="adj5" fmla="val 5932"/>
          </a:avLst>
        </a:prstGeom>
        <a:solidFill>
          <a:srgbClr val="00B0F0"/>
        </a:solidFill>
        <a:ln>
          <a:noFill/>
        </a:ln>
        <a:effectLst/>
      </dgm:spPr>
    </dgm:pt>
  </dgm:ptLst>
  <dgm:cxnLst>
    <dgm:cxn modelId="{E6EF6208-9F1C-4E7C-ACD6-6D1B3F528B89}" type="presOf" srcId="{07046DA0-0B3D-4613-BE41-0288FA640140}" destId="{04AE42F3-D130-481A-AA54-7AEDC0E72524}" srcOrd="1" destOrd="0" presId="urn:microsoft.com/office/officeart/2005/8/layout/cycle8"/>
    <dgm:cxn modelId="{20A4D51F-F733-471A-9FF6-3214FC2ED879}" type="presOf" srcId="{42026683-7B98-45BE-AD97-5D87B000A853}" destId="{93B0732B-79E1-4B29-9308-2054DF5F22F0}" srcOrd="0" destOrd="0" presId="urn:microsoft.com/office/officeart/2005/8/layout/cycle8"/>
    <dgm:cxn modelId="{50474C34-135D-413F-B6C8-C3899E6C9014}" type="presOf" srcId="{07046DA0-0B3D-4613-BE41-0288FA640140}" destId="{EC72D37D-CC1C-4DCC-BE19-6771331B4206}" srcOrd="0" destOrd="0" presId="urn:microsoft.com/office/officeart/2005/8/layout/cycle8"/>
    <dgm:cxn modelId="{81AFA15B-A55A-434A-8A0B-A945847A0E7F}" srcId="{D3B57953-831D-43FE-93CF-D1270C5F4E17}" destId="{42026683-7B98-45BE-AD97-5D87B000A853}" srcOrd="2" destOrd="0" parTransId="{EC8A3336-3209-4FD8-B4B1-0F3C8D5F934B}" sibTransId="{2E023D8A-741D-4CBE-90D9-A12F64DEC7FB}"/>
    <dgm:cxn modelId="{FE660051-50A8-4D86-991F-BBD4B9CB7531}" type="presOf" srcId="{42026683-7B98-45BE-AD97-5D87B000A853}" destId="{F78ED231-999A-43C1-990F-39E56A6C5757}" srcOrd="1" destOrd="0" presId="urn:microsoft.com/office/officeart/2005/8/layout/cycle8"/>
    <dgm:cxn modelId="{CF323358-9B34-41A5-8EF4-801101817FC2}" type="presOf" srcId="{49E22E3E-18B0-466F-B14C-6BCA85D4DCD4}" destId="{CD0266FD-E038-49A8-81A0-2177E8FB586A}" srcOrd="0" destOrd="0" presId="urn:microsoft.com/office/officeart/2005/8/layout/cycle8"/>
    <dgm:cxn modelId="{A4B4A9C2-136D-4A36-AE84-19EB7551B193}" srcId="{D3B57953-831D-43FE-93CF-D1270C5F4E17}" destId="{49E22E3E-18B0-466F-B14C-6BCA85D4DCD4}" srcOrd="0" destOrd="0" parTransId="{B99FDABC-03D8-4C65-9A55-706791641278}" sibTransId="{69F74C1F-D28A-413B-9E8E-09F94B96CD74}"/>
    <dgm:cxn modelId="{8046E2D6-7223-4FF8-805A-09A2D6E8389A}" srcId="{D3B57953-831D-43FE-93CF-D1270C5F4E17}" destId="{07046DA0-0B3D-4613-BE41-0288FA640140}" srcOrd="1" destOrd="0" parTransId="{F6FE741D-F024-4DFE-BC39-6DFAA56B79C1}" sibTransId="{9142E75D-A17C-4DDF-AA47-A7A035CBBE05}"/>
    <dgm:cxn modelId="{3EA5BED8-A4A3-4541-9F74-495A5A9777B0}" type="presOf" srcId="{D3B57953-831D-43FE-93CF-D1270C5F4E17}" destId="{2C206E23-8CAC-4AA5-99A6-23E716AF18D7}" srcOrd="0" destOrd="0" presId="urn:microsoft.com/office/officeart/2005/8/layout/cycle8"/>
    <dgm:cxn modelId="{61DBADE4-8558-448A-9FFD-FAD74C7E6BBB}" type="presOf" srcId="{49E22E3E-18B0-466F-B14C-6BCA85D4DCD4}" destId="{3A48D5D4-E3D3-4111-92FC-7EB20206A538}" srcOrd="1" destOrd="0" presId="urn:microsoft.com/office/officeart/2005/8/layout/cycle8"/>
    <dgm:cxn modelId="{E81B1055-0707-412C-A89D-BBF62067B3A6}" type="presParOf" srcId="{2C206E23-8CAC-4AA5-99A6-23E716AF18D7}" destId="{CD0266FD-E038-49A8-81A0-2177E8FB586A}" srcOrd="0" destOrd="0" presId="urn:microsoft.com/office/officeart/2005/8/layout/cycle8"/>
    <dgm:cxn modelId="{92D2515D-C4A4-4DAA-B310-E9FD7E528217}" type="presParOf" srcId="{2C206E23-8CAC-4AA5-99A6-23E716AF18D7}" destId="{9BCAE340-F9C2-4FFF-B0AD-C9032EBFC381}" srcOrd="1" destOrd="0" presId="urn:microsoft.com/office/officeart/2005/8/layout/cycle8"/>
    <dgm:cxn modelId="{2B47CB4A-C17A-48C3-A452-76F6956C4A7D}" type="presParOf" srcId="{2C206E23-8CAC-4AA5-99A6-23E716AF18D7}" destId="{0E5CAD35-3F63-4D6C-9C34-EA9271E5BFD0}" srcOrd="2" destOrd="0" presId="urn:microsoft.com/office/officeart/2005/8/layout/cycle8"/>
    <dgm:cxn modelId="{C07F321D-E953-4FBA-9F4F-45F9094500E5}" type="presParOf" srcId="{2C206E23-8CAC-4AA5-99A6-23E716AF18D7}" destId="{3A48D5D4-E3D3-4111-92FC-7EB20206A538}" srcOrd="3" destOrd="0" presId="urn:microsoft.com/office/officeart/2005/8/layout/cycle8"/>
    <dgm:cxn modelId="{07FF25A3-58D1-40DE-9EE0-958F6B55EF27}" type="presParOf" srcId="{2C206E23-8CAC-4AA5-99A6-23E716AF18D7}" destId="{EC72D37D-CC1C-4DCC-BE19-6771331B4206}" srcOrd="4" destOrd="0" presId="urn:microsoft.com/office/officeart/2005/8/layout/cycle8"/>
    <dgm:cxn modelId="{5608B056-6E2C-4EFC-9A4D-53DC0BFC32BF}" type="presParOf" srcId="{2C206E23-8CAC-4AA5-99A6-23E716AF18D7}" destId="{91674BAF-CD87-45FD-9458-FBBDBE71B285}" srcOrd="5" destOrd="0" presId="urn:microsoft.com/office/officeart/2005/8/layout/cycle8"/>
    <dgm:cxn modelId="{AE6819DC-C958-4363-8B3C-E3B623382466}" type="presParOf" srcId="{2C206E23-8CAC-4AA5-99A6-23E716AF18D7}" destId="{346B1E58-CD10-4A8C-B0B2-ABC868D9DB32}" srcOrd="6" destOrd="0" presId="urn:microsoft.com/office/officeart/2005/8/layout/cycle8"/>
    <dgm:cxn modelId="{F5FF2669-BCB7-4F4C-BF18-121DD7046D1A}" type="presParOf" srcId="{2C206E23-8CAC-4AA5-99A6-23E716AF18D7}" destId="{04AE42F3-D130-481A-AA54-7AEDC0E72524}" srcOrd="7" destOrd="0" presId="urn:microsoft.com/office/officeart/2005/8/layout/cycle8"/>
    <dgm:cxn modelId="{269BA2CA-7BA5-4A73-B7FA-96985DE81644}" type="presParOf" srcId="{2C206E23-8CAC-4AA5-99A6-23E716AF18D7}" destId="{93B0732B-79E1-4B29-9308-2054DF5F22F0}" srcOrd="8" destOrd="0" presId="urn:microsoft.com/office/officeart/2005/8/layout/cycle8"/>
    <dgm:cxn modelId="{04134D57-EEBC-4723-8517-47256611A759}" type="presParOf" srcId="{2C206E23-8CAC-4AA5-99A6-23E716AF18D7}" destId="{3343FD6C-1CE4-4EE9-AF31-14DD44D540D1}" srcOrd="9" destOrd="0" presId="urn:microsoft.com/office/officeart/2005/8/layout/cycle8"/>
    <dgm:cxn modelId="{AD5B6C87-49A3-4FC0-8CBA-AB842BDC7FD0}" type="presParOf" srcId="{2C206E23-8CAC-4AA5-99A6-23E716AF18D7}" destId="{B009455D-7D33-4016-9365-28B13DE5F51A}" srcOrd="10" destOrd="0" presId="urn:microsoft.com/office/officeart/2005/8/layout/cycle8"/>
    <dgm:cxn modelId="{4A8EDFD7-B9E8-4A6C-AE45-7FAA5683923F}" type="presParOf" srcId="{2C206E23-8CAC-4AA5-99A6-23E716AF18D7}" destId="{F78ED231-999A-43C1-990F-39E56A6C5757}" srcOrd="11" destOrd="0" presId="urn:microsoft.com/office/officeart/2005/8/layout/cycle8"/>
    <dgm:cxn modelId="{D795EAB8-048A-4E64-8028-EB89C996E2C5}" type="presParOf" srcId="{2C206E23-8CAC-4AA5-99A6-23E716AF18D7}" destId="{2110182A-D0F4-4620-8E5C-330A6021B563}" srcOrd="12" destOrd="0" presId="urn:microsoft.com/office/officeart/2005/8/layout/cycle8"/>
    <dgm:cxn modelId="{EB21C6C6-E408-43FF-BB6D-09D8D439DCE8}" type="presParOf" srcId="{2C206E23-8CAC-4AA5-99A6-23E716AF18D7}" destId="{43AD1794-31A1-44C6-A815-BF73B8124218}" srcOrd="13" destOrd="0" presId="urn:microsoft.com/office/officeart/2005/8/layout/cycle8"/>
    <dgm:cxn modelId="{4C3DE140-DCE0-4699-9545-8CBC773BAD67}" type="presParOf" srcId="{2C206E23-8CAC-4AA5-99A6-23E716AF18D7}" destId="{581C8B0A-2B25-4E6F-B40B-6A4089052D49}" srcOrd="14" destOrd="0" presId="urn:microsoft.com/office/officeart/2005/8/layout/cycle8"/>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1EB51E-2B41-47BB-A5BE-570CDA9DF372}">
      <dsp:nvSpPr>
        <dsp:cNvPr id="0" name=""/>
        <dsp:cNvSpPr/>
      </dsp:nvSpPr>
      <dsp:spPr>
        <a:xfrm>
          <a:off x="452565" y="729054"/>
          <a:ext cx="4860670" cy="4860670"/>
        </a:xfrm>
        <a:prstGeom prst="blockArc">
          <a:avLst>
            <a:gd name="adj1" fmla="val 9000000"/>
            <a:gd name="adj2" fmla="val 16200000"/>
            <a:gd name="adj3" fmla="val 4636"/>
          </a:avLst>
        </a:prstGeom>
        <a:solidFill>
          <a:srgbClr val="92D050"/>
        </a:solidFill>
        <a:ln>
          <a:noFill/>
        </a:ln>
        <a:effectLst/>
      </dsp:spPr>
      <dsp:style>
        <a:lnRef idx="0">
          <a:scrgbClr r="0" g="0" b="0"/>
        </a:lnRef>
        <a:fillRef idx="1">
          <a:scrgbClr r="0" g="0" b="0"/>
        </a:fillRef>
        <a:effectRef idx="0">
          <a:scrgbClr r="0" g="0" b="0"/>
        </a:effectRef>
        <a:fontRef idx="minor">
          <a:schemeClr val="lt1"/>
        </a:fontRef>
      </dsp:style>
    </dsp:sp>
    <dsp:sp modelId="{5534365F-C394-4D3E-8259-D33FF2621EDD}">
      <dsp:nvSpPr>
        <dsp:cNvPr id="0" name=""/>
        <dsp:cNvSpPr/>
      </dsp:nvSpPr>
      <dsp:spPr>
        <a:xfrm>
          <a:off x="452565" y="729054"/>
          <a:ext cx="4860670" cy="4860670"/>
        </a:xfrm>
        <a:prstGeom prst="blockArc">
          <a:avLst>
            <a:gd name="adj1" fmla="val 1800000"/>
            <a:gd name="adj2" fmla="val 9000000"/>
            <a:gd name="adj3" fmla="val 4636"/>
          </a:avLst>
        </a:prstGeom>
        <a:solidFill>
          <a:srgbClr val="92D050"/>
        </a:solidFill>
        <a:ln>
          <a:noFill/>
        </a:ln>
        <a:effectLst/>
      </dsp:spPr>
      <dsp:style>
        <a:lnRef idx="0">
          <a:scrgbClr r="0" g="0" b="0"/>
        </a:lnRef>
        <a:fillRef idx="1">
          <a:scrgbClr r="0" g="0" b="0"/>
        </a:fillRef>
        <a:effectRef idx="0">
          <a:scrgbClr r="0" g="0" b="0"/>
        </a:effectRef>
        <a:fontRef idx="minor">
          <a:schemeClr val="lt1"/>
        </a:fontRef>
      </dsp:style>
    </dsp:sp>
    <dsp:sp modelId="{58485C68-B2F6-42D2-8FCC-74F25912A6BF}">
      <dsp:nvSpPr>
        <dsp:cNvPr id="0" name=""/>
        <dsp:cNvSpPr/>
      </dsp:nvSpPr>
      <dsp:spPr>
        <a:xfrm>
          <a:off x="452565" y="729054"/>
          <a:ext cx="4860670" cy="4860670"/>
        </a:xfrm>
        <a:prstGeom prst="blockArc">
          <a:avLst>
            <a:gd name="adj1" fmla="val 16200000"/>
            <a:gd name="adj2" fmla="val 1800000"/>
            <a:gd name="adj3" fmla="val 4636"/>
          </a:avLst>
        </a:prstGeom>
        <a:solidFill>
          <a:srgbClr val="5B9BD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0063558C-DD37-4EAC-A093-6F5E04E16F2A}">
      <dsp:nvSpPr>
        <dsp:cNvPr id="0" name=""/>
        <dsp:cNvSpPr/>
      </dsp:nvSpPr>
      <dsp:spPr>
        <a:xfrm>
          <a:off x="1765213" y="2041702"/>
          <a:ext cx="2235374" cy="2235374"/>
        </a:xfrm>
        <a:prstGeom prst="ellipse">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2800350">
            <a:lnSpc>
              <a:spcPct val="90000"/>
            </a:lnSpc>
            <a:spcBef>
              <a:spcPct val="0"/>
            </a:spcBef>
            <a:spcAft>
              <a:spcPct val="35000"/>
            </a:spcAft>
            <a:buNone/>
          </a:pPr>
          <a:r>
            <a:rPr lang="es-ES" sz="6300" kern="1200">
              <a:solidFill>
                <a:sysClr val="window" lastClr="FFFFFF"/>
              </a:solidFill>
              <a:latin typeface="Calibri" panose="020F0502020204030204"/>
              <a:ea typeface="+mn-ea"/>
              <a:cs typeface="+mn-cs"/>
            </a:rPr>
            <a:t>BDD</a:t>
          </a:r>
        </a:p>
      </dsp:txBody>
      <dsp:txXfrm>
        <a:off x="2092576" y="2369065"/>
        <a:ext cx="1580648" cy="1580648"/>
      </dsp:txXfrm>
    </dsp:sp>
    <dsp:sp modelId="{00BC8F4E-2AD7-4382-BF5C-424A10A920A6}">
      <dsp:nvSpPr>
        <dsp:cNvPr id="0" name=""/>
        <dsp:cNvSpPr/>
      </dsp:nvSpPr>
      <dsp:spPr>
        <a:xfrm>
          <a:off x="2100519" y="3005"/>
          <a:ext cx="1564761" cy="1564761"/>
        </a:xfrm>
        <a:prstGeom prst="ellipse">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s-ES" sz="1500" kern="1200">
              <a:solidFill>
                <a:sysClr val="window" lastClr="FFFFFF"/>
              </a:solidFill>
              <a:latin typeface="Calibri" panose="020F0502020204030204"/>
              <a:ea typeface="+mn-ea"/>
              <a:cs typeface="+mn-cs"/>
            </a:rPr>
            <a:t>Escribir un escenario que falle</a:t>
          </a:r>
        </a:p>
      </dsp:txBody>
      <dsp:txXfrm>
        <a:off x="2329673" y="232159"/>
        <a:ext cx="1106453" cy="1106453"/>
      </dsp:txXfrm>
    </dsp:sp>
    <dsp:sp modelId="{8742DE98-9876-4AA1-BFA3-C536F678F9AA}">
      <dsp:nvSpPr>
        <dsp:cNvPr id="0" name=""/>
        <dsp:cNvSpPr/>
      </dsp:nvSpPr>
      <dsp:spPr>
        <a:xfrm>
          <a:off x="4156467" y="3564010"/>
          <a:ext cx="1564761" cy="1564761"/>
        </a:xfrm>
        <a:prstGeom prst="ellipse">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s-ES" sz="1500" kern="1200">
            <a:solidFill>
              <a:sysClr val="window" lastClr="FFFFFF"/>
            </a:solidFill>
            <a:latin typeface="Calibri" panose="020F0502020204030204"/>
            <a:ea typeface="+mn-ea"/>
            <a:cs typeface="+mn-cs"/>
          </a:endParaRPr>
        </a:p>
      </dsp:txBody>
      <dsp:txXfrm>
        <a:off x="4385621" y="3793164"/>
        <a:ext cx="1106453" cy="1106453"/>
      </dsp:txXfrm>
    </dsp:sp>
    <dsp:sp modelId="{F0C7FC2A-7998-465C-A2B7-47EC99942A42}">
      <dsp:nvSpPr>
        <dsp:cNvPr id="0" name=""/>
        <dsp:cNvSpPr/>
      </dsp:nvSpPr>
      <dsp:spPr>
        <a:xfrm>
          <a:off x="44571" y="3564010"/>
          <a:ext cx="1564761" cy="1564761"/>
        </a:xfrm>
        <a:prstGeom prst="ellipse">
          <a:avLst/>
        </a:prstGeom>
        <a:solidFill>
          <a:srgbClr val="548123"/>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s-ES" sz="1500" kern="1200">
              <a:solidFill>
                <a:sysClr val="window" lastClr="FFFFFF"/>
              </a:solidFill>
              <a:latin typeface="Calibri" panose="020F0502020204030204"/>
              <a:ea typeface="+mn-ea"/>
              <a:cs typeface="+mn-cs"/>
            </a:rPr>
            <a:t>Implementar en Producción</a:t>
          </a:r>
        </a:p>
      </dsp:txBody>
      <dsp:txXfrm>
        <a:off x="273725" y="3793164"/>
        <a:ext cx="1106453" cy="11064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0266FD-E038-49A8-81A0-2177E8FB586A}">
      <dsp:nvSpPr>
        <dsp:cNvPr id="0" name=""/>
        <dsp:cNvSpPr/>
      </dsp:nvSpPr>
      <dsp:spPr>
        <a:xfrm>
          <a:off x="220095" y="510652"/>
          <a:ext cx="1900106" cy="1900106"/>
        </a:xfrm>
        <a:prstGeom prst="pie">
          <a:avLst>
            <a:gd name="adj1" fmla="val 16200000"/>
            <a:gd name="adj2" fmla="val 1800000"/>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s-ES" sz="700" kern="1200">
              <a:solidFill>
                <a:sysClr val="window" lastClr="FFFFFF"/>
              </a:solidFill>
              <a:latin typeface="Calibri" panose="020F0502020204030204"/>
              <a:ea typeface="+mn-ea"/>
              <a:cs typeface="+mn-cs"/>
            </a:rPr>
            <a:t>Escribir un test unitario que falla</a:t>
          </a:r>
        </a:p>
      </dsp:txBody>
      <dsp:txXfrm>
        <a:off x="1320876" y="996111"/>
        <a:ext cx="479849" cy="399873"/>
      </dsp:txXfrm>
    </dsp:sp>
    <dsp:sp modelId="{EC72D37D-CC1C-4DCC-BE19-6771331B4206}">
      <dsp:nvSpPr>
        <dsp:cNvPr id="0" name=""/>
        <dsp:cNvSpPr/>
      </dsp:nvSpPr>
      <dsp:spPr>
        <a:xfrm>
          <a:off x="180962" y="578513"/>
          <a:ext cx="1900106" cy="1900106"/>
        </a:xfrm>
        <a:prstGeom prst="pie">
          <a:avLst>
            <a:gd name="adj1" fmla="val 1800000"/>
            <a:gd name="adj2" fmla="val 9000000"/>
          </a:avLst>
        </a:prstGeom>
        <a:solidFill>
          <a:srgbClr val="00B050"/>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s-ES" sz="700" kern="1200">
              <a:solidFill>
                <a:sysClr val="window" lastClr="FFFFFF"/>
              </a:solidFill>
              <a:latin typeface="Calibri" panose="020F0502020204030204"/>
              <a:ea typeface="+mn-ea"/>
              <a:cs typeface="+mn-cs"/>
            </a:rPr>
            <a:t>Escribir código para que el test pase</a:t>
          </a:r>
        </a:p>
      </dsp:txBody>
      <dsp:txXfrm>
        <a:off x="782438" y="1884199"/>
        <a:ext cx="719773" cy="351888"/>
      </dsp:txXfrm>
    </dsp:sp>
    <dsp:sp modelId="{93B0732B-79E1-4B29-9308-2054DF5F22F0}">
      <dsp:nvSpPr>
        <dsp:cNvPr id="0" name=""/>
        <dsp:cNvSpPr/>
      </dsp:nvSpPr>
      <dsp:spPr>
        <a:xfrm>
          <a:off x="141829" y="510652"/>
          <a:ext cx="1900106" cy="1900106"/>
        </a:xfrm>
        <a:prstGeom prst="pie">
          <a:avLst>
            <a:gd name="adj1" fmla="val 9000000"/>
            <a:gd name="adj2" fmla="val 16200000"/>
          </a:avLst>
        </a:prstGeom>
        <a:solidFill>
          <a:srgbClr val="0070C0"/>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s-ES" sz="700" kern="1200" err="1">
              <a:solidFill>
                <a:sysClr val="window" lastClr="FFFFFF"/>
              </a:solidFill>
              <a:latin typeface="Calibri" panose="020F0502020204030204"/>
              <a:ea typeface="+mn-ea"/>
              <a:cs typeface="+mn-cs"/>
            </a:rPr>
            <a:t>Refactor</a:t>
          </a:r>
          <a:endParaRPr lang="es-ES" sz="700" kern="1200">
            <a:solidFill>
              <a:sysClr val="window" lastClr="FFFFFF"/>
            </a:solidFill>
            <a:latin typeface="Calibri" panose="020F0502020204030204"/>
            <a:ea typeface="+mn-ea"/>
            <a:cs typeface="+mn-cs"/>
          </a:endParaRPr>
        </a:p>
      </dsp:txBody>
      <dsp:txXfrm>
        <a:off x="461304" y="996111"/>
        <a:ext cx="479849" cy="399873"/>
      </dsp:txXfrm>
    </dsp:sp>
    <dsp:sp modelId="{2110182A-D0F4-4620-8E5C-330A6021B563}">
      <dsp:nvSpPr>
        <dsp:cNvPr id="0" name=""/>
        <dsp:cNvSpPr/>
      </dsp:nvSpPr>
      <dsp:spPr>
        <a:xfrm>
          <a:off x="102626" y="393026"/>
          <a:ext cx="2135357" cy="2135357"/>
        </a:xfrm>
        <a:prstGeom prst="circularArrow">
          <a:avLst>
            <a:gd name="adj1" fmla="val 5085"/>
            <a:gd name="adj2" fmla="val 327528"/>
            <a:gd name="adj3" fmla="val 1472472"/>
            <a:gd name="adj4" fmla="val 16199432"/>
            <a:gd name="adj5" fmla="val 5932"/>
          </a:avLst>
        </a:prstGeom>
        <a:solidFill>
          <a:srgbClr val="5B9BD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43AD1794-31A1-44C6-A815-BF73B8124218}">
      <dsp:nvSpPr>
        <dsp:cNvPr id="0" name=""/>
        <dsp:cNvSpPr/>
      </dsp:nvSpPr>
      <dsp:spPr>
        <a:xfrm>
          <a:off x="63336" y="460767"/>
          <a:ext cx="2135357" cy="2135357"/>
        </a:xfrm>
        <a:prstGeom prst="circularArrow">
          <a:avLst>
            <a:gd name="adj1" fmla="val 5085"/>
            <a:gd name="adj2" fmla="val 327528"/>
            <a:gd name="adj3" fmla="val 8671970"/>
            <a:gd name="adj4" fmla="val 1800502"/>
            <a:gd name="adj5" fmla="val 5932"/>
          </a:avLst>
        </a:prstGeom>
        <a:solidFill>
          <a:srgbClr val="92D050"/>
        </a:solidFill>
        <a:ln>
          <a:noFill/>
        </a:ln>
        <a:effectLst/>
      </dsp:spPr>
      <dsp:style>
        <a:lnRef idx="0">
          <a:scrgbClr r="0" g="0" b="0"/>
        </a:lnRef>
        <a:fillRef idx="1">
          <a:scrgbClr r="0" g="0" b="0"/>
        </a:fillRef>
        <a:effectRef idx="0">
          <a:scrgbClr r="0" g="0" b="0"/>
        </a:effectRef>
        <a:fontRef idx="minor">
          <a:schemeClr val="lt1"/>
        </a:fontRef>
      </dsp:style>
    </dsp:sp>
    <dsp:sp modelId="{581C8B0A-2B25-4E6F-B40B-6A4089052D49}">
      <dsp:nvSpPr>
        <dsp:cNvPr id="0" name=""/>
        <dsp:cNvSpPr/>
      </dsp:nvSpPr>
      <dsp:spPr>
        <a:xfrm>
          <a:off x="24046" y="393026"/>
          <a:ext cx="2135357" cy="2135357"/>
        </a:xfrm>
        <a:prstGeom prst="circularArrow">
          <a:avLst>
            <a:gd name="adj1" fmla="val 5085"/>
            <a:gd name="adj2" fmla="val 327528"/>
            <a:gd name="adj3" fmla="val 15873039"/>
            <a:gd name="adj4" fmla="val 9000000"/>
            <a:gd name="adj5" fmla="val 5932"/>
          </a:avLst>
        </a:prstGeom>
        <a:solidFill>
          <a:srgbClr val="00B0F0"/>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PE"/>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2E7907-12C6-4719-81C5-6674D25F428E}" type="datetimeFigureOut">
              <a:rPr lang="es-PE" smtClean="0"/>
              <a:t>29/01/2026</a:t>
            </a:fld>
            <a:endParaRPr lang="es-PE"/>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PE"/>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PE"/>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754F36-A170-448A-83BB-072D4405C3B7}" type="slidenum">
              <a:rPr lang="es-PE" smtClean="0"/>
              <a:t>‹#›</a:t>
            </a:fld>
            <a:endParaRPr lang="es-PE"/>
          </a:p>
        </p:txBody>
      </p:sp>
    </p:spTree>
    <p:extLst>
      <p:ext uri="{BB962C8B-B14F-4D97-AF65-F5344CB8AC3E}">
        <p14:creationId xmlns:p14="http://schemas.microsoft.com/office/powerpoint/2010/main" val="23201981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txBody>
          <a:bodyPr/>
          <a:lstStyle/>
          <a:p>
            <a:endParaRPr lang="es-PE"/>
          </a:p>
        </p:txBody>
      </p:sp>
      <p:sp>
        <p:nvSpPr>
          <p:cNvPr id="3" name="Marcador de notas 2"/>
          <p:cNvSpPr>
            <a:spLocks noGrp="1"/>
          </p:cNvSpPr>
          <p:nvPr>
            <p:ph type="body" idx="1"/>
          </p:nvPr>
        </p:nvSpPr>
        <p:spPr/>
        <p:txBody>
          <a:bodyPr/>
          <a:lstStyle/>
          <a:p>
            <a:endParaRPr lang="es-PE"/>
          </a:p>
        </p:txBody>
      </p:sp>
      <p:sp>
        <p:nvSpPr>
          <p:cNvPr id="4" name="Marcador de número de diapositiva 3"/>
          <p:cNvSpPr>
            <a:spLocks noGrp="1"/>
          </p:cNvSpPr>
          <p:nvPr>
            <p:ph type="sldNum" sz="quarter" idx="5"/>
          </p:nvPr>
        </p:nvSpPr>
        <p:spPr/>
        <p:txBody>
          <a:bodyPr/>
          <a:lstStyle/>
          <a:p>
            <a:fld id="{83754F36-A170-448A-83BB-072D4405C3B7}" type="slidenum">
              <a:rPr lang="es-PE" smtClean="0"/>
              <a:t>1</a:t>
            </a:fld>
            <a:endParaRPr lang="es-PE"/>
          </a:p>
        </p:txBody>
      </p:sp>
    </p:spTree>
    <p:extLst>
      <p:ext uri="{BB962C8B-B14F-4D97-AF65-F5344CB8AC3E}">
        <p14:creationId xmlns:p14="http://schemas.microsoft.com/office/powerpoint/2010/main" val="32310724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24AE-40FD-20C9-ACDB-685B26F96F6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2BE982B-E666-7BDD-C684-C4C6A809BFA3}"/>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C8F0FCA6-530D-7E3B-4E12-54CB77AC7EB4}"/>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BA25FE00-9B92-FAF2-F335-CEB9C5E4FEE3}"/>
              </a:ext>
            </a:extLst>
          </p:cNvPr>
          <p:cNvSpPr>
            <a:spLocks noGrp="1"/>
          </p:cNvSpPr>
          <p:nvPr>
            <p:ph type="sldNum" sz="quarter" idx="5"/>
          </p:nvPr>
        </p:nvSpPr>
        <p:spPr/>
        <p:txBody>
          <a:bodyPr/>
          <a:lstStyle/>
          <a:p>
            <a:fld id="{444A2CF4-4583-4E21-9663-519665C8CE5D}" type="slidenum">
              <a:rPr lang="es-PE" smtClean="0"/>
              <a:t>14</a:t>
            </a:fld>
            <a:endParaRPr lang="es-PE"/>
          </a:p>
        </p:txBody>
      </p:sp>
    </p:spTree>
    <p:extLst>
      <p:ext uri="{BB962C8B-B14F-4D97-AF65-F5344CB8AC3E}">
        <p14:creationId xmlns:p14="http://schemas.microsoft.com/office/powerpoint/2010/main" val="2727503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E3FEC8-A972-7FD3-93F7-89F9B134E9C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ECB335E-9DBA-2596-0C0F-4894F18646A6}"/>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6A1F334A-E576-04B3-982C-82A3C13AB891}"/>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07A96718-92A9-6125-1A35-F2CF54BCC464}"/>
              </a:ext>
            </a:extLst>
          </p:cNvPr>
          <p:cNvSpPr>
            <a:spLocks noGrp="1"/>
          </p:cNvSpPr>
          <p:nvPr>
            <p:ph type="sldNum" sz="quarter" idx="5"/>
          </p:nvPr>
        </p:nvSpPr>
        <p:spPr/>
        <p:txBody>
          <a:bodyPr/>
          <a:lstStyle/>
          <a:p>
            <a:fld id="{444A2CF4-4583-4E21-9663-519665C8CE5D}" type="slidenum">
              <a:rPr lang="es-PE" smtClean="0"/>
              <a:t>16</a:t>
            </a:fld>
            <a:endParaRPr lang="es-PE"/>
          </a:p>
        </p:txBody>
      </p:sp>
    </p:spTree>
    <p:extLst>
      <p:ext uri="{BB962C8B-B14F-4D97-AF65-F5344CB8AC3E}">
        <p14:creationId xmlns:p14="http://schemas.microsoft.com/office/powerpoint/2010/main" val="341519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142411-B0B4-AF20-F42F-67CEA81181A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7EAE5B2-0616-8C04-BACC-4742C06DEC11}"/>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8B8064A4-647E-7FA1-1A1D-B71FB755E725}"/>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A6A7EC48-1EA8-67C7-DBAF-D82D3A44FC99}"/>
              </a:ext>
            </a:extLst>
          </p:cNvPr>
          <p:cNvSpPr>
            <a:spLocks noGrp="1"/>
          </p:cNvSpPr>
          <p:nvPr>
            <p:ph type="sldNum" sz="quarter" idx="5"/>
          </p:nvPr>
        </p:nvSpPr>
        <p:spPr/>
        <p:txBody>
          <a:bodyPr/>
          <a:lstStyle/>
          <a:p>
            <a:fld id="{444A2CF4-4583-4E21-9663-519665C8CE5D}" type="slidenum">
              <a:rPr lang="es-PE" smtClean="0"/>
              <a:t>17</a:t>
            </a:fld>
            <a:endParaRPr lang="es-PE"/>
          </a:p>
        </p:txBody>
      </p:sp>
    </p:spTree>
    <p:extLst>
      <p:ext uri="{BB962C8B-B14F-4D97-AF65-F5344CB8AC3E}">
        <p14:creationId xmlns:p14="http://schemas.microsoft.com/office/powerpoint/2010/main" val="27551309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342438-2ACA-7E58-CC3D-1FA8211D5E4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E545384-1449-F241-4EE4-E96728F2ADC3}"/>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70B7E548-AB29-F411-83B2-3DA0E0614D65}"/>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44849106-3BC2-E757-F99C-FAF4D52AA39F}"/>
              </a:ext>
            </a:extLst>
          </p:cNvPr>
          <p:cNvSpPr>
            <a:spLocks noGrp="1"/>
          </p:cNvSpPr>
          <p:nvPr>
            <p:ph type="sldNum" sz="quarter" idx="5"/>
          </p:nvPr>
        </p:nvSpPr>
        <p:spPr/>
        <p:txBody>
          <a:bodyPr/>
          <a:lstStyle/>
          <a:p>
            <a:fld id="{444A2CF4-4583-4E21-9663-519665C8CE5D}" type="slidenum">
              <a:rPr lang="es-PE" smtClean="0"/>
              <a:t>18</a:t>
            </a:fld>
            <a:endParaRPr lang="es-PE"/>
          </a:p>
        </p:txBody>
      </p:sp>
    </p:spTree>
    <p:extLst>
      <p:ext uri="{BB962C8B-B14F-4D97-AF65-F5344CB8AC3E}">
        <p14:creationId xmlns:p14="http://schemas.microsoft.com/office/powerpoint/2010/main" val="11199505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B9F6D7-8E1F-DE0F-7BB4-EF16366F537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334989B-3206-5C0C-FADC-44C8D4295DA0}"/>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4AE2AFCD-BEC5-F615-6537-134E6BCFA854}"/>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96717AE1-C562-8CEE-09F3-4ABCC33044A9}"/>
              </a:ext>
            </a:extLst>
          </p:cNvPr>
          <p:cNvSpPr>
            <a:spLocks noGrp="1"/>
          </p:cNvSpPr>
          <p:nvPr>
            <p:ph type="sldNum" sz="quarter" idx="5"/>
          </p:nvPr>
        </p:nvSpPr>
        <p:spPr/>
        <p:txBody>
          <a:bodyPr/>
          <a:lstStyle/>
          <a:p>
            <a:fld id="{444A2CF4-4583-4E21-9663-519665C8CE5D}" type="slidenum">
              <a:rPr lang="es-PE" smtClean="0"/>
              <a:t>19</a:t>
            </a:fld>
            <a:endParaRPr lang="es-PE"/>
          </a:p>
        </p:txBody>
      </p:sp>
    </p:spTree>
    <p:extLst>
      <p:ext uri="{BB962C8B-B14F-4D97-AF65-F5344CB8AC3E}">
        <p14:creationId xmlns:p14="http://schemas.microsoft.com/office/powerpoint/2010/main" val="15282589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F4C8B-8B7A-87F9-1E66-DFDF24F60FE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4FC1A22-9D71-C934-3782-48B999C7943F}"/>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00A2CAF2-DD48-3691-3C85-AEEBF37E0E11}"/>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06B471FF-FCB8-0661-6E2D-D66648CD5252}"/>
              </a:ext>
            </a:extLst>
          </p:cNvPr>
          <p:cNvSpPr>
            <a:spLocks noGrp="1"/>
          </p:cNvSpPr>
          <p:nvPr>
            <p:ph type="sldNum" sz="quarter" idx="5"/>
          </p:nvPr>
        </p:nvSpPr>
        <p:spPr/>
        <p:txBody>
          <a:bodyPr/>
          <a:lstStyle/>
          <a:p>
            <a:fld id="{444A2CF4-4583-4E21-9663-519665C8CE5D}" type="slidenum">
              <a:rPr lang="es-PE" smtClean="0"/>
              <a:t>20</a:t>
            </a:fld>
            <a:endParaRPr lang="es-PE"/>
          </a:p>
        </p:txBody>
      </p:sp>
    </p:spTree>
    <p:extLst>
      <p:ext uri="{BB962C8B-B14F-4D97-AF65-F5344CB8AC3E}">
        <p14:creationId xmlns:p14="http://schemas.microsoft.com/office/powerpoint/2010/main" val="8130867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53026D-E552-A62A-5B15-7098B6ABB33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A2B43E0-5496-CFF9-45FE-2F6F1EA30252}"/>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A8E68895-AC32-55FD-000C-7B38C3B7712E}"/>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0F092E7E-1732-4741-ECFF-5217888FDF2F}"/>
              </a:ext>
            </a:extLst>
          </p:cNvPr>
          <p:cNvSpPr>
            <a:spLocks noGrp="1"/>
          </p:cNvSpPr>
          <p:nvPr>
            <p:ph type="sldNum" sz="quarter" idx="5"/>
          </p:nvPr>
        </p:nvSpPr>
        <p:spPr/>
        <p:txBody>
          <a:bodyPr/>
          <a:lstStyle/>
          <a:p>
            <a:fld id="{444A2CF4-4583-4E21-9663-519665C8CE5D}" type="slidenum">
              <a:rPr lang="es-PE" smtClean="0"/>
              <a:t>21</a:t>
            </a:fld>
            <a:endParaRPr lang="es-PE"/>
          </a:p>
        </p:txBody>
      </p:sp>
    </p:spTree>
    <p:extLst>
      <p:ext uri="{BB962C8B-B14F-4D97-AF65-F5344CB8AC3E}">
        <p14:creationId xmlns:p14="http://schemas.microsoft.com/office/powerpoint/2010/main" val="25848584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4AD88-D1ED-DB4F-43A2-C1000192274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02C27E1-4916-C357-F907-393E75BDC2C0}"/>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DA7AF55A-6A0B-2454-7C77-FDFEAD287BEF}"/>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332A3A86-7757-E2C2-58DB-A4C81E61DDFB}"/>
              </a:ext>
            </a:extLst>
          </p:cNvPr>
          <p:cNvSpPr>
            <a:spLocks noGrp="1"/>
          </p:cNvSpPr>
          <p:nvPr>
            <p:ph type="sldNum" sz="quarter" idx="5"/>
          </p:nvPr>
        </p:nvSpPr>
        <p:spPr/>
        <p:txBody>
          <a:bodyPr/>
          <a:lstStyle/>
          <a:p>
            <a:fld id="{444A2CF4-4583-4E21-9663-519665C8CE5D}" type="slidenum">
              <a:rPr lang="es-PE" smtClean="0"/>
              <a:t>22</a:t>
            </a:fld>
            <a:endParaRPr lang="es-PE"/>
          </a:p>
        </p:txBody>
      </p:sp>
    </p:spTree>
    <p:extLst>
      <p:ext uri="{BB962C8B-B14F-4D97-AF65-F5344CB8AC3E}">
        <p14:creationId xmlns:p14="http://schemas.microsoft.com/office/powerpoint/2010/main" val="29186806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BFDEAC-E37F-82FF-0027-93C17D4B86A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D696807-0ADE-42B2-340D-5E4E24B9D059}"/>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E1864A3C-DCE4-E401-8C01-F380482CAD72}"/>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210168F8-2788-AA9B-54D9-E9CC87C31F0F}"/>
              </a:ext>
            </a:extLst>
          </p:cNvPr>
          <p:cNvSpPr>
            <a:spLocks noGrp="1"/>
          </p:cNvSpPr>
          <p:nvPr>
            <p:ph type="sldNum" sz="quarter" idx="5"/>
          </p:nvPr>
        </p:nvSpPr>
        <p:spPr/>
        <p:txBody>
          <a:bodyPr/>
          <a:lstStyle/>
          <a:p>
            <a:fld id="{444A2CF4-4583-4E21-9663-519665C8CE5D}" type="slidenum">
              <a:rPr lang="es-PE" smtClean="0"/>
              <a:t>23</a:t>
            </a:fld>
            <a:endParaRPr lang="es-PE"/>
          </a:p>
        </p:txBody>
      </p:sp>
    </p:spTree>
    <p:extLst>
      <p:ext uri="{BB962C8B-B14F-4D97-AF65-F5344CB8AC3E}">
        <p14:creationId xmlns:p14="http://schemas.microsoft.com/office/powerpoint/2010/main" val="20515393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E36AA-0082-5CDF-B6E9-E477FD2058F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46087BA-5DCE-E308-4293-78FE262C74A2}"/>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2B7B1A63-03E0-3BB1-7C50-69FEFCABA0A4}"/>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EFADB371-4EF6-EE81-5AF1-F69DAD7D0209}"/>
              </a:ext>
            </a:extLst>
          </p:cNvPr>
          <p:cNvSpPr>
            <a:spLocks noGrp="1"/>
          </p:cNvSpPr>
          <p:nvPr>
            <p:ph type="sldNum" sz="quarter" idx="5"/>
          </p:nvPr>
        </p:nvSpPr>
        <p:spPr/>
        <p:txBody>
          <a:bodyPr/>
          <a:lstStyle/>
          <a:p>
            <a:fld id="{444A2CF4-4583-4E21-9663-519665C8CE5D}" type="slidenum">
              <a:rPr lang="es-PE" smtClean="0"/>
              <a:t>25</a:t>
            </a:fld>
            <a:endParaRPr lang="es-PE"/>
          </a:p>
        </p:txBody>
      </p:sp>
    </p:spTree>
    <p:extLst>
      <p:ext uri="{BB962C8B-B14F-4D97-AF65-F5344CB8AC3E}">
        <p14:creationId xmlns:p14="http://schemas.microsoft.com/office/powerpoint/2010/main" val="18876529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646FC8-DBE8-611C-9884-86A3A470E85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C6CAD9A-A299-3C99-FF1C-91FD0D18220E}"/>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654C20EE-E8DF-05F5-5449-35C3AD9F57DF}"/>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363347EA-BEE1-A1A5-235D-35FFD3B78ACF}"/>
              </a:ext>
            </a:extLst>
          </p:cNvPr>
          <p:cNvSpPr>
            <a:spLocks noGrp="1"/>
          </p:cNvSpPr>
          <p:nvPr>
            <p:ph type="sldNum" sz="quarter" idx="5"/>
          </p:nvPr>
        </p:nvSpPr>
        <p:spPr/>
        <p:txBody>
          <a:bodyPr/>
          <a:lstStyle/>
          <a:p>
            <a:fld id="{444A2CF4-4583-4E21-9663-519665C8CE5D}" type="slidenum">
              <a:rPr lang="es-PE" smtClean="0"/>
              <a:t>2</a:t>
            </a:fld>
            <a:endParaRPr lang="es-PE"/>
          </a:p>
        </p:txBody>
      </p:sp>
    </p:spTree>
    <p:extLst>
      <p:ext uri="{BB962C8B-B14F-4D97-AF65-F5344CB8AC3E}">
        <p14:creationId xmlns:p14="http://schemas.microsoft.com/office/powerpoint/2010/main" val="30857127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8E2A3-194F-6D63-62ED-1DFB89A29B1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E6C84E2-BA58-6A81-6713-C8DB41748ABB}"/>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7494197D-8E99-FA17-C1C3-B68BADF3B2E2}"/>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4354D3FD-2C55-CB80-F358-FEAC6F994C33}"/>
              </a:ext>
            </a:extLst>
          </p:cNvPr>
          <p:cNvSpPr>
            <a:spLocks noGrp="1"/>
          </p:cNvSpPr>
          <p:nvPr>
            <p:ph type="sldNum" sz="quarter" idx="5"/>
          </p:nvPr>
        </p:nvSpPr>
        <p:spPr/>
        <p:txBody>
          <a:bodyPr/>
          <a:lstStyle/>
          <a:p>
            <a:fld id="{444A2CF4-4583-4E21-9663-519665C8CE5D}" type="slidenum">
              <a:rPr lang="es-PE" smtClean="0"/>
              <a:t>26</a:t>
            </a:fld>
            <a:endParaRPr lang="es-PE"/>
          </a:p>
        </p:txBody>
      </p:sp>
    </p:spTree>
    <p:extLst>
      <p:ext uri="{BB962C8B-B14F-4D97-AF65-F5344CB8AC3E}">
        <p14:creationId xmlns:p14="http://schemas.microsoft.com/office/powerpoint/2010/main" val="30730924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D2ED32-8813-B687-EC73-48926998065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DB325C4-8CF5-8A42-6544-1B5D2DB5D989}"/>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B99029E5-9AC7-8000-A1C2-411EB96CA2FF}"/>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BECC6C15-ADBE-3904-767F-4FEAC80A0345}"/>
              </a:ext>
            </a:extLst>
          </p:cNvPr>
          <p:cNvSpPr>
            <a:spLocks noGrp="1"/>
          </p:cNvSpPr>
          <p:nvPr>
            <p:ph type="sldNum" sz="quarter" idx="5"/>
          </p:nvPr>
        </p:nvSpPr>
        <p:spPr/>
        <p:txBody>
          <a:bodyPr/>
          <a:lstStyle/>
          <a:p>
            <a:fld id="{444A2CF4-4583-4E21-9663-519665C8CE5D}" type="slidenum">
              <a:rPr lang="es-PE" smtClean="0"/>
              <a:t>27</a:t>
            </a:fld>
            <a:endParaRPr lang="es-PE"/>
          </a:p>
        </p:txBody>
      </p:sp>
    </p:spTree>
    <p:extLst>
      <p:ext uri="{BB962C8B-B14F-4D97-AF65-F5344CB8AC3E}">
        <p14:creationId xmlns:p14="http://schemas.microsoft.com/office/powerpoint/2010/main" val="42569290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9E6C47-D5EA-476C-C58F-54E93115B98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C845C1A-A34A-7CCF-BD47-6E3D091BEEDA}"/>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D94DD06D-CF2C-0FC7-91D6-05B67C674120}"/>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FBF36515-B271-A243-E8B4-16DC15C433D9}"/>
              </a:ext>
            </a:extLst>
          </p:cNvPr>
          <p:cNvSpPr>
            <a:spLocks noGrp="1"/>
          </p:cNvSpPr>
          <p:nvPr>
            <p:ph type="sldNum" sz="quarter" idx="5"/>
          </p:nvPr>
        </p:nvSpPr>
        <p:spPr/>
        <p:txBody>
          <a:bodyPr/>
          <a:lstStyle/>
          <a:p>
            <a:fld id="{444A2CF4-4583-4E21-9663-519665C8CE5D}" type="slidenum">
              <a:rPr lang="es-PE" smtClean="0"/>
              <a:t>28</a:t>
            </a:fld>
            <a:endParaRPr lang="es-PE"/>
          </a:p>
        </p:txBody>
      </p:sp>
    </p:spTree>
    <p:extLst>
      <p:ext uri="{BB962C8B-B14F-4D97-AF65-F5344CB8AC3E}">
        <p14:creationId xmlns:p14="http://schemas.microsoft.com/office/powerpoint/2010/main" val="2848742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CE312-375C-D883-4498-426A05BB2C8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67138F9-3FDB-1274-D9B2-BA8E98F42E33}"/>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96E2B2B2-8895-8058-105F-47E87A8F7CF8}"/>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9C6115FA-BAEC-58D6-0EAB-9DFF7E296C02}"/>
              </a:ext>
            </a:extLst>
          </p:cNvPr>
          <p:cNvSpPr>
            <a:spLocks noGrp="1"/>
          </p:cNvSpPr>
          <p:nvPr>
            <p:ph type="sldNum" sz="quarter" idx="5"/>
          </p:nvPr>
        </p:nvSpPr>
        <p:spPr/>
        <p:txBody>
          <a:bodyPr/>
          <a:lstStyle/>
          <a:p>
            <a:fld id="{444A2CF4-4583-4E21-9663-519665C8CE5D}" type="slidenum">
              <a:rPr lang="es-PE" smtClean="0"/>
              <a:t>29</a:t>
            </a:fld>
            <a:endParaRPr lang="es-PE"/>
          </a:p>
        </p:txBody>
      </p:sp>
    </p:spTree>
    <p:extLst>
      <p:ext uri="{BB962C8B-B14F-4D97-AF65-F5344CB8AC3E}">
        <p14:creationId xmlns:p14="http://schemas.microsoft.com/office/powerpoint/2010/main" val="30947944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8ED8CD-3C15-660F-295E-3BB37CA4CF8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03D64B3-5C14-137E-5DDF-AFD287CABCFA}"/>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77CDE3AE-2761-810E-6673-5F215E5612E5}"/>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2677C8CE-70DC-427D-1F2B-39F745EF8BD8}"/>
              </a:ext>
            </a:extLst>
          </p:cNvPr>
          <p:cNvSpPr>
            <a:spLocks noGrp="1"/>
          </p:cNvSpPr>
          <p:nvPr>
            <p:ph type="sldNum" sz="quarter" idx="5"/>
          </p:nvPr>
        </p:nvSpPr>
        <p:spPr/>
        <p:txBody>
          <a:bodyPr/>
          <a:lstStyle/>
          <a:p>
            <a:fld id="{444A2CF4-4583-4E21-9663-519665C8CE5D}" type="slidenum">
              <a:rPr lang="es-PE" smtClean="0"/>
              <a:t>30</a:t>
            </a:fld>
            <a:endParaRPr lang="es-PE"/>
          </a:p>
        </p:txBody>
      </p:sp>
    </p:spTree>
    <p:extLst>
      <p:ext uri="{BB962C8B-B14F-4D97-AF65-F5344CB8AC3E}">
        <p14:creationId xmlns:p14="http://schemas.microsoft.com/office/powerpoint/2010/main" val="36468823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041414-F1EC-8681-93CE-1A0DD28BE95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649D8C2-E3B7-D25E-1AC6-EACB05D5E670}"/>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858DE9F3-19C5-3261-2763-C07012CB1DE3}"/>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652F0981-E2EF-33FE-7E6B-4FF4347FC1C0}"/>
              </a:ext>
            </a:extLst>
          </p:cNvPr>
          <p:cNvSpPr>
            <a:spLocks noGrp="1"/>
          </p:cNvSpPr>
          <p:nvPr>
            <p:ph type="sldNum" sz="quarter" idx="5"/>
          </p:nvPr>
        </p:nvSpPr>
        <p:spPr/>
        <p:txBody>
          <a:bodyPr/>
          <a:lstStyle/>
          <a:p>
            <a:fld id="{444A2CF4-4583-4E21-9663-519665C8CE5D}" type="slidenum">
              <a:rPr lang="es-PE" smtClean="0"/>
              <a:t>31</a:t>
            </a:fld>
            <a:endParaRPr lang="es-PE"/>
          </a:p>
        </p:txBody>
      </p:sp>
    </p:spTree>
    <p:extLst>
      <p:ext uri="{BB962C8B-B14F-4D97-AF65-F5344CB8AC3E}">
        <p14:creationId xmlns:p14="http://schemas.microsoft.com/office/powerpoint/2010/main" val="31509745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C8ED9B-4981-581D-5FCC-90DA05BEFAB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3F7A4B6-6EAB-31C8-EB64-FE681A1E3BED}"/>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93F0A343-E584-F76F-4B8E-0DE36FD34BAB}"/>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92629ED5-0F04-CBA7-4956-47F758B96A62}"/>
              </a:ext>
            </a:extLst>
          </p:cNvPr>
          <p:cNvSpPr>
            <a:spLocks noGrp="1"/>
          </p:cNvSpPr>
          <p:nvPr>
            <p:ph type="sldNum" sz="quarter" idx="5"/>
          </p:nvPr>
        </p:nvSpPr>
        <p:spPr/>
        <p:txBody>
          <a:bodyPr/>
          <a:lstStyle/>
          <a:p>
            <a:fld id="{444A2CF4-4583-4E21-9663-519665C8CE5D}" type="slidenum">
              <a:rPr lang="es-PE" smtClean="0"/>
              <a:t>32</a:t>
            </a:fld>
            <a:endParaRPr lang="es-PE"/>
          </a:p>
        </p:txBody>
      </p:sp>
    </p:spTree>
    <p:extLst>
      <p:ext uri="{BB962C8B-B14F-4D97-AF65-F5344CB8AC3E}">
        <p14:creationId xmlns:p14="http://schemas.microsoft.com/office/powerpoint/2010/main" val="21024830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A0E717-EB01-9ED2-8815-09DC45A66D1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52FEA41-3848-A88E-8155-16B29B9FA6C0}"/>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50482FF1-9DBA-2A77-CFAB-DEF18D3219A2}"/>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DEFDB3D3-E5C2-FB25-1230-51B0C9195D27}"/>
              </a:ext>
            </a:extLst>
          </p:cNvPr>
          <p:cNvSpPr>
            <a:spLocks noGrp="1"/>
          </p:cNvSpPr>
          <p:nvPr>
            <p:ph type="sldNum" sz="quarter" idx="5"/>
          </p:nvPr>
        </p:nvSpPr>
        <p:spPr/>
        <p:txBody>
          <a:bodyPr/>
          <a:lstStyle/>
          <a:p>
            <a:fld id="{444A2CF4-4583-4E21-9663-519665C8CE5D}" type="slidenum">
              <a:rPr lang="es-PE" smtClean="0"/>
              <a:t>33</a:t>
            </a:fld>
            <a:endParaRPr lang="es-PE"/>
          </a:p>
        </p:txBody>
      </p:sp>
    </p:spTree>
    <p:extLst>
      <p:ext uri="{BB962C8B-B14F-4D97-AF65-F5344CB8AC3E}">
        <p14:creationId xmlns:p14="http://schemas.microsoft.com/office/powerpoint/2010/main" val="40487017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03938-89C9-2F41-A119-F154970CAE5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28BD850-69E5-96AA-C391-982050A9CBD9}"/>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BC6E1E3A-0D5C-FD19-73E5-FB4A3B6A65B0}"/>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3CD43A3C-B5D4-9762-4D5F-C3ECA53D3A95}"/>
              </a:ext>
            </a:extLst>
          </p:cNvPr>
          <p:cNvSpPr>
            <a:spLocks noGrp="1"/>
          </p:cNvSpPr>
          <p:nvPr>
            <p:ph type="sldNum" sz="quarter" idx="5"/>
          </p:nvPr>
        </p:nvSpPr>
        <p:spPr/>
        <p:txBody>
          <a:bodyPr/>
          <a:lstStyle/>
          <a:p>
            <a:fld id="{444A2CF4-4583-4E21-9663-519665C8CE5D}" type="slidenum">
              <a:rPr lang="es-PE" smtClean="0"/>
              <a:t>34</a:t>
            </a:fld>
            <a:endParaRPr lang="es-PE"/>
          </a:p>
        </p:txBody>
      </p:sp>
    </p:spTree>
    <p:extLst>
      <p:ext uri="{BB962C8B-B14F-4D97-AF65-F5344CB8AC3E}">
        <p14:creationId xmlns:p14="http://schemas.microsoft.com/office/powerpoint/2010/main" val="29483712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5B1CB5-8EDD-4088-E813-DA6B01A10EB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1BF52B5-30A0-C777-82EE-222B4D2E944E}"/>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51240CA2-3836-9BE6-78C9-0B9ABB980497}"/>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388E214F-B4B7-D7CB-9659-E363C707E444}"/>
              </a:ext>
            </a:extLst>
          </p:cNvPr>
          <p:cNvSpPr>
            <a:spLocks noGrp="1"/>
          </p:cNvSpPr>
          <p:nvPr>
            <p:ph type="sldNum" sz="quarter" idx="5"/>
          </p:nvPr>
        </p:nvSpPr>
        <p:spPr/>
        <p:txBody>
          <a:bodyPr/>
          <a:lstStyle/>
          <a:p>
            <a:fld id="{444A2CF4-4583-4E21-9663-519665C8CE5D}" type="slidenum">
              <a:rPr lang="es-PE" smtClean="0"/>
              <a:t>35</a:t>
            </a:fld>
            <a:endParaRPr lang="es-PE"/>
          </a:p>
        </p:txBody>
      </p:sp>
    </p:spTree>
    <p:extLst>
      <p:ext uri="{BB962C8B-B14F-4D97-AF65-F5344CB8AC3E}">
        <p14:creationId xmlns:p14="http://schemas.microsoft.com/office/powerpoint/2010/main" val="29081913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3DFE5B-33C1-CD48-7941-8672CFEC4ED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C5FEEEC-263D-55CA-F86E-2FCBEA3DE4A2}"/>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4F58D6D2-352A-EB31-42CE-C1262E63B945}"/>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83CB953F-10C5-7666-B46B-CE3B61D38776}"/>
              </a:ext>
            </a:extLst>
          </p:cNvPr>
          <p:cNvSpPr>
            <a:spLocks noGrp="1"/>
          </p:cNvSpPr>
          <p:nvPr>
            <p:ph type="sldNum" sz="quarter" idx="5"/>
          </p:nvPr>
        </p:nvSpPr>
        <p:spPr/>
        <p:txBody>
          <a:bodyPr/>
          <a:lstStyle/>
          <a:p>
            <a:fld id="{444A2CF4-4583-4E21-9663-519665C8CE5D}" type="slidenum">
              <a:rPr lang="es-PE" smtClean="0"/>
              <a:t>3</a:t>
            </a:fld>
            <a:endParaRPr lang="es-PE"/>
          </a:p>
        </p:txBody>
      </p:sp>
    </p:spTree>
    <p:extLst>
      <p:ext uri="{BB962C8B-B14F-4D97-AF65-F5344CB8AC3E}">
        <p14:creationId xmlns:p14="http://schemas.microsoft.com/office/powerpoint/2010/main" val="7885285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345A0A-292C-F7CE-E2F9-C0AFD2EA093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A83BA1E-B31D-4BB5-417F-46386F5C6D6E}"/>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1B2DD4A7-5D0A-280E-58F7-4746FBEDEA36}"/>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1E4B3A44-0730-8C52-62B6-D819C318613E}"/>
              </a:ext>
            </a:extLst>
          </p:cNvPr>
          <p:cNvSpPr>
            <a:spLocks noGrp="1"/>
          </p:cNvSpPr>
          <p:nvPr>
            <p:ph type="sldNum" sz="quarter" idx="5"/>
          </p:nvPr>
        </p:nvSpPr>
        <p:spPr/>
        <p:txBody>
          <a:bodyPr/>
          <a:lstStyle/>
          <a:p>
            <a:fld id="{444A2CF4-4583-4E21-9663-519665C8CE5D}" type="slidenum">
              <a:rPr lang="es-PE" smtClean="0"/>
              <a:t>36</a:t>
            </a:fld>
            <a:endParaRPr lang="es-PE"/>
          </a:p>
        </p:txBody>
      </p:sp>
    </p:spTree>
    <p:extLst>
      <p:ext uri="{BB962C8B-B14F-4D97-AF65-F5344CB8AC3E}">
        <p14:creationId xmlns:p14="http://schemas.microsoft.com/office/powerpoint/2010/main" val="40532262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7153C2-96E2-6B40-12FA-D9E9078AF78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C59679B-6483-EDF6-8D1C-23107A576052}"/>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66A4F372-D948-5DBA-E6EB-4D601EC73FF8}"/>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826A04A7-CCA0-E5AD-469F-1D13FC36AC36}"/>
              </a:ext>
            </a:extLst>
          </p:cNvPr>
          <p:cNvSpPr>
            <a:spLocks noGrp="1"/>
          </p:cNvSpPr>
          <p:nvPr>
            <p:ph type="sldNum" sz="quarter" idx="5"/>
          </p:nvPr>
        </p:nvSpPr>
        <p:spPr/>
        <p:txBody>
          <a:bodyPr/>
          <a:lstStyle/>
          <a:p>
            <a:fld id="{444A2CF4-4583-4E21-9663-519665C8CE5D}" type="slidenum">
              <a:rPr lang="es-PE" smtClean="0"/>
              <a:t>37</a:t>
            </a:fld>
            <a:endParaRPr lang="es-PE"/>
          </a:p>
        </p:txBody>
      </p:sp>
    </p:spTree>
    <p:extLst>
      <p:ext uri="{BB962C8B-B14F-4D97-AF65-F5344CB8AC3E}">
        <p14:creationId xmlns:p14="http://schemas.microsoft.com/office/powerpoint/2010/main" val="11702444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99C22-C0CD-7FC8-F4A5-DCB768EE2E8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9210E19-9B91-FC09-3125-F8B930CEEB74}"/>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0DACB551-D862-9A09-2ABE-614E076DE177}"/>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AC9D83D3-D2B6-A75E-178A-8692009038E7}"/>
              </a:ext>
            </a:extLst>
          </p:cNvPr>
          <p:cNvSpPr>
            <a:spLocks noGrp="1"/>
          </p:cNvSpPr>
          <p:nvPr>
            <p:ph type="sldNum" sz="quarter" idx="5"/>
          </p:nvPr>
        </p:nvSpPr>
        <p:spPr/>
        <p:txBody>
          <a:bodyPr/>
          <a:lstStyle/>
          <a:p>
            <a:fld id="{444A2CF4-4583-4E21-9663-519665C8CE5D}" type="slidenum">
              <a:rPr lang="es-PE" smtClean="0"/>
              <a:t>38</a:t>
            </a:fld>
            <a:endParaRPr lang="es-PE"/>
          </a:p>
        </p:txBody>
      </p:sp>
    </p:spTree>
    <p:extLst>
      <p:ext uri="{BB962C8B-B14F-4D97-AF65-F5344CB8AC3E}">
        <p14:creationId xmlns:p14="http://schemas.microsoft.com/office/powerpoint/2010/main" val="2658378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CF9E81-B9FA-4138-A844-843FDD1D871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AACCB72-FC64-6D28-E36E-0B271D13BA4B}"/>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FFBC95C2-3879-1612-A8BE-91638565EDCD}"/>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71294853-47E7-1FA6-1386-752336D05629}"/>
              </a:ext>
            </a:extLst>
          </p:cNvPr>
          <p:cNvSpPr>
            <a:spLocks noGrp="1"/>
          </p:cNvSpPr>
          <p:nvPr>
            <p:ph type="sldNum" sz="quarter" idx="5"/>
          </p:nvPr>
        </p:nvSpPr>
        <p:spPr/>
        <p:txBody>
          <a:bodyPr/>
          <a:lstStyle/>
          <a:p>
            <a:fld id="{444A2CF4-4583-4E21-9663-519665C8CE5D}" type="slidenum">
              <a:rPr lang="es-PE" smtClean="0"/>
              <a:t>39</a:t>
            </a:fld>
            <a:endParaRPr lang="es-PE"/>
          </a:p>
        </p:txBody>
      </p:sp>
    </p:spTree>
    <p:extLst>
      <p:ext uri="{BB962C8B-B14F-4D97-AF65-F5344CB8AC3E}">
        <p14:creationId xmlns:p14="http://schemas.microsoft.com/office/powerpoint/2010/main" val="427269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DD099B-C7E2-7696-25D9-A6FF0DCA55D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C195E5D-1B3C-4C79-A192-321FCDBFF421}"/>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6F459B12-D337-FF99-BCB5-79A150444549}"/>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59489C98-4346-2FBC-F512-16508CE948B1}"/>
              </a:ext>
            </a:extLst>
          </p:cNvPr>
          <p:cNvSpPr>
            <a:spLocks noGrp="1"/>
          </p:cNvSpPr>
          <p:nvPr>
            <p:ph type="sldNum" sz="quarter" idx="5"/>
          </p:nvPr>
        </p:nvSpPr>
        <p:spPr/>
        <p:txBody>
          <a:bodyPr/>
          <a:lstStyle/>
          <a:p>
            <a:fld id="{444A2CF4-4583-4E21-9663-519665C8CE5D}" type="slidenum">
              <a:rPr lang="es-PE" smtClean="0"/>
              <a:t>40</a:t>
            </a:fld>
            <a:endParaRPr lang="es-PE"/>
          </a:p>
        </p:txBody>
      </p:sp>
    </p:spTree>
    <p:extLst>
      <p:ext uri="{BB962C8B-B14F-4D97-AF65-F5344CB8AC3E}">
        <p14:creationId xmlns:p14="http://schemas.microsoft.com/office/powerpoint/2010/main" val="24732851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F0BC22-D933-D317-E405-646B45D70FE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83B40F2-8218-B79D-68FE-C178A7EA0249}"/>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FBCF4BE2-5CDD-2BE8-C160-5525C6A32B92}"/>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BEF14ED1-10D4-9BF7-2CEC-D03B9CBF7645}"/>
              </a:ext>
            </a:extLst>
          </p:cNvPr>
          <p:cNvSpPr>
            <a:spLocks noGrp="1"/>
          </p:cNvSpPr>
          <p:nvPr>
            <p:ph type="sldNum" sz="quarter" idx="5"/>
          </p:nvPr>
        </p:nvSpPr>
        <p:spPr/>
        <p:txBody>
          <a:bodyPr/>
          <a:lstStyle/>
          <a:p>
            <a:fld id="{444A2CF4-4583-4E21-9663-519665C8CE5D}" type="slidenum">
              <a:rPr lang="es-PE" smtClean="0"/>
              <a:t>41</a:t>
            </a:fld>
            <a:endParaRPr lang="es-PE"/>
          </a:p>
        </p:txBody>
      </p:sp>
    </p:spTree>
    <p:extLst>
      <p:ext uri="{BB962C8B-B14F-4D97-AF65-F5344CB8AC3E}">
        <p14:creationId xmlns:p14="http://schemas.microsoft.com/office/powerpoint/2010/main" val="16580062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9ADE45-3C7C-5FC0-E3A5-32AFB398DC1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0550392-6BC0-2F94-E125-C5AFEA973FCC}"/>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FF856796-3092-961E-6B69-67AB06F09ADE}"/>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D5F6C23E-7B3E-40DE-D552-E8B2BA313F23}"/>
              </a:ext>
            </a:extLst>
          </p:cNvPr>
          <p:cNvSpPr>
            <a:spLocks noGrp="1"/>
          </p:cNvSpPr>
          <p:nvPr>
            <p:ph type="sldNum" sz="quarter" idx="5"/>
          </p:nvPr>
        </p:nvSpPr>
        <p:spPr/>
        <p:txBody>
          <a:bodyPr/>
          <a:lstStyle/>
          <a:p>
            <a:fld id="{444A2CF4-4583-4E21-9663-519665C8CE5D}" type="slidenum">
              <a:rPr lang="es-PE" smtClean="0"/>
              <a:t>42</a:t>
            </a:fld>
            <a:endParaRPr lang="es-PE"/>
          </a:p>
        </p:txBody>
      </p:sp>
    </p:spTree>
    <p:extLst>
      <p:ext uri="{BB962C8B-B14F-4D97-AF65-F5344CB8AC3E}">
        <p14:creationId xmlns:p14="http://schemas.microsoft.com/office/powerpoint/2010/main" val="4563304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8EB874-1C42-D1C3-884E-0890DBF1FCE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42E89BD-76DC-CC62-C8BA-6D30001470F0}"/>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6C240375-AFE6-700D-5FEC-DCA5E7C7A512}"/>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414A3483-6E04-F7A0-8C69-18086F1790B8}"/>
              </a:ext>
            </a:extLst>
          </p:cNvPr>
          <p:cNvSpPr>
            <a:spLocks noGrp="1"/>
          </p:cNvSpPr>
          <p:nvPr>
            <p:ph type="sldNum" sz="quarter" idx="5"/>
          </p:nvPr>
        </p:nvSpPr>
        <p:spPr/>
        <p:txBody>
          <a:bodyPr/>
          <a:lstStyle/>
          <a:p>
            <a:fld id="{444A2CF4-4583-4E21-9663-519665C8CE5D}" type="slidenum">
              <a:rPr lang="es-PE" smtClean="0"/>
              <a:t>43</a:t>
            </a:fld>
            <a:endParaRPr lang="es-PE"/>
          </a:p>
        </p:txBody>
      </p:sp>
    </p:spTree>
    <p:extLst>
      <p:ext uri="{BB962C8B-B14F-4D97-AF65-F5344CB8AC3E}">
        <p14:creationId xmlns:p14="http://schemas.microsoft.com/office/powerpoint/2010/main" val="32787040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A563BD-546B-0CC1-8CE2-49D7E908872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1C129B4-6FCF-42D3-F8AB-F935B4DDC8DD}"/>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14097282-0C00-202C-1BCB-ACC12470594C}"/>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5367CCE4-780A-8095-FBB7-86BEA1EBBEE2}"/>
              </a:ext>
            </a:extLst>
          </p:cNvPr>
          <p:cNvSpPr>
            <a:spLocks noGrp="1"/>
          </p:cNvSpPr>
          <p:nvPr>
            <p:ph type="sldNum" sz="quarter" idx="5"/>
          </p:nvPr>
        </p:nvSpPr>
        <p:spPr/>
        <p:txBody>
          <a:bodyPr/>
          <a:lstStyle/>
          <a:p>
            <a:fld id="{444A2CF4-4583-4E21-9663-519665C8CE5D}" type="slidenum">
              <a:rPr lang="es-PE" smtClean="0"/>
              <a:t>44</a:t>
            </a:fld>
            <a:endParaRPr lang="es-PE"/>
          </a:p>
        </p:txBody>
      </p:sp>
    </p:spTree>
    <p:extLst>
      <p:ext uri="{BB962C8B-B14F-4D97-AF65-F5344CB8AC3E}">
        <p14:creationId xmlns:p14="http://schemas.microsoft.com/office/powerpoint/2010/main" val="15763022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562C-E48E-95E5-0A50-2530CEE85A7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CBEDCE7-1DB6-23ED-FF89-DFFC45DC7F5B}"/>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27185518-BB85-55AB-8B2A-F1565A43A8CC}"/>
              </a:ext>
            </a:extLst>
          </p:cNvPr>
          <p:cNvSpPr>
            <a:spLocks noGrp="1"/>
          </p:cNvSpPr>
          <p:nvPr>
            <p:ph type="body" idx="1"/>
          </p:nvPr>
        </p:nvSpPr>
        <p:spPr/>
        <p:txBody>
          <a:bodyPr/>
          <a:lstStyle/>
          <a:p>
            <a:endParaRPr lang="es-MX"/>
          </a:p>
        </p:txBody>
      </p:sp>
      <p:sp>
        <p:nvSpPr>
          <p:cNvPr id="4" name="Marcador de número de diapositiva 3">
            <a:extLst>
              <a:ext uri="{FF2B5EF4-FFF2-40B4-BE49-F238E27FC236}">
                <a16:creationId xmlns:a16="http://schemas.microsoft.com/office/drawing/2014/main" id="{5D4DE116-755F-1C62-013C-174ABDDC6E4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2350B3-24BC-4CF1-9A3C-1DE9B2F439A1}"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33540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999F9-7157-2FD8-22C3-37C9E781F46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C015E05-9184-C34C-E231-0C75E27C4DA5}"/>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E3816A7D-4DE0-8DE3-CF4F-C07082884CCA}"/>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1C3FAA5B-550E-AB58-BD60-C848C9009753}"/>
              </a:ext>
            </a:extLst>
          </p:cNvPr>
          <p:cNvSpPr>
            <a:spLocks noGrp="1"/>
          </p:cNvSpPr>
          <p:nvPr>
            <p:ph type="sldNum" sz="quarter" idx="5"/>
          </p:nvPr>
        </p:nvSpPr>
        <p:spPr/>
        <p:txBody>
          <a:bodyPr/>
          <a:lstStyle/>
          <a:p>
            <a:fld id="{444A2CF4-4583-4E21-9663-519665C8CE5D}" type="slidenum">
              <a:rPr lang="es-PE" smtClean="0"/>
              <a:t>4</a:t>
            </a:fld>
            <a:endParaRPr lang="es-PE"/>
          </a:p>
        </p:txBody>
      </p:sp>
    </p:spTree>
    <p:extLst>
      <p:ext uri="{BB962C8B-B14F-4D97-AF65-F5344CB8AC3E}">
        <p14:creationId xmlns:p14="http://schemas.microsoft.com/office/powerpoint/2010/main" val="163692616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8E68EB-9605-F20E-6E7A-67B860D34FB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45B1150-11AA-2A4A-8378-070554B1CCBC}"/>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A574C845-8388-74F7-5473-23A79DD174F0}"/>
              </a:ext>
            </a:extLst>
          </p:cNvPr>
          <p:cNvSpPr>
            <a:spLocks noGrp="1"/>
          </p:cNvSpPr>
          <p:nvPr>
            <p:ph type="body" idx="1"/>
          </p:nvPr>
        </p:nvSpPr>
        <p:spPr/>
        <p:txBody>
          <a:bodyPr/>
          <a:lstStyle/>
          <a:p>
            <a:endParaRPr lang="es-MX"/>
          </a:p>
        </p:txBody>
      </p:sp>
      <p:sp>
        <p:nvSpPr>
          <p:cNvPr id="4" name="Marcador de número de diapositiva 3">
            <a:extLst>
              <a:ext uri="{FF2B5EF4-FFF2-40B4-BE49-F238E27FC236}">
                <a16:creationId xmlns:a16="http://schemas.microsoft.com/office/drawing/2014/main" id="{E1181B69-CCAB-901A-257D-422270EA11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2350B3-24BC-4CF1-9A3C-1DE9B2F439A1}"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39233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F657A5-3344-8D65-1F42-3624EA46808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35F8FF9-667E-21DC-CCD3-2865D72A8CDF}"/>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7D81C819-4818-B9CE-3B66-01991BBBCDEB}"/>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53B4150D-C48F-8880-3AA6-570944F3687E}"/>
              </a:ext>
            </a:extLst>
          </p:cNvPr>
          <p:cNvSpPr>
            <a:spLocks noGrp="1"/>
          </p:cNvSpPr>
          <p:nvPr>
            <p:ph type="sldNum" sz="quarter" idx="5"/>
          </p:nvPr>
        </p:nvSpPr>
        <p:spPr/>
        <p:txBody>
          <a:bodyPr/>
          <a:lstStyle/>
          <a:p>
            <a:fld id="{444A2CF4-4583-4E21-9663-519665C8CE5D}" type="slidenum">
              <a:rPr lang="es-PE" smtClean="0"/>
              <a:t>5</a:t>
            </a:fld>
            <a:endParaRPr lang="es-PE"/>
          </a:p>
        </p:txBody>
      </p:sp>
    </p:spTree>
    <p:extLst>
      <p:ext uri="{BB962C8B-B14F-4D97-AF65-F5344CB8AC3E}">
        <p14:creationId xmlns:p14="http://schemas.microsoft.com/office/powerpoint/2010/main" val="1831663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txBody>
          <a:bodyPr/>
          <a:lstStyle/>
          <a:p>
            <a:endParaRPr lang="es-PE"/>
          </a:p>
        </p:txBody>
      </p:sp>
      <p:sp>
        <p:nvSpPr>
          <p:cNvPr id="3" name="Marcador de notas 2"/>
          <p:cNvSpPr>
            <a:spLocks noGrp="1"/>
          </p:cNvSpPr>
          <p:nvPr>
            <p:ph type="body" idx="1"/>
          </p:nvPr>
        </p:nvSpPr>
        <p:spPr/>
        <p:txBody>
          <a:bodyPr/>
          <a:lstStyle/>
          <a:p>
            <a:endParaRPr lang="es-PE"/>
          </a:p>
        </p:txBody>
      </p:sp>
      <p:sp>
        <p:nvSpPr>
          <p:cNvPr id="4" name="Marcador de número de diapositiva 3"/>
          <p:cNvSpPr>
            <a:spLocks noGrp="1"/>
          </p:cNvSpPr>
          <p:nvPr>
            <p:ph type="sldNum" sz="quarter" idx="5"/>
          </p:nvPr>
        </p:nvSpPr>
        <p:spPr/>
        <p:txBody>
          <a:bodyPr/>
          <a:lstStyle/>
          <a:p>
            <a:fld id="{83754F36-A170-448A-83BB-072D4405C3B7}" type="slidenum">
              <a:rPr lang="es-PE" smtClean="0"/>
              <a:t>6</a:t>
            </a:fld>
            <a:endParaRPr lang="es-PE"/>
          </a:p>
        </p:txBody>
      </p:sp>
    </p:spTree>
    <p:extLst>
      <p:ext uri="{BB962C8B-B14F-4D97-AF65-F5344CB8AC3E}">
        <p14:creationId xmlns:p14="http://schemas.microsoft.com/office/powerpoint/2010/main" val="11169595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D43772-4C2C-4571-8299-4B65E34A9C5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6EA6895-6405-A408-6D11-132E62C88294}"/>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00150A9C-5613-D4CF-F586-AB7D211676A6}"/>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807337FF-B078-2E4D-D058-3DE97EA82D68}"/>
              </a:ext>
            </a:extLst>
          </p:cNvPr>
          <p:cNvSpPr>
            <a:spLocks noGrp="1"/>
          </p:cNvSpPr>
          <p:nvPr>
            <p:ph type="sldNum" sz="quarter" idx="5"/>
          </p:nvPr>
        </p:nvSpPr>
        <p:spPr/>
        <p:txBody>
          <a:bodyPr/>
          <a:lstStyle/>
          <a:p>
            <a:fld id="{444A2CF4-4583-4E21-9663-519665C8CE5D}" type="slidenum">
              <a:rPr lang="es-PE" smtClean="0"/>
              <a:t>10</a:t>
            </a:fld>
            <a:endParaRPr lang="es-PE"/>
          </a:p>
        </p:txBody>
      </p:sp>
    </p:spTree>
    <p:extLst>
      <p:ext uri="{BB962C8B-B14F-4D97-AF65-F5344CB8AC3E}">
        <p14:creationId xmlns:p14="http://schemas.microsoft.com/office/powerpoint/2010/main" val="707486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A84178-FF99-C245-6772-C01A8AA7175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A2CCED3-7BB3-F121-29C3-1268AAF603D9}"/>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63BA23FA-B529-9C6B-B8CF-51EC20F4C41C}"/>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522FBAE0-EE4D-4682-B24E-C450B79209D6}"/>
              </a:ext>
            </a:extLst>
          </p:cNvPr>
          <p:cNvSpPr>
            <a:spLocks noGrp="1"/>
          </p:cNvSpPr>
          <p:nvPr>
            <p:ph type="sldNum" sz="quarter" idx="5"/>
          </p:nvPr>
        </p:nvSpPr>
        <p:spPr/>
        <p:txBody>
          <a:bodyPr/>
          <a:lstStyle/>
          <a:p>
            <a:fld id="{444A2CF4-4583-4E21-9663-519665C8CE5D}" type="slidenum">
              <a:rPr lang="es-PE" smtClean="0"/>
              <a:t>12</a:t>
            </a:fld>
            <a:endParaRPr lang="es-PE"/>
          </a:p>
        </p:txBody>
      </p:sp>
    </p:spTree>
    <p:extLst>
      <p:ext uri="{BB962C8B-B14F-4D97-AF65-F5344CB8AC3E}">
        <p14:creationId xmlns:p14="http://schemas.microsoft.com/office/powerpoint/2010/main" val="1976508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9C4EFD-595C-1311-F04A-D44EB04E1CF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8FCBF32-83E0-0E05-0B98-B71E1D6090A3}"/>
              </a:ext>
            </a:extLst>
          </p:cNvPr>
          <p:cNvSpPr>
            <a:spLocks noGrp="1" noRot="1" noChangeAspect="1"/>
          </p:cNvSpPr>
          <p:nvPr>
            <p:ph type="sldImg"/>
          </p:nvPr>
        </p:nvSpPr>
        <p:spPr/>
        <p:txBody>
          <a:bodyPr/>
          <a:lstStyle/>
          <a:p>
            <a:endParaRPr lang="es-PE"/>
          </a:p>
        </p:txBody>
      </p:sp>
      <p:sp>
        <p:nvSpPr>
          <p:cNvPr id="3" name="Marcador de notas 2">
            <a:extLst>
              <a:ext uri="{FF2B5EF4-FFF2-40B4-BE49-F238E27FC236}">
                <a16:creationId xmlns:a16="http://schemas.microsoft.com/office/drawing/2014/main" id="{8F65E4A5-6046-96D9-D6ED-0A19748E6A0C}"/>
              </a:ext>
            </a:extLst>
          </p:cNvPr>
          <p:cNvSpPr>
            <a:spLocks noGrp="1"/>
          </p:cNvSpPr>
          <p:nvPr>
            <p:ph type="body" idx="1"/>
          </p:nvPr>
        </p:nvSpPr>
        <p:spPr/>
        <p:txBody>
          <a:bodyPr/>
          <a:lstStyle/>
          <a:p>
            <a:pPr marL="342900" indent="-342900" algn="l">
              <a:buAutoNum type="arabicPeriod"/>
            </a:pPr>
            <a:r>
              <a:rPr lang="es-MX" sz="900"/>
              <a:t>Abrir por bloque</a:t>
            </a:r>
          </a:p>
          <a:p>
            <a:pPr marL="342900" indent="-342900" algn="l">
              <a:buAutoNum type="arabicPeriod"/>
            </a:pPr>
            <a:r>
              <a:rPr lang="es-MX" sz="900"/>
              <a:t>Incluir los </a:t>
            </a:r>
            <a:r>
              <a:rPr lang="es-MX" sz="900" err="1"/>
              <a:t>building</a:t>
            </a:r>
            <a:r>
              <a:rPr lang="es-MX" sz="900"/>
              <a:t> blocks en cada bloque</a:t>
            </a:r>
          </a:p>
          <a:p>
            <a:pPr marL="342900" indent="-342900" algn="l">
              <a:buAutoNum type="arabicPeriod"/>
            </a:pPr>
            <a:r>
              <a:rPr lang="es-MX" sz="900"/>
              <a:t>Que aparezcan por bloques</a:t>
            </a:r>
          </a:p>
          <a:p>
            <a:pPr marL="342900" indent="-342900" algn="l">
              <a:buAutoNum type="arabicPeriod"/>
            </a:pPr>
            <a:r>
              <a:rPr lang="es-MX" sz="900"/>
              <a:t>Al final la columna de la derecha</a:t>
            </a:r>
          </a:p>
          <a:p>
            <a:endParaRPr lang="es-PE"/>
          </a:p>
        </p:txBody>
      </p:sp>
      <p:sp>
        <p:nvSpPr>
          <p:cNvPr id="4" name="Marcador de número de diapositiva 3">
            <a:extLst>
              <a:ext uri="{FF2B5EF4-FFF2-40B4-BE49-F238E27FC236}">
                <a16:creationId xmlns:a16="http://schemas.microsoft.com/office/drawing/2014/main" id="{81D9FF91-C66C-16C4-961B-C5BF75C13D21}"/>
              </a:ext>
            </a:extLst>
          </p:cNvPr>
          <p:cNvSpPr>
            <a:spLocks noGrp="1"/>
          </p:cNvSpPr>
          <p:nvPr>
            <p:ph type="sldNum" sz="quarter" idx="5"/>
          </p:nvPr>
        </p:nvSpPr>
        <p:spPr/>
        <p:txBody>
          <a:bodyPr/>
          <a:lstStyle/>
          <a:p>
            <a:fld id="{444A2CF4-4583-4E21-9663-519665C8CE5D}" type="slidenum">
              <a:rPr lang="es-PE" smtClean="0"/>
              <a:t>13</a:t>
            </a:fld>
            <a:endParaRPr lang="es-PE"/>
          </a:p>
        </p:txBody>
      </p:sp>
    </p:spTree>
    <p:extLst>
      <p:ext uri="{BB962C8B-B14F-4D97-AF65-F5344CB8AC3E}">
        <p14:creationId xmlns:p14="http://schemas.microsoft.com/office/powerpoint/2010/main" val="3655397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48.sv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7.png"/><Relationship Id="rId1" Type="http://schemas.openxmlformats.org/officeDocument/2006/relationships/slideMaster" Target="../slideMasters/slideMaster7.xml"/><Relationship Id="rId4" Type="http://schemas.openxmlformats.org/officeDocument/2006/relationships/image" Target="../media/image48.sv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8.png"/><Relationship Id="rId1" Type="http://schemas.openxmlformats.org/officeDocument/2006/relationships/slideMaster" Target="../slideMasters/slideMaster7.xml"/><Relationship Id="rId4" Type="http://schemas.openxmlformats.org/officeDocument/2006/relationships/image" Target="../media/image48.sv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9.png"/><Relationship Id="rId1" Type="http://schemas.openxmlformats.org/officeDocument/2006/relationships/slideMaster" Target="../slideMasters/slideMaster7.xml"/><Relationship Id="rId4" Type="http://schemas.openxmlformats.org/officeDocument/2006/relationships/image" Target="../media/image48.sv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png"/><Relationship Id="rId1" Type="http://schemas.openxmlformats.org/officeDocument/2006/relationships/slideMaster" Target="../slideMasters/slideMaster7.xml"/><Relationship Id="rId4" Type="http://schemas.openxmlformats.org/officeDocument/2006/relationships/image" Target="../media/image48.sv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1.png"/><Relationship Id="rId1" Type="http://schemas.openxmlformats.org/officeDocument/2006/relationships/slideMaster" Target="../slideMasters/slideMaster7.xml"/><Relationship Id="rId4" Type="http://schemas.openxmlformats.org/officeDocument/2006/relationships/image" Target="../media/image48.sv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2.png"/><Relationship Id="rId1" Type="http://schemas.openxmlformats.org/officeDocument/2006/relationships/slideMaster" Target="../slideMasters/slideMaster7.xml"/><Relationship Id="rId4" Type="http://schemas.openxmlformats.org/officeDocument/2006/relationships/image" Target="../media/image48.sv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3.png"/><Relationship Id="rId1" Type="http://schemas.openxmlformats.org/officeDocument/2006/relationships/slideMaster" Target="../slideMasters/slideMaster7.xml"/><Relationship Id="rId4" Type="http://schemas.openxmlformats.org/officeDocument/2006/relationships/image" Target="../media/image48.sv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4.png"/><Relationship Id="rId1" Type="http://schemas.openxmlformats.org/officeDocument/2006/relationships/slideMaster" Target="../slideMasters/slideMaster7.xml"/><Relationship Id="rId4" Type="http://schemas.openxmlformats.org/officeDocument/2006/relationships/image" Target="../media/image48.sv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5.png"/><Relationship Id="rId1" Type="http://schemas.openxmlformats.org/officeDocument/2006/relationships/slideMaster" Target="../slideMasters/slideMaster7.xml"/><Relationship Id="rId4" Type="http://schemas.openxmlformats.org/officeDocument/2006/relationships/image" Target="../media/image48.sv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7.xml"/><Relationship Id="rId4" Type="http://schemas.openxmlformats.org/officeDocument/2006/relationships/image" Target="../media/image48.sv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oleObject" Target="../embeddings/oleObject3.bin"/><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15.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image" Target="../media/image14.png"/><Relationship Id="rId5" Type="http://schemas.openxmlformats.org/officeDocument/2006/relationships/tags" Target="../tags/tag30.xml"/><Relationship Id="rId10" Type="http://schemas.openxmlformats.org/officeDocument/2006/relationships/image" Target="../media/image13.png"/><Relationship Id="rId4" Type="http://schemas.openxmlformats.org/officeDocument/2006/relationships/tags" Target="../tags/tag29.xml"/><Relationship Id="rId9" Type="http://schemas.openxmlformats.org/officeDocument/2006/relationships/slideMaster" Target="../slideMasters/slideMaster3.xml"/><Relationship Id="rId1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image" Target="../media/image16.emf"/><Relationship Id="rId4" Type="http://schemas.openxmlformats.org/officeDocument/2006/relationships/tags" Target="../tags/tag37.xml"/><Relationship Id="rId9" Type="http://schemas.openxmlformats.org/officeDocument/2006/relationships/oleObject" Target="../embeddings/oleObject4.bin"/></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slideMaster" Target="../slideMasters/slideMaster3.xml"/><Relationship Id="rId4"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slideMaster" Target="../slideMasters/slideMaster3.xml"/><Relationship Id="rId4" Type="http://schemas.openxmlformats.org/officeDocument/2006/relationships/tags" Target="../tags/tag48.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slideMaster" Target="../slideMasters/slideMaster3.xml"/><Relationship Id="rId4" Type="http://schemas.openxmlformats.org/officeDocument/2006/relationships/tags" Target="../tags/tag5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slideMaster" Target="../slideMasters/slideMaster3.xml"/><Relationship Id="rId5" Type="http://schemas.openxmlformats.org/officeDocument/2006/relationships/tags" Target="../tags/tag57.xml"/><Relationship Id="rId4" Type="http://schemas.openxmlformats.org/officeDocument/2006/relationships/tags" Target="../tags/tag56.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tags" Target="../tags/tag69.xml"/><Relationship Id="rId2" Type="http://schemas.openxmlformats.org/officeDocument/2006/relationships/tags" Target="../tags/tag59.xml"/><Relationship Id="rId16" Type="http://schemas.openxmlformats.org/officeDocument/2006/relationships/image" Target="../media/image16.emf"/><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5" Type="http://schemas.openxmlformats.org/officeDocument/2006/relationships/tags" Target="../tags/tag62.xml"/><Relationship Id="rId15" Type="http://schemas.openxmlformats.org/officeDocument/2006/relationships/oleObject" Target="../embeddings/oleObject5.bin"/><Relationship Id="rId10" Type="http://schemas.openxmlformats.org/officeDocument/2006/relationships/tags" Target="../tags/tag67.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tags" Target="../tags/tag82.xml"/><Relationship Id="rId2" Type="http://schemas.openxmlformats.org/officeDocument/2006/relationships/tags" Target="../tags/tag72.xml"/><Relationship Id="rId16" Type="http://schemas.openxmlformats.org/officeDocument/2006/relationships/image" Target="../media/image16.emf"/><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5" Type="http://schemas.openxmlformats.org/officeDocument/2006/relationships/oleObject" Target="../embeddings/oleObject6.bin"/><Relationship Id="rId10" Type="http://schemas.openxmlformats.org/officeDocument/2006/relationships/tags" Target="../tags/tag80.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tags" Target="../tags/tag94.xml"/><Relationship Id="rId5" Type="http://schemas.openxmlformats.org/officeDocument/2006/relationships/tags" Target="../tags/tag88.xml"/><Relationship Id="rId10" Type="http://schemas.openxmlformats.org/officeDocument/2006/relationships/tags" Target="../tags/tag93.xml"/><Relationship Id="rId4" Type="http://schemas.openxmlformats.org/officeDocument/2006/relationships/tags" Target="../tags/tag87.xml"/><Relationship Id="rId9" Type="http://schemas.openxmlformats.org/officeDocument/2006/relationships/tags" Target="../tags/tag9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2" Type="http://schemas.openxmlformats.org/officeDocument/2006/relationships/tags" Target="../tags/tag96.xml"/><Relationship Id="rId16" Type="http://schemas.openxmlformats.org/officeDocument/2006/relationships/image" Target="../media/image16.emf"/><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5" Type="http://schemas.openxmlformats.org/officeDocument/2006/relationships/oleObject" Target="../embeddings/oleObject7.bin"/><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tags" Target="../tags/tag119.xml"/><Relationship Id="rId2" Type="http://schemas.openxmlformats.org/officeDocument/2006/relationships/tags" Target="../tags/tag109.xml"/><Relationship Id="rId16" Type="http://schemas.openxmlformats.org/officeDocument/2006/relationships/image" Target="../media/image17.emf"/><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5" Type="http://schemas.openxmlformats.org/officeDocument/2006/relationships/oleObject" Target="../embeddings/oleObject8.bin"/><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4" Type="http://schemas.openxmlformats.org/officeDocument/2006/relationships/tags" Target="../tags/tag124.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slideMaster" Target="../slideMasters/slideMaster3.xml"/><Relationship Id="rId4" Type="http://schemas.openxmlformats.org/officeDocument/2006/relationships/tags" Target="../tags/tag13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34.xml"/><Relationship Id="rId7" Type="http://schemas.openxmlformats.org/officeDocument/2006/relationships/image" Target="../media/image12.emf"/><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oleObject" Target="../embeddings/oleObject9.bin"/><Relationship Id="rId5" Type="http://schemas.openxmlformats.org/officeDocument/2006/relationships/image" Target="../media/image13.png"/><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oleObject" Target="../embeddings/oleObject3.bin"/><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image" Target="../media/image15.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image" Target="../media/image14.png"/><Relationship Id="rId5" Type="http://schemas.openxmlformats.org/officeDocument/2006/relationships/tags" Target="../tags/tag162.xml"/><Relationship Id="rId10" Type="http://schemas.openxmlformats.org/officeDocument/2006/relationships/image" Target="../media/image19.png"/><Relationship Id="rId4" Type="http://schemas.openxmlformats.org/officeDocument/2006/relationships/tags" Target="../tags/tag161.xml"/><Relationship Id="rId9" Type="http://schemas.openxmlformats.org/officeDocument/2006/relationships/slideMaster" Target="../slideMasters/slideMaster4.xml"/><Relationship Id="rId1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68.xml"/><Relationship Id="rId7" Type="http://schemas.openxmlformats.org/officeDocument/2006/relationships/tags" Target="../tags/tag172.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tags" Target="../tags/tag171.xml"/><Relationship Id="rId5" Type="http://schemas.openxmlformats.org/officeDocument/2006/relationships/tags" Target="../tags/tag170.xml"/><Relationship Id="rId10" Type="http://schemas.openxmlformats.org/officeDocument/2006/relationships/image" Target="../media/image16.emf"/><Relationship Id="rId4" Type="http://schemas.openxmlformats.org/officeDocument/2006/relationships/tags" Target="../tags/tag169.xml"/><Relationship Id="rId9" Type="http://schemas.openxmlformats.org/officeDocument/2006/relationships/oleObject" Target="../embeddings/oleObject4.bin"/></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tags" Target="../tags/tag173.xml"/><Relationship Id="rId5" Type="http://schemas.openxmlformats.org/officeDocument/2006/relationships/slideMaster" Target="../slideMasters/slideMaster4.xml"/><Relationship Id="rId4" Type="http://schemas.openxmlformats.org/officeDocument/2006/relationships/tags" Target="../tags/tag176.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tags" Target="../tags/tag177.xml"/><Relationship Id="rId5" Type="http://schemas.openxmlformats.org/officeDocument/2006/relationships/slideMaster" Target="../slideMasters/slideMaster4.xml"/><Relationship Id="rId4" Type="http://schemas.openxmlformats.org/officeDocument/2006/relationships/tags" Target="../tags/tag180.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tags" Target="../tags/tag181.xml"/><Relationship Id="rId5" Type="http://schemas.openxmlformats.org/officeDocument/2006/relationships/slideMaster" Target="../slideMasters/slideMaster4.xml"/><Relationship Id="rId4" Type="http://schemas.openxmlformats.org/officeDocument/2006/relationships/tags" Target="../tags/tag18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slideMaster" Target="../slideMasters/slideMaster4.xml"/><Relationship Id="rId5" Type="http://schemas.openxmlformats.org/officeDocument/2006/relationships/tags" Target="../tags/tag189.xml"/><Relationship Id="rId4" Type="http://schemas.openxmlformats.org/officeDocument/2006/relationships/tags" Target="../tags/tag188.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197.xml"/><Relationship Id="rId13" Type="http://schemas.openxmlformats.org/officeDocument/2006/relationships/tags" Target="../tags/tag202.xml"/><Relationship Id="rId3" Type="http://schemas.openxmlformats.org/officeDocument/2006/relationships/tags" Target="../tags/tag192.xml"/><Relationship Id="rId7" Type="http://schemas.openxmlformats.org/officeDocument/2006/relationships/tags" Target="../tags/tag196.xml"/><Relationship Id="rId12" Type="http://schemas.openxmlformats.org/officeDocument/2006/relationships/tags" Target="../tags/tag201.xml"/><Relationship Id="rId2" Type="http://schemas.openxmlformats.org/officeDocument/2006/relationships/tags" Target="../tags/tag191.xml"/><Relationship Id="rId16" Type="http://schemas.openxmlformats.org/officeDocument/2006/relationships/image" Target="../media/image16.emf"/><Relationship Id="rId1" Type="http://schemas.openxmlformats.org/officeDocument/2006/relationships/tags" Target="../tags/tag190.xml"/><Relationship Id="rId6" Type="http://schemas.openxmlformats.org/officeDocument/2006/relationships/tags" Target="../tags/tag195.xml"/><Relationship Id="rId11" Type="http://schemas.openxmlformats.org/officeDocument/2006/relationships/tags" Target="../tags/tag200.xml"/><Relationship Id="rId5" Type="http://schemas.openxmlformats.org/officeDocument/2006/relationships/tags" Target="../tags/tag194.xml"/><Relationship Id="rId15" Type="http://schemas.openxmlformats.org/officeDocument/2006/relationships/oleObject" Target="../embeddings/oleObject5.bin"/><Relationship Id="rId10" Type="http://schemas.openxmlformats.org/officeDocument/2006/relationships/tags" Target="../tags/tag199.xml"/><Relationship Id="rId4" Type="http://schemas.openxmlformats.org/officeDocument/2006/relationships/tags" Target="../tags/tag193.xml"/><Relationship Id="rId9" Type="http://schemas.openxmlformats.org/officeDocument/2006/relationships/tags" Target="../tags/tag198.xml"/><Relationship Id="rId14"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tags" Target="../tags/tag215.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tags" Target="../tags/tag214.xml"/><Relationship Id="rId2" Type="http://schemas.openxmlformats.org/officeDocument/2006/relationships/tags" Target="../tags/tag204.xml"/><Relationship Id="rId16" Type="http://schemas.openxmlformats.org/officeDocument/2006/relationships/image" Target="../media/image16.emf"/><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tags" Target="../tags/tag213.xml"/><Relationship Id="rId5" Type="http://schemas.openxmlformats.org/officeDocument/2006/relationships/tags" Target="../tags/tag207.xml"/><Relationship Id="rId15" Type="http://schemas.openxmlformats.org/officeDocument/2006/relationships/oleObject" Target="../embeddings/oleObject6.bin"/><Relationship Id="rId10" Type="http://schemas.openxmlformats.org/officeDocument/2006/relationships/tags" Target="../tags/tag212.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223.xml"/><Relationship Id="rId3" Type="http://schemas.openxmlformats.org/officeDocument/2006/relationships/tags" Target="../tags/tag218.xml"/><Relationship Id="rId7" Type="http://schemas.openxmlformats.org/officeDocument/2006/relationships/tags" Target="../tags/tag222.xml"/><Relationship Id="rId12" Type="http://schemas.openxmlformats.org/officeDocument/2006/relationships/slideMaster" Target="../slideMasters/slideMaster4.xm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tags" Target="../tags/tag221.xml"/><Relationship Id="rId11" Type="http://schemas.openxmlformats.org/officeDocument/2006/relationships/tags" Target="../tags/tag226.xml"/><Relationship Id="rId5" Type="http://schemas.openxmlformats.org/officeDocument/2006/relationships/tags" Target="../tags/tag220.xml"/><Relationship Id="rId10" Type="http://schemas.openxmlformats.org/officeDocument/2006/relationships/tags" Target="../tags/tag225.xml"/><Relationship Id="rId4" Type="http://schemas.openxmlformats.org/officeDocument/2006/relationships/tags" Target="../tags/tag219.xml"/><Relationship Id="rId9" Type="http://schemas.openxmlformats.org/officeDocument/2006/relationships/tags" Target="../tags/tag224.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234.xml"/><Relationship Id="rId13" Type="http://schemas.openxmlformats.org/officeDocument/2006/relationships/tags" Target="../tags/tag239.xml"/><Relationship Id="rId3" Type="http://schemas.openxmlformats.org/officeDocument/2006/relationships/tags" Target="../tags/tag229.xml"/><Relationship Id="rId7" Type="http://schemas.openxmlformats.org/officeDocument/2006/relationships/tags" Target="../tags/tag233.xml"/><Relationship Id="rId12" Type="http://schemas.openxmlformats.org/officeDocument/2006/relationships/tags" Target="../tags/tag238.xml"/><Relationship Id="rId2" Type="http://schemas.openxmlformats.org/officeDocument/2006/relationships/tags" Target="../tags/tag228.xml"/><Relationship Id="rId16" Type="http://schemas.openxmlformats.org/officeDocument/2006/relationships/image" Target="../media/image16.emf"/><Relationship Id="rId1" Type="http://schemas.openxmlformats.org/officeDocument/2006/relationships/tags" Target="../tags/tag227.xml"/><Relationship Id="rId6" Type="http://schemas.openxmlformats.org/officeDocument/2006/relationships/tags" Target="../tags/tag232.xml"/><Relationship Id="rId11" Type="http://schemas.openxmlformats.org/officeDocument/2006/relationships/tags" Target="../tags/tag237.xml"/><Relationship Id="rId5" Type="http://schemas.openxmlformats.org/officeDocument/2006/relationships/tags" Target="../tags/tag231.xml"/><Relationship Id="rId15" Type="http://schemas.openxmlformats.org/officeDocument/2006/relationships/oleObject" Target="../embeddings/oleObject7.bin"/><Relationship Id="rId10" Type="http://schemas.openxmlformats.org/officeDocument/2006/relationships/tags" Target="../tags/tag236.xml"/><Relationship Id="rId4" Type="http://schemas.openxmlformats.org/officeDocument/2006/relationships/tags" Target="../tags/tag230.xml"/><Relationship Id="rId9" Type="http://schemas.openxmlformats.org/officeDocument/2006/relationships/tags" Target="../tags/tag235.xml"/><Relationship Id="rId14"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tags" Target="../tags/tag252.xml"/><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tags" Target="../tags/tag251.xml"/><Relationship Id="rId2" Type="http://schemas.openxmlformats.org/officeDocument/2006/relationships/tags" Target="../tags/tag241.xml"/><Relationship Id="rId16" Type="http://schemas.openxmlformats.org/officeDocument/2006/relationships/image" Target="../media/image17.emf"/><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5" Type="http://schemas.openxmlformats.org/officeDocument/2006/relationships/oleObject" Target="../embeddings/oleObject8.bin"/><Relationship Id="rId10" Type="http://schemas.openxmlformats.org/officeDocument/2006/relationships/tags" Target="../tags/tag249.xml"/><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55.xml"/><Relationship Id="rId7" Type="http://schemas.openxmlformats.org/officeDocument/2006/relationships/tags" Target="../tags/tag259.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5" Type="http://schemas.openxmlformats.org/officeDocument/2006/relationships/tags" Target="../tags/tag257.xml"/><Relationship Id="rId4" Type="http://schemas.openxmlformats.org/officeDocument/2006/relationships/tags" Target="../tags/tag256.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tags" Target="../tags/tag260.xml"/><Relationship Id="rId5" Type="http://schemas.openxmlformats.org/officeDocument/2006/relationships/slideMaster" Target="../slideMasters/slideMaster4.xml"/><Relationship Id="rId4" Type="http://schemas.openxmlformats.org/officeDocument/2006/relationships/tags" Target="../tags/tag263.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66.xml"/><Relationship Id="rId7" Type="http://schemas.openxmlformats.org/officeDocument/2006/relationships/image" Target="../media/image12.emf"/><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oleObject" Target="../embeddings/oleObject9.bin"/><Relationship Id="rId5" Type="http://schemas.openxmlformats.org/officeDocument/2006/relationships/image" Target="../media/image19.png"/><Relationship Id="rId4"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69.xml"/><Relationship Id="rId7" Type="http://schemas.openxmlformats.org/officeDocument/2006/relationships/tags" Target="../tags/tag273.xml"/><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tags" Target="../tags/tag272.xml"/><Relationship Id="rId5" Type="http://schemas.openxmlformats.org/officeDocument/2006/relationships/tags" Target="../tags/tag271.xml"/><Relationship Id="rId10" Type="http://schemas.openxmlformats.org/officeDocument/2006/relationships/image" Target="../media/image16.emf"/><Relationship Id="rId4" Type="http://schemas.openxmlformats.org/officeDocument/2006/relationships/tags" Target="../tags/tag270.xml"/><Relationship Id="rId9" Type="http://schemas.openxmlformats.org/officeDocument/2006/relationships/oleObject" Target="../embeddings/oleObject10.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5.xml"/><Relationship Id="rId1" Type="http://schemas.openxmlformats.org/officeDocument/2006/relationships/tags" Target="../tags/tag274.xml"/><Relationship Id="rId5" Type="http://schemas.openxmlformats.org/officeDocument/2006/relationships/image" Target="../media/image17.emf"/><Relationship Id="rId4" Type="http://schemas.openxmlformats.org/officeDocument/2006/relationships/oleObject" Target="../embeddings/oleObject11.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21.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5.png"/><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6.png"/><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7.png"/><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8.png"/><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9.png"/><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png"/><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2.png"/><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4.png"/><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5.png"/><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spTree>
    <p:extLst>
      <p:ext uri="{BB962C8B-B14F-4D97-AF65-F5344CB8AC3E}">
        <p14:creationId xmlns:p14="http://schemas.microsoft.com/office/powerpoint/2010/main" val="20049777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6_Gracias">
    <p:spTree>
      <p:nvGrpSpPr>
        <p:cNvPr id="1" name=""/>
        <p:cNvGrpSpPr/>
        <p:nvPr/>
      </p:nvGrpSpPr>
      <p:grpSpPr>
        <a:xfrm>
          <a:off x="0" y="0"/>
          <a:ext cx="0" cy="0"/>
          <a:chOff x="0" y="0"/>
          <a:chExt cx="0" cy="0"/>
        </a:xfrm>
      </p:grpSpPr>
      <p:pic>
        <p:nvPicPr>
          <p:cNvPr id="11" name="Imagem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 y="5117"/>
            <a:ext cx="12190560" cy="6856620"/>
          </a:xfrm>
          <a:prstGeom prst="rect">
            <a:avLst/>
          </a:prstGeom>
        </p:spPr>
      </p:pic>
      <p:pic>
        <p:nvPicPr>
          <p:cNvPr id="5"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7297514" y="5858102"/>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upo 19">
            <a:extLst>
              <a:ext uri="{FF2B5EF4-FFF2-40B4-BE49-F238E27FC236}">
                <a16:creationId xmlns:a16="http://schemas.microsoft.com/office/drawing/2014/main" id="{246620ED-93B0-4966-8E36-4B883B49E634}"/>
              </a:ext>
            </a:extLst>
          </p:cNvPr>
          <p:cNvGrpSpPr/>
          <p:nvPr userDrawn="1"/>
        </p:nvGrpSpPr>
        <p:grpSpPr>
          <a:xfrm>
            <a:off x="9184030" y="5858534"/>
            <a:ext cx="578707" cy="455017"/>
            <a:chOff x="2203451" y="-4230356"/>
            <a:chExt cx="6896100" cy="5422158"/>
          </a:xfrm>
        </p:grpSpPr>
        <p:pic>
          <p:nvPicPr>
            <p:cNvPr id="7"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8"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5" cstate="screen">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9" name="CuadroTexto 22">
            <a:extLst>
              <a:ext uri="{FF2B5EF4-FFF2-40B4-BE49-F238E27FC236}">
                <a16:creationId xmlns:a16="http://schemas.microsoft.com/office/drawing/2014/main" id="{B163354C-97AE-4FC8-BF01-B7FCA9B2C7C0}"/>
              </a:ext>
            </a:extLst>
          </p:cNvPr>
          <p:cNvSpPr txBox="1"/>
          <p:nvPr userDrawn="1"/>
        </p:nvSpPr>
        <p:spPr>
          <a:xfrm>
            <a:off x="7160628" y="657789"/>
            <a:ext cx="3365478" cy="1167948"/>
          </a:xfrm>
          <a:prstGeom prst="rect">
            <a:avLst/>
          </a:prstGeom>
          <a:noFill/>
        </p:spPr>
        <p:txBody>
          <a:bodyPr wrap="square" rtlCol="0">
            <a:spAutoFit/>
          </a:bodyPr>
          <a:lstStyle/>
          <a:p>
            <a:pPr marL="0" marR="0" lvl="0" indent="0" algn="l" defTabSz="913600" rtl="0" eaLnBrk="1" fontAlgn="auto" latinLnBrk="0" hangingPunct="1">
              <a:lnSpc>
                <a:spcPct val="100000"/>
              </a:lnSpc>
              <a:spcBef>
                <a:spcPts val="0"/>
              </a:spcBef>
              <a:spcAft>
                <a:spcPts val="0"/>
              </a:spcAft>
              <a:buClrTx/>
              <a:buSzTx/>
              <a:buFontTx/>
              <a:buNone/>
              <a:tabLst/>
              <a:defRPr/>
            </a:pPr>
            <a:r>
              <a:rPr kumimoji="0" lang="es-E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Nuestro propósito es ayudar a personas</a:t>
            </a:r>
          </a:p>
          <a:p>
            <a:pPr marL="0" marR="0" lvl="0" indent="0" algn="l" defTabSz="913600" rtl="0" eaLnBrk="1" fontAlgn="auto" latinLnBrk="0" hangingPunct="1">
              <a:lnSpc>
                <a:spcPct val="100000"/>
              </a:lnSpc>
              <a:spcBef>
                <a:spcPts val="0"/>
              </a:spcBef>
              <a:spcAft>
                <a:spcPts val="0"/>
              </a:spcAft>
              <a:buClrTx/>
              <a:buSzTx/>
              <a:buFontTx/>
              <a:buNone/>
              <a:tabLst/>
              <a:defRPr/>
            </a:pPr>
            <a:r>
              <a:rPr kumimoji="0" lang="es-E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y empresas a prosperar.</a:t>
            </a:r>
          </a:p>
          <a:p>
            <a:pPr marL="0" marR="0" lvl="0" indent="0" algn="l" defTabSz="913600" rtl="0" eaLnBrk="1" fontAlgn="auto" latinLnBrk="0" hangingPunct="1">
              <a:lnSpc>
                <a:spcPct val="100000"/>
              </a:lnSpc>
              <a:spcBef>
                <a:spcPts val="0"/>
              </a:spcBef>
              <a:spcAft>
                <a:spcPts val="0"/>
              </a:spcAft>
              <a:buClrTx/>
              <a:buSzTx/>
              <a:buFontTx/>
              <a:buNone/>
              <a:tabLst/>
              <a:defRPr/>
            </a:pPr>
            <a:endParaRPr kumimoji="0" lang="pt-BR"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endParaRPr>
          </a:p>
          <a:p>
            <a:pPr marL="0" marR="0" lvl="0" indent="0" algn="l" defTabSz="913600" rtl="0" eaLnBrk="1" fontAlgn="auto" latinLnBrk="0" hangingPunct="1">
              <a:lnSpc>
                <a:spcPct val="100000"/>
              </a:lnSpc>
              <a:spcBef>
                <a:spcPts val="0"/>
              </a:spcBef>
              <a:spcAft>
                <a:spcPts val="0"/>
              </a:spcAft>
              <a:buClrTx/>
              <a:buSzTx/>
              <a:buFontTx/>
              <a:buNone/>
              <a:tabLst/>
              <a:defRPr/>
            </a:pPr>
            <a:r>
              <a:rPr kumimoji="0" lang="es-E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Nuestra cultura se basa en la creencia</a:t>
            </a:r>
          </a:p>
          <a:p>
            <a:pPr marL="0" marR="0" lvl="0" indent="0" algn="l" defTabSz="913600" rtl="0" eaLnBrk="1" fontAlgn="auto" latinLnBrk="0" hangingPunct="1">
              <a:lnSpc>
                <a:spcPct val="100000"/>
              </a:lnSpc>
              <a:spcBef>
                <a:spcPts val="0"/>
              </a:spcBef>
              <a:spcAft>
                <a:spcPts val="0"/>
              </a:spcAft>
              <a:buClrTx/>
              <a:buSzTx/>
              <a:buFontTx/>
              <a:buNone/>
              <a:tabLst/>
              <a:defRPr/>
            </a:pPr>
            <a:r>
              <a:rPr kumimoji="0" lang="es-E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de que todo lo que hacemos debe ser</a:t>
            </a:r>
            <a:endParaRPr kumimoji="0" lang="pt-BR"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endParaRPr>
          </a:p>
        </p:txBody>
      </p:sp>
      <p:sp>
        <p:nvSpPr>
          <p:cNvPr id="13" name="Espaço Reservado para Texto 12"/>
          <p:cNvSpPr>
            <a:spLocks noGrp="1"/>
          </p:cNvSpPr>
          <p:nvPr>
            <p:ph type="body" sz="quarter" idx="10" hasCustomPrompt="1"/>
          </p:nvPr>
        </p:nvSpPr>
        <p:spPr>
          <a:xfrm>
            <a:off x="7218684" y="3799800"/>
            <a:ext cx="4430713" cy="1495794"/>
          </a:xfrm>
          <a:prstGeom prst="rect">
            <a:avLst/>
          </a:prstGeom>
        </p:spPr>
        <p:txBody>
          <a:bodyPr wrap="square" lIns="0" rIns="0">
            <a:spAutoFit/>
          </a:bodyPr>
          <a:lstStyle>
            <a:lvl1pPr marL="0" indent="0">
              <a:buFontTx/>
              <a:buNone/>
              <a:defRPr lang="pt-BR" sz="5400" b="1" spc="-96" baseline="0" smtClean="0">
                <a:solidFill>
                  <a:schemeClr val="accent1"/>
                </a:solidFill>
                <a:latin typeface="Santander Headline" panose="020B0504020201020104" pitchFamily="34" charset="0"/>
                <a:ea typeface="+mj-ea"/>
                <a:cs typeface="Segoe UI Semibold" panose="020B0702040204020203" pitchFamily="34" charset="0"/>
              </a:defRPr>
            </a:lvl1pPr>
            <a:lvl2pPr>
              <a:defRPr lang="pt-BR" smtClean="0"/>
            </a:lvl2pPr>
            <a:lvl3pPr>
              <a:defRPr lang="pt-BR" smtClean="0"/>
            </a:lvl3pPr>
            <a:lvl4pPr>
              <a:defRPr lang="pt-BR" smtClean="0"/>
            </a:lvl4pPr>
            <a:lvl5pPr>
              <a:defRPr lang="en-US"/>
            </a:lvl5pPr>
          </a:lstStyle>
          <a:p>
            <a:pPr lvl="0" algn="l"/>
            <a:r>
              <a:rPr lang="pt-BR"/>
              <a:t>Editar estilos </a:t>
            </a:r>
            <a:br>
              <a:rPr lang="pt-BR"/>
            </a:br>
            <a:r>
              <a:rPr lang="pt-BR"/>
              <a:t>de texto mestre</a:t>
            </a:r>
          </a:p>
        </p:txBody>
      </p:sp>
      <p:pic>
        <p:nvPicPr>
          <p:cNvPr id="4" name="Picture 3"/>
          <p:cNvPicPr>
            <a:picLocks noChangeAspect="1"/>
          </p:cNvPicPr>
          <p:nvPr userDrawn="1"/>
        </p:nvPicPr>
        <p:blipFill>
          <a:blip r:embed="rId6"/>
          <a:stretch>
            <a:fillRect/>
          </a:stretch>
        </p:blipFill>
        <p:spPr>
          <a:xfrm>
            <a:off x="7158738" y="2124075"/>
            <a:ext cx="2725148" cy="347502"/>
          </a:xfrm>
          <a:prstGeom prst="rect">
            <a:avLst/>
          </a:prstGeom>
        </p:spPr>
      </p:pic>
    </p:spTree>
    <p:extLst>
      <p:ext uri="{BB962C8B-B14F-4D97-AF65-F5344CB8AC3E}">
        <p14:creationId xmlns:p14="http://schemas.microsoft.com/office/powerpoint/2010/main" val="24863055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6_Gracias">
    <p:spTree>
      <p:nvGrpSpPr>
        <p:cNvPr id="1" name=""/>
        <p:cNvGrpSpPr/>
        <p:nvPr/>
      </p:nvGrpSpPr>
      <p:grpSpPr>
        <a:xfrm>
          <a:off x="0" y="0"/>
          <a:ext cx="0" cy="0"/>
          <a:chOff x="0" y="0"/>
          <a:chExt cx="0" cy="0"/>
        </a:xfrm>
      </p:grpSpPr>
      <p:pic>
        <p:nvPicPr>
          <p:cNvPr id="11" name="Imagem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 y="5117"/>
            <a:ext cx="12190560" cy="6856620"/>
          </a:xfrm>
          <a:prstGeom prst="rect">
            <a:avLst/>
          </a:prstGeom>
        </p:spPr>
      </p:pic>
      <p:pic>
        <p:nvPicPr>
          <p:cNvPr id="5"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7297514" y="5858102"/>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upo 19">
            <a:extLst>
              <a:ext uri="{FF2B5EF4-FFF2-40B4-BE49-F238E27FC236}">
                <a16:creationId xmlns:a16="http://schemas.microsoft.com/office/drawing/2014/main" id="{246620ED-93B0-4966-8E36-4B883B49E634}"/>
              </a:ext>
            </a:extLst>
          </p:cNvPr>
          <p:cNvGrpSpPr/>
          <p:nvPr userDrawn="1"/>
        </p:nvGrpSpPr>
        <p:grpSpPr>
          <a:xfrm>
            <a:off x="9184030" y="5858534"/>
            <a:ext cx="578707" cy="455017"/>
            <a:chOff x="2203451" y="-4230356"/>
            <a:chExt cx="6896100" cy="5422158"/>
          </a:xfrm>
        </p:grpSpPr>
        <p:pic>
          <p:nvPicPr>
            <p:cNvPr id="7"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8"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5" cstate="screen">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9" name="CuadroTexto 22">
            <a:extLst>
              <a:ext uri="{FF2B5EF4-FFF2-40B4-BE49-F238E27FC236}">
                <a16:creationId xmlns:a16="http://schemas.microsoft.com/office/drawing/2014/main" id="{B163354C-97AE-4FC8-BF01-B7FCA9B2C7C0}"/>
              </a:ext>
            </a:extLst>
          </p:cNvPr>
          <p:cNvSpPr txBox="1"/>
          <p:nvPr userDrawn="1"/>
        </p:nvSpPr>
        <p:spPr>
          <a:xfrm>
            <a:off x="7160628" y="657789"/>
            <a:ext cx="3365478" cy="1167948"/>
          </a:xfrm>
          <a:prstGeom prst="rect">
            <a:avLst/>
          </a:prstGeom>
          <a:noFill/>
        </p:spPr>
        <p:txBody>
          <a:bodyPr wrap="square" rtlCol="0">
            <a:spAutoFit/>
          </a:bodyPr>
          <a:lstStyle/>
          <a:p>
            <a:pPr marL="0" marR="0" lvl="0" indent="0" algn="l" defTabSz="913600" rtl="0" eaLnBrk="1" fontAlgn="auto" latinLnBrk="0" hangingPunct="1">
              <a:lnSpc>
                <a:spcPct val="100000"/>
              </a:lnSpc>
              <a:spcBef>
                <a:spcPts val="0"/>
              </a:spcBef>
              <a:spcAft>
                <a:spcPts val="0"/>
              </a:spcAft>
              <a:buClrTx/>
              <a:buSzTx/>
              <a:buFontTx/>
              <a:buNone/>
              <a:tabLst/>
              <a:defRPr/>
            </a:pPr>
            <a:r>
              <a:rPr kumimoji="0" lang="es-E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Nuestro propósito es ayudar a personas</a:t>
            </a:r>
          </a:p>
          <a:p>
            <a:pPr marL="0" marR="0" lvl="0" indent="0" algn="l" defTabSz="913600" rtl="0" eaLnBrk="1" fontAlgn="auto" latinLnBrk="0" hangingPunct="1">
              <a:lnSpc>
                <a:spcPct val="100000"/>
              </a:lnSpc>
              <a:spcBef>
                <a:spcPts val="0"/>
              </a:spcBef>
              <a:spcAft>
                <a:spcPts val="0"/>
              </a:spcAft>
              <a:buClrTx/>
              <a:buSzTx/>
              <a:buFontTx/>
              <a:buNone/>
              <a:tabLst/>
              <a:defRPr/>
            </a:pPr>
            <a:r>
              <a:rPr kumimoji="0" lang="es-E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y empresas a prosperar.</a:t>
            </a:r>
          </a:p>
          <a:p>
            <a:pPr marL="0" marR="0" lvl="0" indent="0" algn="l" defTabSz="913600" rtl="0" eaLnBrk="1" fontAlgn="auto" latinLnBrk="0" hangingPunct="1">
              <a:lnSpc>
                <a:spcPct val="100000"/>
              </a:lnSpc>
              <a:spcBef>
                <a:spcPts val="0"/>
              </a:spcBef>
              <a:spcAft>
                <a:spcPts val="0"/>
              </a:spcAft>
              <a:buClrTx/>
              <a:buSzTx/>
              <a:buFontTx/>
              <a:buNone/>
              <a:tabLst/>
              <a:defRPr/>
            </a:pPr>
            <a:endParaRPr kumimoji="0" lang="pt-BR"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endParaRPr>
          </a:p>
          <a:p>
            <a:pPr marL="0" marR="0" lvl="0" indent="0" algn="l" defTabSz="913600" rtl="0" eaLnBrk="1" fontAlgn="auto" latinLnBrk="0" hangingPunct="1">
              <a:lnSpc>
                <a:spcPct val="100000"/>
              </a:lnSpc>
              <a:spcBef>
                <a:spcPts val="0"/>
              </a:spcBef>
              <a:spcAft>
                <a:spcPts val="0"/>
              </a:spcAft>
              <a:buClrTx/>
              <a:buSzTx/>
              <a:buFontTx/>
              <a:buNone/>
              <a:tabLst/>
              <a:defRPr/>
            </a:pPr>
            <a:r>
              <a:rPr kumimoji="0" lang="es-E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Nuestra cultura se basa en la creencia</a:t>
            </a:r>
          </a:p>
          <a:p>
            <a:pPr marL="0" marR="0" lvl="0" indent="0" algn="l" defTabSz="913600" rtl="0" eaLnBrk="1" fontAlgn="auto" latinLnBrk="0" hangingPunct="1">
              <a:lnSpc>
                <a:spcPct val="100000"/>
              </a:lnSpc>
              <a:spcBef>
                <a:spcPts val="0"/>
              </a:spcBef>
              <a:spcAft>
                <a:spcPts val="0"/>
              </a:spcAft>
              <a:buClrTx/>
              <a:buSzTx/>
              <a:buFontTx/>
              <a:buNone/>
              <a:tabLst/>
              <a:defRPr/>
            </a:pPr>
            <a:r>
              <a:rPr kumimoji="0" lang="es-E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de que todo lo que hacemos debe ser</a:t>
            </a:r>
            <a:endParaRPr kumimoji="0" lang="pt-BR"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endParaRPr>
          </a:p>
        </p:txBody>
      </p:sp>
      <p:sp>
        <p:nvSpPr>
          <p:cNvPr id="13" name="Espaço Reservado para Texto 12"/>
          <p:cNvSpPr>
            <a:spLocks noGrp="1"/>
          </p:cNvSpPr>
          <p:nvPr>
            <p:ph type="body" sz="quarter" idx="10" hasCustomPrompt="1"/>
          </p:nvPr>
        </p:nvSpPr>
        <p:spPr>
          <a:xfrm>
            <a:off x="7218684" y="3799800"/>
            <a:ext cx="4430713" cy="1495794"/>
          </a:xfrm>
          <a:prstGeom prst="rect">
            <a:avLst/>
          </a:prstGeom>
        </p:spPr>
        <p:txBody>
          <a:bodyPr wrap="square" lIns="0" rIns="0">
            <a:spAutoFit/>
          </a:bodyPr>
          <a:lstStyle>
            <a:lvl1pPr marL="0" indent="0">
              <a:buFontTx/>
              <a:buNone/>
              <a:defRPr lang="pt-BR" sz="5400" b="1" spc="-96" baseline="0" smtClean="0">
                <a:solidFill>
                  <a:schemeClr val="accent1"/>
                </a:solidFill>
                <a:latin typeface="Santander Headline" panose="020B0504020201020104" pitchFamily="34" charset="0"/>
                <a:ea typeface="+mj-ea"/>
                <a:cs typeface="Segoe UI Semibold" panose="020B0702040204020203" pitchFamily="34" charset="0"/>
              </a:defRPr>
            </a:lvl1pPr>
            <a:lvl2pPr>
              <a:defRPr lang="pt-BR" smtClean="0"/>
            </a:lvl2pPr>
            <a:lvl3pPr>
              <a:defRPr lang="pt-BR" smtClean="0"/>
            </a:lvl3pPr>
            <a:lvl4pPr>
              <a:defRPr lang="pt-BR" smtClean="0"/>
            </a:lvl4pPr>
            <a:lvl5pPr>
              <a:defRPr lang="en-US"/>
            </a:lvl5pPr>
          </a:lstStyle>
          <a:p>
            <a:pPr lvl="0" algn="l"/>
            <a:r>
              <a:rPr lang="pt-BR"/>
              <a:t>Editar estilos </a:t>
            </a:r>
            <a:br>
              <a:rPr lang="pt-BR"/>
            </a:br>
            <a:r>
              <a:rPr lang="pt-BR"/>
              <a:t>de texto mestre</a:t>
            </a:r>
          </a:p>
        </p:txBody>
      </p:sp>
      <p:pic>
        <p:nvPicPr>
          <p:cNvPr id="4" name="Picture 3"/>
          <p:cNvPicPr>
            <a:picLocks noChangeAspect="1"/>
          </p:cNvPicPr>
          <p:nvPr userDrawn="1"/>
        </p:nvPicPr>
        <p:blipFill>
          <a:blip r:embed="rId6"/>
          <a:stretch>
            <a:fillRect/>
          </a:stretch>
        </p:blipFill>
        <p:spPr>
          <a:xfrm>
            <a:off x="7158738" y="2124075"/>
            <a:ext cx="2725148" cy="347502"/>
          </a:xfrm>
          <a:prstGeom prst="rect">
            <a:avLst/>
          </a:prstGeom>
        </p:spPr>
      </p:pic>
    </p:spTree>
    <p:extLst>
      <p:ext uri="{BB962C8B-B14F-4D97-AF65-F5344CB8AC3E}">
        <p14:creationId xmlns:p14="http://schemas.microsoft.com/office/powerpoint/2010/main" val="4805661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2" name="Título 2"/>
          <p:cNvSpPr>
            <a:spLocks noGrp="1"/>
          </p:cNvSpPr>
          <p:nvPr>
            <p:ph type="title"/>
          </p:nvPr>
        </p:nvSpPr>
        <p:spPr>
          <a:xfrm>
            <a:off x="550862" y="2031460"/>
            <a:ext cx="5352397" cy="1962317"/>
          </a:xfrm>
          <a:prstGeom prst="rect">
            <a:avLst/>
          </a:prstGeom>
        </p:spPr>
        <p:txBody>
          <a:bodyPr wrap="square" anchor="b" anchorCtr="0">
            <a:noAutofit/>
          </a:bodyPr>
          <a:lstStyle>
            <a:lvl1pPr>
              <a:defRPr sz="4791">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0863" y="415460"/>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4" y="4101353"/>
            <a:ext cx="5352396" cy="309282"/>
          </a:xfrm>
          <a:prstGeom prst="rect">
            <a:avLst/>
          </a:prstGeom>
        </p:spPr>
        <p:txBody>
          <a:bodyPr vert="horz" lIns="0" tIns="0" rIns="0" bIns="0" rtlCol="0">
            <a:noAutofit/>
          </a:bodyPr>
          <a:lstStyle>
            <a:lvl1pPr>
              <a:defRPr sz="1996" b="0">
                <a:solidFill>
                  <a:schemeClr val="bg2"/>
                </a:solidFill>
                <a:latin typeface="Santander Headline" panose="020B0504020201020104"/>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4" y="4518214"/>
            <a:ext cx="5352396" cy="188259"/>
          </a:xfrm>
          <a:prstGeom prst="rect">
            <a:avLst/>
          </a:prstGeom>
        </p:spPr>
        <p:txBody>
          <a:bodyPr vert="horz" lIns="0" tIns="0" rIns="0" bIns="0" rtlCol="0">
            <a:noAutofit/>
          </a:bodyPr>
          <a:lstStyle>
            <a:lvl1pPr>
              <a:defRPr sz="1597">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4" y="5002213"/>
            <a:ext cx="1882775" cy="1022350"/>
          </a:xfrm>
          <a:prstGeom prst="rect">
            <a:avLst/>
          </a:prstGeom>
        </p:spPr>
        <p:txBody>
          <a:bodyPr/>
          <a:lstStyle>
            <a:lvl1pPr algn="ctr">
              <a:defRPr sz="1198">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4" y="6226177"/>
            <a:ext cx="5352396" cy="188259"/>
          </a:xfrm>
          <a:prstGeom prst="rect">
            <a:avLst/>
          </a:prstGeom>
        </p:spPr>
        <p:txBody>
          <a:bodyPr vert="horz" lIns="0" tIns="0" rIns="0" bIns="0" rtlCol="0">
            <a:noAutofit/>
          </a:bodyPr>
          <a:lstStyle>
            <a:lvl1pPr>
              <a:defRPr sz="998">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ONFIDENTIAL</a:t>
            </a:r>
          </a:p>
        </p:txBody>
      </p:sp>
    </p:spTree>
    <p:extLst>
      <p:ext uri="{BB962C8B-B14F-4D97-AF65-F5344CB8AC3E}">
        <p14:creationId xmlns:p14="http://schemas.microsoft.com/office/powerpoint/2010/main" val="285042676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8" y="0"/>
            <a:ext cx="12182205" cy="6858000"/>
          </a:xfrm>
          <a:prstGeom prst="rect">
            <a:avLst/>
          </a:prstGeom>
        </p:spPr>
      </p:pic>
      <p:sp>
        <p:nvSpPr>
          <p:cNvPr id="2" name="Título 2"/>
          <p:cNvSpPr>
            <a:spLocks noGrp="1"/>
          </p:cNvSpPr>
          <p:nvPr>
            <p:ph type="title"/>
          </p:nvPr>
        </p:nvSpPr>
        <p:spPr>
          <a:xfrm>
            <a:off x="550862" y="2031460"/>
            <a:ext cx="5352397" cy="1962317"/>
          </a:xfrm>
          <a:prstGeom prst="rect">
            <a:avLst/>
          </a:prstGeom>
        </p:spPr>
        <p:txBody>
          <a:bodyPr wrap="square" anchor="b" anchorCtr="0">
            <a:noAutofit/>
          </a:bodyPr>
          <a:lstStyle>
            <a:lvl1pPr>
              <a:defRPr sz="4791">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415460"/>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4" y="4101353"/>
            <a:ext cx="5352396" cy="309282"/>
          </a:xfrm>
          <a:prstGeom prst="rect">
            <a:avLst/>
          </a:prstGeom>
        </p:spPr>
        <p:txBody>
          <a:bodyPr vert="horz" lIns="0" tIns="0" rIns="0" bIns="0" rtlCol="0">
            <a:noAutofit/>
          </a:bodyPr>
          <a:lstStyle>
            <a:lvl1pPr>
              <a:defRPr sz="1996" b="0">
                <a:solidFill>
                  <a:schemeClr val="bg2"/>
                </a:solidFill>
                <a:latin typeface="Santander Headline" panose="020B0504020201020104"/>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4" y="4518214"/>
            <a:ext cx="5352396" cy="188259"/>
          </a:xfrm>
          <a:prstGeom prst="rect">
            <a:avLst/>
          </a:prstGeom>
        </p:spPr>
        <p:txBody>
          <a:bodyPr vert="horz" lIns="0" tIns="0" rIns="0" bIns="0" rtlCol="0">
            <a:noAutofit/>
          </a:bodyPr>
          <a:lstStyle>
            <a:lvl1pPr>
              <a:defRPr sz="1597">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4" y="5002213"/>
            <a:ext cx="1882775" cy="1022350"/>
          </a:xfrm>
          <a:prstGeom prst="rect">
            <a:avLst/>
          </a:prstGeom>
        </p:spPr>
        <p:txBody>
          <a:bodyPr/>
          <a:lstStyle>
            <a:lvl1pPr algn="ctr">
              <a:defRPr sz="1198">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4" y="6226177"/>
            <a:ext cx="5352396" cy="188259"/>
          </a:xfrm>
          <a:prstGeom prst="rect">
            <a:avLst/>
          </a:prstGeom>
        </p:spPr>
        <p:txBody>
          <a:bodyPr vert="horz" lIns="0" tIns="0" rIns="0" bIns="0" rtlCol="0">
            <a:noAutofit/>
          </a:bodyPr>
          <a:lstStyle>
            <a:lvl1pPr>
              <a:defRPr sz="998">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ONFIDENTIAL</a:t>
            </a:r>
          </a:p>
        </p:txBody>
      </p:sp>
    </p:spTree>
    <p:extLst>
      <p:ext uri="{BB962C8B-B14F-4D97-AF65-F5344CB8AC3E}">
        <p14:creationId xmlns:p14="http://schemas.microsoft.com/office/powerpoint/2010/main" val="316386777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8" y="0"/>
            <a:ext cx="12182205" cy="6858000"/>
          </a:xfrm>
          <a:prstGeom prst="rect">
            <a:avLst/>
          </a:prstGeom>
        </p:spPr>
      </p:pic>
      <p:sp>
        <p:nvSpPr>
          <p:cNvPr id="2" name="Título 2"/>
          <p:cNvSpPr>
            <a:spLocks noGrp="1"/>
          </p:cNvSpPr>
          <p:nvPr>
            <p:ph type="title"/>
          </p:nvPr>
        </p:nvSpPr>
        <p:spPr>
          <a:xfrm>
            <a:off x="550862" y="2031460"/>
            <a:ext cx="5352397" cy="1962317"/>
          </a:xfrm>
          <a:prstGeom prst="rect">
            <a:avLst/>
          </a:prstGeom>
        </p:spPr>
        <p:txBody>
          <a:bodyPr wrap="square" anchor="b" anchorCtr="0">
            <a:noAutofit/>
          </a:bodyPr>
          <a:lstStyle>
            <a:lvl1pPr>
              <a:defRPr sz="4791">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415460"/>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4" y="4101353"/>
            <a:ext cx="5352396" cy="309282"/>
          </a:xfrm>
          <a:prstGeom prst="rect">
            <a:avLst/>
          </a:prstGeom>
        </p:spPr>
        <p:txBody>
          <a:bodyPr vert="horz" lIns="0" tIns="0" rIns="0" bIns="0" rtlCol="0">
            <a:noAutofit/>
          </a:bodyPr>
          <a:lstStyle>
            <a:lvl1pPr>
              <a:defRPr sz="1996" b="0">
                <a:solidFill>
                  <a:schemeClr val="bg2"/>
                </a:solidFill>
                <a:latin typeface="Santander Headline" panose="020B0504020201020104"/>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4" y="4518214"/>
            <a:ext cx="5352396" cy="188259"/>
          </a:xfrm>
          <a:prstGeom prst="rect">
            <a:avLst/>
          </a:prstGeom>
        </p:spPr>
        <p:txBody>
          <a:bodyPr vert="horz" lIns="0" tIns="0" rIns="0" bIns="0" rtlCol="0">
            <a:noAutofit/>
          </a:bodyPr>
          <a:lstStyle>
            <a:lvl1pPr>
              <a:defRPr sz="1597">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4" y="5002213"/>
            <a:ext cx="1882775" cy="1022350"/>
          </a:xfrm>
          <a:prstGeom prst="rect">
            <a:avLst/>
          </a:prstGeom>
        </p:spPr>
        <p:txBody>
          <a:bodyPr/>
          <a:lstStyle>
            <a:lvl1pPr algn="ctr">
              <a:defRPr sz="1198">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4" y="6226177"/>
            <a:ext cx="5352396" cy="188259"/>
          </a:xfrm>
          <a:prstGeom prst="rect">
            <a:avLst/>
          </a:prstGeom>
        </p:spPr>
        <p:txBody>
          <a:bodyPr vert="horz" lIns="0" tIns="0" rIns="0" bIns="0" rtlCol="0">
            <a:noAutofit/>
          </a:bodyPr>
          <a:lstStyle>
            <a:lvl1pPr>
              <a:defRPr sz="998">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ONFIDENTIAL</a:t>
            </a:r>
          </a:p>
        </p:txBody>
      </p:sp>
    </p:spTree>
    <p:extLst>
      <p:ext uri="{BB962C8B-B14F-4D97-AF65-F5344CB8AC3E}">
        <p14:creationId xmlns:p14="http://schemas.microsoft.com/office/powerpoint/2010/main" val="4785049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6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8" y="2"/>
            <a:ext cx="12182205" cy="6857999"/>
          </a:xfrm>
          <a:prstGeom prst="rect">
            <a:avLst/>
          </a:prstGeom>
        </p:spPr>
      </p:pic>
      <p:sp>
        <p:nvSpPr>
          <p:cNvPr id="2" name="Título 2"/>
          <p:cNvSpPr>
            <a:spLocks noGrp="1"/>
          </p:cNvSpPr>
          <p:nvPr>
            <p:ph type="title"/>
          </p:nvPr>
        </p:nvSpPr>
        <p:spPr>
          <a:xfrm>
            <a:off x="550862" y="2031460"/>
            <a:ext cx="5352397" cy="1962317"/>
          </a:xfrm>
          <a:prstGeom prst="rect">
            <a:avLst/>
          </a:prstGeom>
        </p:spPr>
        <p:txBody>
          <a:bodyPr wrap="square" anchor="b" anchorCtr="0">
            <a:noAutofit/>
          </a:bodyPr>
          <a:lstStyle>
            <a:lvl1pPr>
              <a:defRPr sz="4791">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415460"/>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4" y="4101353"/>
            <a:ext cx="5352396" cy="309282"/>
          </a:xfrm>
          <a:prstGeom prst="rect">
            <a:avLst/>
          </a:prstGeom>
        </p:spPr>
        <p:txBody>
          <a:bodyPr vert="horz" lIns="0" tIns="0" rIns="0" bIns="0" rtlCol="0">
            <a:noAutofit/>
          </a:bodyPr>
          <a:lstStyle>
            <a:lvl1pPr>
              <a:defRPr sz="1996" b="0">
                <a:solidFill>
                  <a:schemeClr val="bg2"/>
                </a:solidFill>
                <a:latin typeface="Santander Headline" panose="020B0504020201020104"/>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4" y="4518214"/>
            <a:ext cx="5352396" cy="188259"/>
          </a:xfrm>
          <a:prstGeom prst="rect">
            <a:avLst/>
          </a:prstGeom>
        </p:spPr>
        <p:txBody>
          <a:bodyPr vert="horz" lIns="0" tIns="0" rIns="0" bIns="0" rtlCol="0">
            <a:noAutofit/>
          </a:bodyPr>
          <a:lstStyle>
            <a:lvl1pPr>
              <a:defRPr sz="1597">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4" y="5002213"/>
            <a:ext cx="1882775" cy="1022350"/>
          </a:xfrm>
          <a:prstGeom prst="rect">
            <a:avLst/>
          </a:prstGeom>
        </p:spPr>
        <p:txBody>
          <a:bodyPr/>
          <a:lstStyle>
            <a:lvl1pPr algn="ctr">
              <a:defRPr sz="1198">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4" y="6226177"/>
            <a:ext cx="5352396" cy="188259"/>
          </a:xfrm>
          <a:prstGeom prst="rect">
            <a:avLst/>
          </a:prstGeom>
        </p:spPr>
        <p:txBody>
          <a:bodyPr vert="horz" lIns="0" tIns="0" rIns="0" bIns="0" rtlCol="0">
            <a:noAutofit/>
          </a:bodyPr>
          <a:lstStyle>
            <a:lvl1pPr>
              <a:defRPr sz="998">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ONFIDENTIAL</a:t>
            </a:r>
          </a:p>
        </p:txBody>
      </p:sp>
    </p:spTree>
    <p:extLst>
      <p:ext uri="{BB962C8B-B14F-4D97-AF65-F5344CB8AC3E}">
        <p14:creationId xmlns:p14="http://schemas.microsoft.com/office/powerpoint/2010/main" val="199236770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9" y="2"/>
            <a:ext cx="12182203" cy="6857999"/>
          </a:xfrm>
          <a:prstGeom prst="rect">
            <a:avLst/>
          </a:prstGeom>
        </p:spPr>
      </p:pic>
      <p:sp>
        <p:nvSpPr>
          <p:cNvPr id="2" name="Título 2"/>
          <p:cNvSpPr>
            <a:spLocks noGrp="1"/>
          </p:cNvSpPr>
          <p:nvPr>
            <p:ph type="title"/>
          </p:nvPr>
        </p:nvSpPr>
        <p:spPr>
          <a:xfrm>
            <a:off x="550862" y="2031460"/>
            <a:ext cx="5352397" cy="1962317"/>
          </a:xfrm>
          <a:prstGeom prst="rect">
            <a:avLst/>
          </a:prstGeom>
        </p:spPr>
        <p:txBody>
          <a:bodyPr wrap="square" anchor="b" anchorCtr="0">
            <a:noAutofit/>
          </a:bodyPr>
          <a:lstStyle>
            <a:lvl1pPr>
              <a:defRPr sz="4791">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415460"/>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4" y="4101353"/>
            <a:ext cx="5352396" cy="309282"/>
          </a:xfrm>
          <a:prstGeom prst="rect">
            <a:avLst/>
          </a:prstGeom>
        </p:spPr>
        <p:txBody>
          <a:bodyPr vert="horz" lIns="0" tIns="0" rIns="0" bIns="0" rtlCol="0">
            <a:noAutofit/>
          </a:bodyPr>
          <a:lstStyle>
            <a:lvl1pPr>
              <a:defRPr sz="1996" b="0">
                <a:solidFill>
                  <a:schemeClr val="bg2"/>
                </a:solidFill>
                <a:latin typeface="Santander Headline" panose="020B0504020201020104"/>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4" y="4518214"/>
            <a:ext cx="5352396" cy="188259"/>
          </a:xfrm>
          <a:prstGeom prst="rect">
            <a:avLst/>
          </a:prstGeom>
        </p:spPr>
        <p:txBody>
          <a:bodyPr vert="horz" lIns="0" tIns="0" rIns="0" bIns="0" rtlCol="0">
            <a:noAutofit/>
          </a:bodyPr>
          <a:lstStyle>
            <a:lvl1pPr>
              <a:defRPr sz="1597">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4" y="5002213"/>
            <a:ext cx="1882775" cy="1022350"/>
          </a:xfrm>
          <a:prstGeom prst="rect">
            <a:avLst/>
          </a:prstGeom>
        </p:spPr>
        <p:txBody>
          <a:bodyPr/>
          <a:lstStyle>
            <a:lvl1pPr algn="ctr">
              <a:defRPr sz="1198">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4" y="6226177"/>
            <a:ext cx="5352396" cy="188259"/>
          </a:xfrm>
          <a:prstGeom prst="rect">
            <a:avLst/>
          </a:prstGeom>
        </p:spPr>
        <p:txBody>
          <a:bodyPr vert="horz" lIns="0" tIns="0" rIns="0" bIns="0" rtlCol="0">
            <a:noAutofit/>
          </a:bodyPr>
          <a:lstStyle>
            <a:lvl1pPr>
              <a:defRPr sz="998">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ONFIDENTIAL</a:t>
            </a:r>
          </a:p>
        </p:txBody>
      </p:sp>
    </p:spTree>
    <p:extLst>
      <p:ext uri="{BB962C8B-B14F-4D97-AF65-F5344CB8AC3E}">
        <p14:creationId xmlns:p14="http://schemas.microsoft.com/office/powerpoint/2010/main" val="19641378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4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9" y="0"/>
            <a:ext cx="12182203" cy="6857998"/>
          </a:xfrm>
          <a:prstGeom prst="rect">
            <a:avLst/>
          </a:prstGeom>
        </p:spPr>
      </p:pic>
      <p:sp>
        <p:nvSpPr>
          <p:cNvPr id="2" name="Título 2"/>
          <p:cNvSpPr>
            <a:spLocks noGrp="1"/>
          </p:cNvSpPr>
          <p:nvPr>
            <p:ph type="title"/>
          </p:nvPr>
        </p:nvSpPr>
        <p:spPr>
          <a:xfrm>
            <a:off x="550862" y="2031460"/>
            <a:ext cx="5352397" cy="1962317"/>
          </a:xfrm>
          <a:prstGeom prst="rect">
            <a:avLst/>
          </a:prstGeom>
        </p:spPr>
        <p:txBody>
          <a:bodyPr wrap="square" anchor="b" anchorCtr="0">
            <a:noAutofit/>
          </a:bodyPr>
          <a:lstStyle>
            <a:lvl1pPr>
              <a:defRPr sz="4791">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415460"/>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4" y="4101353"/>
            <a:ext cx="5352396" cy="309282"/>
          </a:xfrm>
          <a:prstGeom prst="rect">
            <a:avLst/>
          </a:prstGeom>
        </p:spPr>
        <p:txBody>
          <a:bodyPr vert="horz" lIns="0" tIns="0" rIns="0" bIns="0" rtlCol="0">
            <a:noAutofit/>
          </a:bodyPr>
          <a:lstStyle>
            <a:lvl1pPr>
              <a:defRPr sz="1996" b="0">
                <a:solidFill>
                  <a:schemeClr val="bg2"/>
                </a:solidFill>
                <a:latin typeface="Santander Headline" panose="020B0504020201020104"/>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4" y="4518214"/>
            <a:ext cx="5352396" cy="188259"/>
          </a:xfrm>
          <a:prstGeom prst="rect">
            <a:avLst/>
          </a:prstGeom>
        </p:spPr>
        <p:txBody>
          <a:bodyPr vert="horz" lIns="0" tIns="0" rIns="0" bIns="0" rtlCol="0">
            <a:noAutofit/>
          </a:bodyPr>
          <a:lstStyle>
            <a:lvl1pPr>
              <a:defRPr sz="1597">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4" y="5002213"/>
            <a:ext cx="1882775" cy="1022350"/>
          </a:xfrm>
          <a:prstGeom prst="rect">
            <a:avLst/>
          </a:prstGeom>
        </p:spPr>
        <p:txBody>
          <a:bodyPr/>
          <a:lstStyle>
            <a:lvl1pPr algn="ctr">
              <a:defRPr sz="1198">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4" y="6226177"/>
            <a:ext cx="5352396" cy="188259"/>
          </a:xfrm>
          <a:prstGeom prst="rect">
            <a:avLst/>
          </a:prstGeom>
        </p:spPr>
        <p:txBody>
          <a:bodyPr vert="horz" lIns="0" tIns="0" rIns="0" bIns="0" rtlCol="0">
            <a:noAutofit/>
          </a:bodyPr>
          <a:lstStyle>
            <a:lvl1pPr>
              <a:defRPr sz="998">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ONFIDENTIAL</a:t>
            </a:r>
          </a:p>
        </p:txBody>
      </p:sp>
    </p:spTree>
    <p:extLst>
      <p:ext uri="{BB962C8B-B14F-4D97-AF65-F5344CB8AC3E}">
        <p14:creationId xmlns:p14="http://schemas.microsoft.com/office/powerpoint/2010/main" val="408070110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5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00" y="0"/>
            <a:ext cx="12182201" cy="6857998"/>
          </a:xfrm>
          <a:prstGeom prst="rect">
            <a:avLst/>
          </a:prstGeom>
        </p:spPr>
      </p:pic>
      <p:sp>
        <p:nvSpPr>
          <p:cNvPr id="2" name="Título 2"/>
          <p:cNvSpPr>
            <a:spLocks noGrp="1"/>
          </p:cNvSpPr>
          <p:nvPr>
            <p:ph type="title"/>
          </p:nvPr>
        </p:nvSpPr>
        <p:spPr>
          <a:xfrm>
            <a:off x="550862" y="2031460"/>
            <a:ext cx="5352397" cy="1962317"/>
          </a:xfrm>
          <a:prstGeom prst="rect">
            <a:avLst/>
          </a:prstGeom>
        </p:spPr>
        <p:txBody>
          <a:bodyPr wrap="square" anchor="b" anchorCtr="0">
            <a:noAutofit/>
          </a:bodyPr>
          <a:lstStyle>
            <a:lvl1pPr>
              <a:defRPr sz="4791">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415460"/>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4" y="4101353"/>
            <a:ext cx="5352396" cy="309282"/>
          </a:xfrm>
          <a:prstGeom prst="rect">
            <a:avLst/>
          </a:prstGeom>
        </p:spPr>
        <p:txBody>
          <a:bodyPr vert="horz" lIns="0" tIns="0" rIns="0" bIns="0" rtlCol="0">
            <a:noAutofit/>
          </a:bodyPr>
          <a:lstStyle>
            <a:lvl1pPr>
              <a:defRPr sz="1996" b="0">
                <a:solidFill>
                  <a:schemeClr val="bg2"/>
                </a:solidFill>
                <a:latin typeface="Santander Headline" panose="020B0504020201020104"/>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4" y="4518214"/>
            <a:ext cx="5352396" cy="188259"/>
          </a:xfrm>
          <a:prstGeom prst="rect">
            <a:avLst/>
          </a:prstGeom>
        </p:spPr>
        <p:txBody>
          <a:bodyPr vert="horz" lIns="0" tIns="0" rIns="0" bIns="0" rtlCol="0">
            <a:noAutofit/>
          </a:bodyPr>
          <a:lstStyle>
            <a:lvl1pPr>
              <a:defRPr sz="1597">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4" y="5002213"/>
            <a:ext cx="1882775" cy="1022350"/>
          </a:xfrm>
          <a:prstGeom prst="rect">
            <a:avLst/>
          </a:prstGeom>
        </p:spPr>
        <p:txBody>
          <a:bodyPr/>
          <a:lstStyle>
            <a:lvl1pPr algn="ctr">
              <a:defRPr sz="1198">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4" y="6226177"/>
            <a:ext cx="5352396" cy="188259"/>
          </a:xfrm>
          <a:prstGeom prst="rect">
            <a:avLst/>
          </a:prstGeom>
        </p:spPr>
        <p:txBody>
          <a:bodyPr vert="horz" lIns="0" tIns="0" rIns="0" bIns="0" rtlCol="0">
            <a:noAutofit/>
          </a:bodyPr>
          <a:lstStyle>
            <a:lvl1pPr>
              <a:defRPr sz="998">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ONFIDENTIAL</a:t>
            </a:r>
          </a:p>
        </p:txBody>
      </p:sp>
    </p:spTree>
    <p:extLst>
      <p:ext uri="{BB962C8B-B14F-4D97-AF65-F5344CB8AC3E}">
        <p14:creationId xmlns:p14="http://schemas.microsoft.com/office/powerpoint/2010/main" val="31134436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7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00" y="2"/>
            <a:ext cx="12182201" cy="6857997"/>
          </a:xfrm>
          <a:prstGeom prst="rect">
            <a:avLst/>
          </a:prstGeom>
        </p:spPr>
      </p:pic>
      <p:sp>
        <p:nvSpPr>
          <p:cNvPr id="2" name="Título 2"/>
          <p:cNvSpPr>
            <a:spLocks noGrp="1"/>
          </p:cNvSpPr>
          <p:nvPr>
            <p:ph type="title"/>
          </p:nvPr>
        </p:nvSpPr>
        <p:spPr>
          <a:xfrm>
            <a:off x="550862" y="2031460"/>
            <a:ext cx="5352397" cy="1962317"/>
          </a:xfrm>
          <a:prstGeom prst="rect">
            <a:avLst/>
          </a:prstGeom>
        </p:spPr>
        <p:txBody>
          <a:bodyPr wrap="square" anchor="b" anchorCtr="0">
            <a:noAutofit/>
          </a:bodyPr>
          <a:lstStyle>
            <a:lvl1pPr>
              <a:defRPr sz="4791">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415460"/>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4" y="4101353"/>
            <a:ext cx="5352396" cy="309282"/>
          </a:xfrm>
          <a:prstGeom prst="rect">
            <a:avLst/>
          </a:prstGeom>
        </p:spPr>
        <p:txBody>
          <a:bodyPr vert="horz" lIns="0" tIns="0" rIns="0" bIns="0" rtlCol="0">
            <a:noAutofit/>
          </a:bodyPr>
          <a:lstStyle>
            <a:lvl1pPr>
              <a:defRPr sz="1996" b="0">
                <a:solidFill>
                  <a:schemeClr val="bg2"/>
                </a:solidFill>
                <a:latin typeface="Santander Headline" panose="020B0504020201020104"/>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4" y="4518214"/>
            <a:ext cx="5352396" cy="188259"/>
          </a:xfrm>
          <a:prstGeom prst="rect">
            <a:avLst/>
          </a:prstGeom>
        </p:spPr>
        <p:txBody>
          <a:bodyPr vert="horz" lIns="0" tIns="0" rIns="0" bIns="0" rtlCol="0">
            <a:noAutofit/>
          </a:bodyPr>
          <a:lstStyle>
            <a:lvl1pPr>
              <a:defRPr sz="1597">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4" y="5002213"/>
            <a:ext cx="1882775" cy="1022350"/>
          </a:xfrm>
          <a:prstGeom prst="rect">
            <a:avLst/>
          </a:prstGeom>
        </p:spPr>
        <p:txBody>
          <a:bodyPr/>
          <a:lstStyle>
            <a:lvl1pPr algn="ctr">
              <a:defRPr sz="1198">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4" y="6226177"/>
            <a:ext cx="5352396" cy="188259"/>
          </a:xfrm>
          <a:prstGeom prst="rect">
            <a:avLst/>
          </a:prstGeom>
        </p:spPr>
        <p:txBody>
          <a:bodyPr vert="horz" lIns="0" tIns="0" rIns="0" bIns="0" rtlCol="0">
            <a:noAutofit/>
          </a:bodyPr>
          <a:lstStyle>
            <a:lvl1pPr>
              <a:defRPr sz="998">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ONFIDENTIAL</a:t>
            </a:r>
          </a:p>
        </p:txBody>
      </p:sp>
    </p:spTree>
    <p:extLst>
      <p:ext uri="{BB962C8B-B14F-4D97-AF65-F5344CB8AC3E}">
        <p14:creationId xmlns:p14="http://schemas.microsoft.com/office/powerpoint/2010/main" val="237246942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8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9" y="2"/>
            <a:ext cx="12182200" cy="6857997"/>
          </a:xfrm>
          <a:prstGeom prst="rect">
            <a:avLst/>
          </a:prstGeom>
        </p:spPr>
      </p:pic>
      <p:sp>
        <p:nvSpPr>
          <p:cNvPr id="2" name="Título 2"/>
          <p:cNvSpPr>
            <a:spLocks noGrp="1"/>
          </p:cNvSpPr>
          <p:nvPr>
            <p:ph type="title"/>
          </p:nvPr>
        </p:nvSpPr>
        <p:spPr>
          <a:xfrm>
            <a:off x="550862" y="2031460"/>
            <a:ext cx="5352397" cy="1962317"/>
          </a:xfrm>
          <a:prstGeom prst="rect">
            <a:avLst/>
          </a:prstGeom>
        </p:spPr>
        <p:txBody>
          <a:bodyPr wrap="square" anchor="b" anchorCtr="0">
            <a:noAutofit/>
          </a:bodyPr>
          <a:lstStyle>
            <a:lvl1pPr>
              <a:defRPr sz="4791">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415460"/>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4" y="4101353"/>
            <a:ext cx="5352396" cy="309282"/>
          </a:xfrm>
          <a:prstGeom prst="rect">
            <a:avLst/>
          </a:prstGeom>
        </p:spPr>
        <p:txBody>
          <a:bodyPr vert="horz" lIns="0" tIns="0" rIns="0" bIns="0" rtlCol="0">
            <a:noAutofit/>
          </a:bodyPr>
          <a:lstStyle>
            <a:lvl1pPr>
              <a:defRPr sz="1996" b="0">
                <a:solidFill>
                  <a:schemeClr val="bg2"/>
                </a:solidFill>
                <a:latin typeface="Santander Headline" panose="020B0504020201020104"/>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4" y="4518214"/>
            <a:ext cx="5352396" cy="188259"/>
          </a:xfrm>
          <a:prstGeom prst="rect">
            <a:avLst/>
          </a:prstGeom>
        </p:spPr>
        <p:txBody>
          <a:bodyPr vert="horz" lIns="0" tIns="0" rIns="0" bIns="0" rtlCol="0">
            <a:noAutofit/>
          </a:bodyPr>
          <a:lstStyle>
            <a:lvl1pPr>
              <a:defRPr sz="1597">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4" y="5002213"/>
            <a:ext cx="1882775" cy="1022350"/>
          </a:xfrm>
          <a:prstGeom prst="rect">
            <a:avLst/>
          </a:prstGeom>
        </p:spPr>
        <p:txBody>
          <a:bodyPr/>
          <a:lstStyle>
            <a:lvl1pPr algn="ctr">
              <a:defRPr sz="1198">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4" y="6226177"/>
            <a:ext cx="5352396" cy="188259"/>
          </a:xfrm>
          <a:prstGeom prst="rect">
            <a:avLst/>
          </a:prstGeom>
        </p:spPr>
        <p:txBody>
          <a:bodyPr vert="horz" lIns="0" tIns="0" rIns="0" bIns="0" rtlCol="0">
            <a:noAutofit/>
          </a:bodyPr>
          <a:lstStyle>
            <a:lvl1pPr>
              <a:defRPr sz="998">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ONFIDENTIAL</a:t>
            </a:r>
          </a:p>
        </p:txBody>
      </p:sp>
    </p:spTree>
    <p:extLst>
      <p:ext uri="{BB962C8B-B14F-4D97-AF65-F5344CB8AC3E}">
        <p14:creationId xmlns:p14="http://schemas.microsoft.com/office/powerpoint/2010/main" val="41777713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8_Layout w/ subtitle">
    <p:spTree>
      <p:nvGrpSpPr>
        <p:cNvPr id="1" name=""/>
        <p:cNvGrpSpPr/>
        <p:nvPr/>
      </p:nvGrpSpPr>
      <p:grpSpPr>
        <a:xfrm>
          <a:off x="0" y="0"/>
          <a:ext cx="0" cy="0"/>
          <a:chOff x="0" y="0"/>
          <a:chExt cx="0" cy="0"/>
        </a:xfrm>
      </p:grpSpPr>
      <p:sp>
        <p:nvSpPr>
          <p:cNvPr id="13"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2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9"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sp>
        <p:nvSpPr>
          <p:cNvPr id="11" name="Content Placeholder 3"/>
          <p:cNvSpPr>
            <a:spLocks noGrp="1"/>
          </p:cNvSpPr>
          <p:nvPr>
            <p:ph sz="quarter" idx="15" hasCustomPrompt="1"/>
          </p:nvPr>
        </p:nvSpPr>
        <p:spPr>
          <a:xfrm>
            <a:off x="550862" y="1240519"/>
            <a:ext cx="11090275"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table title</a:t>
            </a:r>
          </a:p>
        </p:txBody>
      </p:sp>
    </p:spTree>
    <p:extLst>
      <p:ext uri="{BB962C8B-B14F-4D97-AF65-F5344CB8AC3E}">
        <p14:creationId xmlns:p14="http://schemas.microsoft.com/office/powerpoint/2010/main" val="34732189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9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9" y="0"/>
            <a:ext cx="12182200" cy="6857996"/>
          </a:xfrm>
          <a:prstGeom prst="rect">
            <a:avLst/>
          </a:prstGeom>
        </p:spPr>
      </p:pic>
      <p:sp>
        <p:nvSpPr>
          <p:cNvPr id="2" name="Título 2"/>
          <p:cNvSpPr>
            <a:spLocks noGrp="1"/>
          </p:cNvSpPr>
          <p:nvPr>
            <p:ph type="title"/>
          </p:nvPr>
        </p:nvSpPr>
        <p:spPr>
          <a:xfrm>
            <a:off x="550862" y="2031460"/>
            <a:ext cx="5352397" cy="1962317"/>
          </a:xfrm>
          <a:prstGeom prst="rect">
            <a:avLst/>
          </a:prstGeom>
        </p:spPr>
        <p:txBody>
          <a:bodyPr wrap="square" anchor="b" anchorCtr="0">
            <a:noAutofit/>
          </a:bodyPr>
          <a:lstStyle>
            <a:lvl1pPr>
              <a:defRPr sz="4791">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415460"/>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4" y="4101353"/>
            <a:ext cx="5352396" cy="309282"/>
          </a:xfrm>
          <a:prstGeom prst="rect">
            <a:avLst/>
          </a:prstGeom>
        </p:spPr>
        <p:txBody>
          <a:bodyPr vert="horz" lIns="0" tIns="0" rIns="0" bIns="0" rtlCol="0">
            <a:noAutofit/>
          </a:bodyPr>
          <a:lstStyle>
            <a:lvl1pPr>
              <a:defRPr sz="1996" b="0">
                <a:solidFill>
                  <a:schemeClr val="bg2"/>
                </a:solidFill>
                <a:latin typeface="Santander Headline" panose="020B0504020201020104"/>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4" y="4518214"/>
            <a:ext cx="5352396" cy="188259"/>
          </a:xfrm>
          <a:prstGeom prst="rect">
            <a:avLst/>
          </a:prstGeom>
        </p:spPr>
        <p:txBody>
          <a:bodyPr vert="horz" lIns="0" tIns="0" rIns="0" bIns="0" rtlCol="0">
            <a:noAutofit/>
          </a:bodyPr>
          <a:lstStyle>
            <a:lvl1pPr>
              <a:defRPr sz="1597">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4" y="5002213"/>
            <a:ext cx="1882775" cy="1022350"/>
          </a:xfrm>
          <a:prstGeom prst="rect">
            <a:avLst/>
          </a:prstGeom>
        </p:spPr>
        <p:txBody>
          <a:bodyPr/>
          <a:lstStyle>
            <a:lvl1pPr algn="ctr">
              <a:defRPr sz="1198">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4" y="6226177"/>
            <a:ext cx="5352396" cy="188259"/>
          </a:xfrm>
          <a:prstGeom prst="rect">
            <a:avLst/>
          </a:prstGeom>
        </p:spPr>
        <p:txBody>
          <a:bodyPr vert="horz" lIns="0" tIns="0" rIns="0" bIns="0" rtlCol="0">
            <a:noAutofit/>
          </a:bodyPr>
          <a:lstStyle>
            <a:lvl1pPr>
              <a:defRPr sz="998">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ONFIDENTIAL</a:t>
            </a:r>
          </a:p>
        </p:txBody>
      </p:sp>
    </p:spTree>
    <p:extLst>
      <p:ext uri="{BB962C8B-B14F-4D97-AF65-F5344CB8AC3E}">
        <p14:creationId xmlns:p14="http://schemas.microsoft.com/office/powerpoint/2010/main" val="319282963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0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00" y="0"/>
            <a:ext cx="12182198" cy="6857996"/>
          </a:xfrm>
          <a:prstGeom prst="rect">
            <a:avLst/>
          </a:prstGeom>
        </p:spPr>
      </p:pic>
      <p:sp>
        <p:nvSpPr>
          <p:cNvPr id="2" name="Título 2"/>
          <p:cNvSpPr>
            <a:spLocks noGrp="1"/>
          </p:cNvSpPr>
          <p:nvPr>
            <p:ph type="title"/>
          </p:nvPr>
        </p:nvSpPr>
        <p:spPr>
          <a:xfrm>
            <a:off x="550862" y="2031460"/>
            <a:ext cx="5352397" cy="1962317"/>
          </a:xfrm>
          <a:prstGeom prst="rect">
            <a:avLst/>
          </a:prstGeom>
        </p:spPr>
        <p:txBody>
          <a:bodyPr wrap="square" anchor="b" anchorCtr="0">
            <a:noAutofit/>
          </a:bodyPr>
          <a:lstStyle>
            <a:lvl1pPr>
              <a:defRPr sz="4791">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415460"/>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4" y="4101353"/>
            <a:ext cx="5352396" cy="309282"/>
          </a:xfrm>
          <a:prstGeom prst="rect">
            <a:avLst/>
          </a:prstGeom>
        </p:spPr>
        <p:txBody>
          <a:bodyPr vert="horz" lIns="0" tIns="0" rIns="0" bIns="0" rtlCol="0">
            <a:noAutofit/>
          </a:bodyPr>
          <a:lstStyle>
            <a:lvl1pPr>
              <a:defRPr sz="1996" b="0">
                <a:solidFill>
                  <a:schemeClr val="bg2"/>
                </a:solidFill>
                <a:latin typeface="Santander Headline" panose="020B0504020201020104"/>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4" y="4518214"/>
            <a:ext cx="5352396" cy="188259"/>
          </a:xfrm>
          <a:prstGeom prst="rect">
            <a:avLst/>
          </a:prstGeom>
        </p:spPr>
        <p:txBody>
          <a:bodyPr vert="horz" lIns="0" tIns="0" rIns="0" bIns="0" rtlCol="0">
            <a:noAutofit/>
          </a:bodyPr>
          <a:lstStyle>
            <a:lvl1pPr>
              <a:defRPr sz="1597">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4" y="5002213"/>
            <a:ext cx="1882775" cy="1022350"/>
          </a:xfrm>
          <a:prstGeom prst="rect">
            <a:avLst/>
          </a:prstGeom>
        </p:spPr>
        <p:txBody>
          <a:bodyPr/>
          <a:lstStyle>
            <a:lvl1pPr algn="ctr">
              <a:defRPr sz="1198">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4" y="6226177"/>
            <a:ext cx="5352396" cy="188259"/>
          </a:xfrm>
          <a:prstGeom prst="rect">
            <a:avLst/>
          </a:prstGeom>
        </p:spPr>
        <p:txBody>
          <a:bodyPr vert="horz" lIns="0" tIns="0" rIns="0" bIns="0" rtlCol="0">
            <a:noAutofit/>
          </a:bodyPr>
          <a:lstStyle>
            <a:lvl1pPr>
              <a:defRPr sz="998">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ONFIDENTIAL</a:t>
            </a:r>
          </a:p>
        </p:txBody>
      </p:sp>
    </p:spTree>
    <p:extLst>
      <p:ext uri="{BB962C8B-B14F-4D97-AF65-F5344CB8AC3E}">
        <p14:creationId xmlns:p14="http://schemas.microsoft.com/office/powerpoint/2010/main" val="183452304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1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00" y="2"/>
            <a:ext cx="12182198" cy="6857995"/>
          </a:xfrm>
          <a:prstGeom prst="rect">
            <a:avLst/>
          </a:prstGeom>
        </p:spPr>
      </p:pic>
      <p:sp>
        <p:nvSpPr>
          <p:cNvPr id="2" name="Título 2"/>
          <p:cNvSpPr>
            <a:spLocks noGrp="1"/>
          </p:cNvSpPr>
          <p:nvPr>
            <p:ph type="title"/>
          </p:nvPr>
        </p:nvSpPr>
        <p:spPr>
          <a:xfrm>
            <a:off x="550862" y="2031460"/>
            <a:ext cx="5352397" cy="1962317"/>
          </a:xfrm>
          <a:prstGeom prst="rect">
            <a:avLst/>
          </a:prstGeom>
        </p:spPr>
        <p:txBody>
          <a:bodyPr wrap="square" anchor="b" anchorCtr="0">
            <a:noAutofit/>
          </a:bodyPr>
          <a:lstStyle>
            <a:lvl1pPr>
              <a:defRPr sz="4791">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3" y="415460"/>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4" y="4101353"/>
            <a:ext cx="5352396" cy="309282"/>
          </a:xfrm>
          <a:prstGeom prst="rect">
            <a:avLst/>
          </a:prstGeom>
        </p:spPr>
        <p:txBody>
          <a:bodyPr vert="horz" lIns="0" tIns="0" rIns="0" bIns="0" rtlCol="0">
            <a:noAutofit/>
          </a:bodyPr>
          <a:lstStyle>
            <a:lvl1pPr>
              <a:defRPr sz="1996" b="0">
                <a:solidFill>
                  <a:schemeClr val="bg2"/>
                </a:solidFill>
                <a:latin typeface="Santander Headline" panose="020B0504020201020104"/>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4" y="4518214"/>
            <a:ext cx="5352396" cy="188259"/>
          </a:xfrm>
          <a:prstGeom prst="rect">
            <a:avLst/>
          </a:prstGeom>
        </p:spPr>
        <p:txBody>
          <a:bodyPr vert="horz" lIns="0" tIns="0" rIns="0" bIns="0" rtlCol="0">
            <a:noAutofit/>
          </a:bodyPr>
          <a:lstStyle>
            <a:lvl1pPr>
              <a:defRPr sz="1597">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4" y="5002213"/>
            <a:ext cx="1882775" cy="1022350"/>
          </a:xfrm>
          <a:prstGeom prst="rect">
            <a:avLst/>
          </a:prstGeom>
        </p:spPr>
        <p:txBody>
          <a:bodyPr/>
          <a:lstStyle>
            <a:lvl1pPr algn="ctr">
              <a:defRPr sz="1198">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4" y="6226177"/>
            <a:ext cx="5352396" cy="188259"/>
          </a:xfrm>
          <a:prstGeom prst="rect">
            <a:avLst/>
          </a:prstGeom>
        </p:spPr>
        <p:txBody>
          <a:bodyPr vert="horz" lIns="0" tIns="0" rIns="0" bIns="0" rtlCol="0">
            <a:noAutofit/>
          </a:bodyPr>
          <a:lstStyle>
            <a:lvl1pPr>
              <a:defRPr sz="998">
                <a:solidFill>
                  <a:schemeClr val="bg2"/>
                </a:solidFill>
                <a:latin typeface="Santander Text"/>
              </a:defRPr>
            </a:lvl1p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CONFIDENTIAL</a:t>
            </a:r>
          </a:p>
        </p:txBody>
      </p:sp>
    </p:spTree>
    <p:extLst>
      <p:ext uri="{BB962C8B-B14F-4D97-AF65-F5344CB8AC3E}">
        <p14:creationId xmlns:p14="http://schemas.microsoft.com/office/powerpoint/2010/main" val="305407711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6_Index">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3" y="264281"/>
            <a:ext cx="11090275" cy="614413"/>
          </a:xfrm>
          <a:prstGeom prst="rect">
            <a:avLst/>
          </a:prstGeom>
        </p:spPr>
        <p:txBody>
          <a:bodyPr vert="horz" lIns="0" tIns="0" rIns="0" bIns="0" rtlCol="0" anchor="b">
            <a:noAutofit/>
          </a:bodyPr>
          <a:lstStyle>
            <a:lvl1pPr>
              <a:lnSpc>
                <a:spcPts val="2396"/>
              </a:lnSpc>
              <a:defRPr/>
            </a:lvl1pPr>
          </a:lstStyle>
          <a:p>
            <a:r>
              <a:rPr lang="en-US"/>
              <a:t>Click to edit title</a:t>
            </a:r>
            <a:endParaRPr lang="es-ES"/>
          </a:p>
        </p:txBody>
      </p:sp>
    </p:spTree>
    <p:extLst>
      <p:ext uri="{BB962C8B-B14F-4D97-AF65-F5344CB8AC3E}">
        <p14:creationId xmlns:p14="http://schemas.microsoft.com/office/powerpoint/2010/main" val="366035930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7_Layout w/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72C7637-E198-4E44-B59C-3194989054AC}"/>
              </a:ext>
            </a:extLst>
          </p:cNvPr>
          <p:cNvSpPr>
            <a:spLocks noGrp="1"/>
          </p:cNvSpPr>
          <p:nvPr>
            <p:ph type="body" sz="quarter" idx="13"/>
          </p:nvPr>
        </p:nvSpPr>
        <p:spPr>
          <a:xfrm>
            <a:off x="550863" y="1628774"/>
            <a:ext cx="11090275" cy="4500564"/>
          </a:xfrm>
        </p:spPr>
        <p:txBody>
          <a:bodyPr tIns="180000"/>
          <a:lstStyle>
            <a:lvl1pPr>
              <a:lnSpc>
                <a:spcPct val="100000"/>
              </a:lnSpc>
              <a:spcAft>
                <a:spcPts val="599"/>
              </a:spcAft>
              <a:defRPr sz="1597"/>
            </a:lvl1pPr>
            <a:lvl2pPr>
              <a:lnSpc>
                <a:spcPct val="100000"/>
              </a:lnSpc>
              <a:spcAft>
                <a:spcPts val="599"/>
              </a:spcAft>
              <a:defRPr sz="1597"/>
            </a:lvl2pPr>
            <a:lvl3pPr>
              <a:lnSpc>
                <a:spcPct val="100000"/>
              </a:lnSpc>
              <a:spcAft>
                <a:spcPts val="599"/>
              </a:spcAft>
              <a:defRPr sz="1597"/>
            </a:lvl3pPr>
            <a:lvl4pPr>
              <a:lnSpc>
                <a:spcPct val="100000"/>
              </a:lnSpc>
              <a:spcAft>
                <a:spcPts val="599"/>
              </a:spcAft>
              <a:defRPr sz="1597"/>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3" name="CuadroTexto 5">
            <a:extLst>
              <a:ext uri="{FF2B5EF4-FFF2-40B4-BE49-F238E27FC236}">
                <a16:creationId xmlns:a16="http://schemas.microsoft.com/office/drawing/2014/main" id="{4355AB1E-66FF-4C7B-95B6-6E8B522B05A6}"/>
              </a:ext>
            </a:extLst>
          </p:cNvPr>
          <p:cNvSpPr txBox="1"/>
          <p:nvPr userDrawn="1"/>
        </p:nvSpPr>
        <p:spPr>
          <a:xfrm>
            <a:off x="9948536" y="6456770"/>
            <a:ext cx="1706251" cy="292388"/>
          </a:xfrm>
          <a:prstGeom prst="rect">
            <a:avLst/>
          </a:prstGeom>
          <a:noFill/>
        </p:spPr>
        <p:txBody>
          <a:bodyPr wrap="square" lIns="0" tIns="0" rIns="0" bIns="0" rtlCol="0" anchor="ctr" anchorCtr="0">
            <a:noAutofit/>
          </a:bodyPr>
          <a:lstStyle/>
          <a:p>
            <a:pPr algn="r" defTabSz="911111"/>
            <a:fld id="{DB0C6F71-F88D-45D5-A0AB-EA235CD66EB9}" type="slidenum">
              <a:rPr lang="en-US" sz="1296" noProof="0" smtClean="0">
                <a:solidFill>
                  <a:schemeClr val="tx1"/>
                </a:solidFill>
                <a:latin typeface="Santander Text" panose="020B0504020201020104" pitchFamily="34" charset="0"/>
              </a:rPr>
              <a:pPr algn="r" defTabSz="911111"/>
              <a:t>‹#›</a:t>
            </a:fld>
            <a:endParaRPr lang="en-US" sz="1296" noProof="0">
              <a:solidFill>
                <a:schemeClr val="tx1"/>
              </a:solidFill>
              <a:latin typeface="Santander Text" panose="020B0504020201020104" pitchFamily="34" charset="0"/>
            </a:endParaRPr>
          </a:p>
        </p:txBody>
      </p:sp>
      <p:sp>
        <p:nvSpPr>
          <p:cNvPr id="14"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71"/>
            <a:ext cx="11090275" cy="225519"/>
          </a:xfrm>
        </p:spPr>
        <p:txBody>
          <a:bodyPr anchor="b" anchorCtr="0"/>
          <a:lstStyle>
            <a:lvl1pPr>
              <a:defRPr sz="998"/>
            </a:lvl1pPr>
          </a:lstStyle>
          <a:p>
            <a:pPr lvl="0"/>
            <a:r>
              <a:rPr lang="en-US" noProof="0"/>
              <a:t>Click to add footnotes</a:t>
            </a:r>
          </a:p>
        </p:txBody>
      </p:sp>
      <p:sp>
        <p:nvSpPr>
          <p:cNvPr id="2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4"/>
            <a:ext cx="2698750" cy="201613"/>
          </a:xfrm>
        </p:spPr>
        <p:txBody>
          <a:bodyPr anchor="b"/>
          <a:lstStyle>
            <a:lvl1pPr algn="r">
              <a:defRPr sz="998"/>
            </a:lvl1pPr>
          </a:lstStyle>
          <a:p>
            <a:pPr lvl="0"/>
            <a:r>
              <a:rPr lang="en-US" noProof="0"/>
              <a:t>Chapter # &gt; Topic</a:t>
            </a:r>
          </a:p>
        </p:txBody>
      </p:sp>
      <p:sp>
        <p:nvSpPr>
          <p:cNvPr id="8"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6"/>
            <a:ext cx="9561512" cy="230187"/>
          </a:xfrm>
        </p:spPr>
        <p:txBody>
          <a:bodyPr tIns="36000" anchor="t" anchorCtr="0"/>
          <a:lstStyle>
            <a:lvl1pPr>
              <a:defRPr sz="998"/>
            </a:lvl1pPr>
          </a:lstStyle>
          <a:p>
            <a:pPr lvl="0"/>
            <a:r>
              <a:rPr lang="en-US" noProof="0"/>
              <a:t>Click to add source</a:t>
            </a:r>
          </a:p>
        </p:txBody>
      </p:sp>
      <p:sp>
        <p:nvSpPr>
          <p:cNvPr id="9"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3" y="264281"/>
            <a:ext cx="11090275" cy="614413"/>
          </a:xfrm>
          <a:prstGeom prst="rect">
            <a:avLst/>
          </a:prstGeom>
        </p:spPr>
        <p:txBody>
          <a:bodyPr vert="horz" lIns="0" tIns="0" rIns="0" bIns="0" rtlCol="0" anchor="b">
            <a:noAutofit/>
          </a:bodyPr>
          <a:lstStyle>
            <a:lvl1pPr>
              <a:lnSpc>
                <a:spcPts val="2396"/>
              </a:lnSpc>
              <a:defRPr/>
            </a:lvl1pPr>
          </a:lstStyle>
          <a:p>
            <a:r>
              <a:rPr lang="en-US"/>
              <a:t>Click to edit title</a:t>
            </a:r>
            <a:endParaRPr lang="es-ES"/>
          </a:p>
        </p:txBody>
      </p:sp>
      <p:sp>
        <p:nvSpPr>
          <p:cNvPr id="11" name="Content Placeholder 3"/>
          <p:cNvSpPr>
            <a:spLocks noGrp="1"/>
          </p:cNvSpPr>
          <p:nvPr>
            <p:ph sz="quarter" idx="15" hasCustomPrompt="1"/>
          </p:nvPr>
        </p:nvSpPr>
        <p:spPr>
          <a:xfrm>
            <a:off x="550863" y="1240519"/>
            <a:ext cx="11090275" cy="278374"/>
          </a:xfrm>
        </p:spPr>
        <p:txBody>
          <a:bodyPr anchor="b"/>
          <a:lstStyle>
            <a:lvl1pPr>
              <a:defRPr lang="en-US" sz="1797" b="1" kern="1200" baseline="0" dirty="0" smtClean="0">
                <a:solidFill>
                  <a:schemeClr val="tx2"/>
                </a:solidFill>
                <a:latin typeface="Santander Text"/>
                <a:ea typeface="+mn-ea"/>
                <a:cs typeface="+mn-cs"/>
              </a:defRPr>
            </a:lvl1pPr>
          </a:lstStyle>
          <a:p>
            <a:pPr lvl="0"/>
            <a:r>
              <a:rPr lang="en-US"/>
              <a:t>Chart/table title</a:t>
            </a:r>
          </a:p>
        </p:txBody>
      </p:sp>
    </p:spTree>
    <p:extLst>
      <p:ext uri="{BB962C8B-B14F-4D97-AF65-F5344CB8AC3E}">
        <p14:creationId xmlns:p14="http://schemas.microsoft.com/office/powerpoint/2010/main" val="350019615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8_Layout wo/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72C7637-E198-4E44-B59C-3194989054AC}"/>
              </a:ext>
            </a:extLst>
          </p:cNvPr>
          <p:cNvSpPr>
            <a:spLocks noGrp="1"/>
          </p:cNvSpPr>
          <p:nvPr>
            <p:ph type="body" sz="quarter" idx="13"/>
          </p:nvPr>
        </p:nvSpPr>
        <p:spPr>
          <a:xfrm>
            <a:off x="550863" y="1628774"/>
            <a:ext cx="11090275" cy="4500564"/>
          </a:xfrm>
        </p:spPr>
        <p:txBody>
          <a:bodyPr tIns="0"/>
          <a:lstStyle>
            <a:lvl1pPr>
              <a:lnSpc>
                <a:spcPct val="100000"/>
              </a:lnSpc>
              <a:spcAft>
                <a:spcPts val="599"/>
              </a:spcAft>
              <a:defRPr sz="1597"/>
            </a:lvl1pPr>
            <a:lvl2pPr>
              <a:lnSpc>
                <a:spcPct val="100000"/>
              </a:lnSpc>
              <a:spcAft>
                <a:spcPts val="599"/>
              </a:spcAft>
              <a:defRPr sz="1597"/>
            </a:lvl2pPr>
            <a:lvl3pPr>
              <a:lnSpc>
                <a:spcPct val="100000"/>
              </a:lnSpc>
              <a:spcAft>
                <a:spcPts val="599"/>
              </a:spcAft>
              <a:defRPr sz="1597"/>
            </a:lvl3pPr>
            <a:lvl4pPr>
              <a:lnSpc>
                <a:spcPct val="100000"/>
              </a:lnSpc>
              <a:spcAft>
                <a:spcPts val="599"/>
              </a:spcAft>
              <a:defRPr sz="1597"/>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3" name="CuadroTexto 5">
            <a:extLst>
              <a:ext uri="{FF2B5EF4-FFF2-40B4-BE49-F238E27FC236}">
                <a16:creationId xmlns:a16="http://schemas.microsoft.com/office/drawing/2014/main" id="{4355AB1E-66FF-4C7B-95B6-6E8B522B05A6}"/>
              </a:ext>
            </a:extLst>
          </p:cNvPr>
          <p:cNvSpPr txBox="1"/>
          <p:nvPr userDrawn="1"/>
        </p:nvSpPr>
        <p:spPr>
          <a:xfrm>
            <a:off x="9948536" y="6456770"/>
            <a:ext cx="1706251" cy="292388"/>
          </a:xfrm>
          <a:prstGeom prst="rect">
            <a:avLst/>
          </a:prstGeom>
          <a:noFill/>
        </p:spPr>
        <p:txBody>
          <a:bodyPr wrap="square" lIns="0" tIns="0" rIns="0" bIns="0" rtlCol="0" anchor="ctr" anchorCtr="0">
            <a:noAutofit/>
          </a:bodyPr>
          <a:lstStyle/>
          <a:p>
            <a:pPr algn="r" defTabSz="911111"/>
            <a:fld id="{DB0C6F71-F88D-45D5-A0AB-EA235CD66EB9}" type="slidenum">
              <a:rPr lang="en-US" sz="1296" noProof="0" smtClean="0">
                <a:solidFill>
                  <a:schemeClr val="tx1"/>
                </a:solidFill>
                <a:latin typeface="Santander Text" panose="020B0504020201020104" pitchFamily="34" charset="0"/>
              </a:rPr>
              <a:pPr algn="r" defTabSz="911111"/>
              <a:t>‹#›</a:t>
            </a:fld>
            <a:endParaRPr lang="en-US" sz="1296" noProof="0">
              <a:solidFill>
                <a:schemeClr val="tx1"/>
              </a:solidFill>
              <a:latin typeface="Santander Text" panose="020B0504020201020104" pitchFamily="34" charset="0"/>
            </a:endParaRPr>
          </a:p>
        </p:txBody>
      </p:sp>
      <p:sp>
        <p:nvSpPr>
          <p:cNvPr id="14"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71"/>
            <a:ext cx="11090275" cy="225519"/>
          </a:xfrm>
        </p:spPr>
        <p:txBody>
          <a:bodyPr anchor="b" anchorCtr="0"/>
          <a:lstStyle>
            <a:lvl1pPr>
              <a:defRPr sz="998"/>
            </a:lvl1pPr>
          </a:lstStyle>
          <a:p>
            <a:pPr lvl="0"/>
            <a:r>
              <a:rPr lang="en-US" noProof="0"/>
              <a:t>Click to add footnotes</a:t>
            </a:r>
          </a:p>
        </p:txBody>
      </p:sp>
      <p:sp>
        <p:nvSpPr>
          <p:cNvPr id="2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4"/>
            <a:ext cx="2698750" cy="201613"/>
          </a:xfrm>
        </p:spPr>
        <p:txBody>
          <a:bodyPr anchor="b"/>
          <a:lstStyle>
            <a:lvl1pPr algn="r">
              <a:defRPr sz="998"/>
            </a:lvl1pPr>
          </a:lstStyle>
          <a:p>
            <a:pPr lvl="0"/>
            <a:r>
              <a:rPr lang="en-US" noProof="0"/>
              <a:t>Chapter # &gt; Topic</a:t>
            </a:r>
          </a:p>
        </p:txBody>
      </p:sp>
      <p:sp>
        <p:nvSpPr>
          <p:cNvPr id="8"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6"/>
            <a:ext cx="9561512" cy="230187"/>
          </a:xfrm>
        </p:spPr>
        <p:txBody>
          <a:bodyPr tIns="36000" anchor="t" anchorCtr="0"/>
          <a:lstStyle>
            <a:lvl1pPr>
              <a:defRPr sz="998"/>
            </a:lvl1pPr>
          </a:lstStyle>
          <a:p>
            <a:pPr lvl="0"/>
            <a:r>
              <a:rPr lang="en-US" noProof="0"/>
              <a:t>Click to add source</a:t>
            </a:r>
          </a:p>
        </p:txBody>
      </p:sp>
      <p:sp>
        <p:nvSpPr>
          <p:cNvPr id="9"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3" y="264281"/>
            <a:ext cx="11090275" cy="614413"/>
          </a:xfrm>
          <a:prstGeom prst="rect">
            <a:avLst/>
          </a:prstGeom>
        </p:spPr>
        <p:txBody>
          <a:bodyPr vert="horz" lIns="0" tIns="0" rIns="0" bIns="0" rtlCol="0" anchor="b">
            <a:noAutofit/>
          </a:bodyPr>
          <a:lstStyle>
            <a:lvl1pPr>
              <a:lnSpc>
                <a:spcPts val="2396"/>
              </a:lnSpc>
              <a:defRPr/>
            </a:lvl1pPr>
          </a:lstStyle>
          <a:p>
            <a:r>
              <a:rPr lang="en-US"/>
              <a:t>Click to edit title</a:t>
            </a:r>
            <a:endParaRPr lang="es-ES"/>
          </a:p>
        </p:txBody>
      </p:sp>
    </p:spTree>
    <p:extLst>
      <p:ext uri="{BB962C8B-B14F-4D97-AF65-F5344CB8AC3E}">
        <p14:creationId xmlns:p14="http://schemas.microsoft.com/office/powerpoint/2010/main" val="36451076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0_1/2">
    <p:spTree>
      <p:nvGrpSpPr>
        <p:cNvPr id="1" name=""/>
        <p:cNvGrpSpPr/>
        <p:nvPr/>
      </p:nvGrpSpPr>
      <p:grpSpPr>
        <a:xfrm>
          <a:off x="0" y="0"/>
          <a:ext cx="0" cy="0"/>
          <a:chOff x="0" y="0"/>
          <a:chExt cx="0" cy="0"/>
        </a:xfrm>
      </p:grpSpPr>
      <p:sp>
        <p:nvSpPr>
          <p:cNvPr id="2" name="CuadroTexto 5">
            <a:extLst>
              <a:ext uri="{FF2B5EF4-FFF2-40B4-BE49-F238E27FC236}">
                <a16:creationId xmlns:a16="http://schemas.microsoft.com/office/drawing/2014/main" id="{4355AB1E-66FF-4C7B-95B6-6E8B522B05A6}"/>
              </a:ext>
            </a:extLst>
          </p:cNvPr>
          <p:cNvSpPr txBox="1"/>
          <p:nvPr userDrawn="1"/>
        </p:nvSpPr>
        <p:spPr>
          <a:xfrm>
            <a:off x="9948536" y="6456770"/>
            <a:ext cx="1706251" cy="292388"/>
          </a:xfrm>
          <a:prstGeom prst="rect">
            <a:avLst/>
          </a:prstGeom>
          <a:noFill/>
        </p:spPr>
        <p:txBody>
          <a:bodyPr wrap="square" lIns="0" tIns="0" rIns="0" bIns="0" rtlCol="0" anchor="ctr" anchorCtr="0">
            <a:noAutofit/>
          </a:bodyPr>
          <a:lstStyle/>
          <a:p>
            <a:pPr algn="r" defTabSz="911111"/>
            <a:fld id="{DB0C6F71-F88D-45D5-A0AB-EA235CD66EB9}" type="slidenum">
              <a:rPr lang="en-US" sz="1296" noProof="0" smtClean="0">
                <a:solidFill>
                  <a:schemeClr val="tx1"/>
                </a:solidFill>
                <a:latin typeface="Santander Text" panose="020B0504020201020104" pitchFamily="34" charset="0"/>
              </a:rPr>
              <a:pPr algn="r" defTabSz="911111"/>
              <a:t>‹#›</a:t>
            </a:fld>
            <a:endParaRPr lang="en-US" sz="1296" noProof="0">
              <a:solidFill>
                <a:schemeClr val="tx1"/>
              </a:solidFill>
              <a:latin typeface="Santander Text" panose="020B0504020201020104" pitchFamily="34" charset="0"/>
            </a:endParaRPr>
          </a:p>
        </p:txBody>
      </p:sp>
      <p:sp>
        <p:nvSpPr>
          <p:cNvPr id="3" name="CuadroTexto 5">
            <a:extLst>
              <a:ext uri="{FF2B5EF4-FFF2-40B4-BE49-F238E27FC236}">
                <a16:creationId xmlns:a16="http://schemas.microsoft.com/office/drawing/2014/main" id="{222FF7D7-7B77-4EEC-8205-A031C02EC565}"/>
              </a:ext>
            </a:extLst>
          </p:cNvPr>
          <p:cNvSpPr txBox="1"/>
          <p:nvPr userDrawn="1"/>
        </p:nvSpPr>
        <p:spPr>
          <a:xfrm>
            <a:off x="9948536" y="6456770"/>
            <a:ext cx="1706251" cy="292388"/>
          </a:xfrm>
          <a:prstGeom prst="rect">
            <a:avLst/>
          </a:prstGeom>
          <a:noFill/>
        </p:spPr>
        <p:txBody>
          <a:bodyPr wrap="square" lIns="0" tIns="0" rIns="0" bIns="0" rtlCol="0" anchor="ctr" anchorCtr="0">
            <a:noAutofit/>
          </a:bodyPr>
          <a:lstStyle/>
          <a:p>
            <a:pPr algn="r" defTabSz="911111"/>
            <a:fld id="{DB0C6F71-F88D-45D5-A0AB-EA235CD66EB9}" type="slidenum">
              <a:rPr lang="en-US" sz="1296" noProof="0" smtClean="0">
                <a:solidFill>
                  <a:schemeClr val="tx1"/>
                </a:solidFill>
                <a:latin typeface="Santander Text" panose="020B0504020201020104" pitchFamily="34" charset="0"/>
              </a:rPr>
              <a:pPr algn="r" defTabSz="911111"/>
              <a:t>‹#›</a:t>
            </a:fld>
            <a:endParaRPr lang="en-US" sz="1296" noProof="0">
              <a:solidFill>
                <a:schemeClr val="tx1"/>
              </a:solidFill>
              <a:latin typeface="Santander Text" panose="020B0504020201020104" pitchFamily="34" charset="0"/>
            </a:endParaRPr>
          </a:p>
        </p:txBody>
      </p:sp>
      <p:pic>
        <p:nvPicPr>
          <p:cNvPr id="4"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6" y="6467039"/>
            <a:ext cx="1223683" cy="214585"/>
          </a:xfrm>
          <a:prstGeom prst="rect">
            <a:avLst/>
          </a:prstGeom>
        </p:spPr>
      </p:pic>
      <p:sp>
        <p:nvSpPr>
          <p:cNvPr id="5"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71"/>
            <a:ext cx="11090275" cy="225519"/>
          </a:xfrm>
        </p:spPr>
        <p:txBody>
          <a:bodyPr anchor="b" anchorCtr="0"/>
          <a:lstStyle>
            <a:lvl1pPr>
              <a:defRPr sz="998"/>
            </a:lvl1pPr>
          </a:lstStyle>
          <a:p>
            <a:pPr lvl="0"/>
            <a:r>
              <a:rPr lang="en-US" noProof="0"/>
              <a:t>Click to add footnotes</a:t>
            </a:r>
          </a:p>
        </p:txBody>
      </p:sp>
      <p:sp>
        <p:nvSpPr>
          <p:cNvPr id="7" name="Rectangle 6">
            <a:extLst>
              <a:ext uri="{FF2B5EF4-FFF2-40B4-BE49-F238E27FC236}">
                <a16:creationId xmlns:a16="http://schemas.microsoft.com/office/drawing/2014/main" id="{974A453A-D419-44F6-8B0F-84C43FCFA567}"/>
              </a:ext>
            </a:extLst>
          </p:cNvPr>
          <p:cNvSpPr/>
          <p:nvPr userDrawn="1"/>
        </p:nvSpPr>
        <p:spPr>
          <a:xfrm>
            <a:off x="6098960" y="1196974"/>
            <a:ext cx="5555824" cy="486092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a:p>
        </p:txBody>
      </p:sp>
      <p:sp>
        <p:nvSpPr>
          <p:cNvPr id="8" name="Content Placeholder 3"/>
          <p:cNvSpPr>
            <a:spLocks noGrp="1"/>
          </p:cNvSpPr>
          <p:nvPr>
            <p:ph sz="quarter" idx="15" hasCustomPrompt="1"/>
          </p:nvPr>
        </p:nvSpPr>
        <p:spPr>
          <a:xfrm>
            <a:off x="550863" y="1240519"/>
            <a:ext cx="5221219" cy="278374"/>
          </a:xfrm>
        </p:spPr>
        <p:txBody>
          <a:bodyPr anchor="b"/>
          <a:lstStyle>
            <a:lvl1pPr>
              <a:defRPr lang="en-US" sz="1797" b="1" kern="1200" baseline="0" dirty="0" smtClean="0">
                <a:solidFill>
                  <a:schemeClr val="tx2"/>
                </a:solidFill>
                <a:latin typeface="Santander Text"/>
                <a:ea typeface="+mn-ea"/>
                <a:cs typeface="+mn-cs"/>
              </a:defRPr>
            </a:lvl1pPr>
          </a:lstStyle>
          <a:p>
            <a:pPr lvl="0"/>
            <a:r>
              <a:rPr lang="en-US"/>
              <a:t>Chart title</a:t>
            </a:r>
          </a:p>
        </p:txBody>
      </p:sp>
      <p:sp>
        <p:nvSpPr>
          <p:cNvPr id="9" name="Content Placeholder 3"/>
          <p:cNvSpPr>
            <a:spLocks noGrp="1"/>
          </p:cNvSpPr>
          <p:nvPr>
            <p:ph sz="quarter" idx="16" hasCustomPrompt="1"/>
          </p:nvPr>
        </p:nvSpPr>
        <p:spPr>
          <a:xfrm>
            <a:off x="6381750" y="1240518"/>
            <a:ext cx="5101410" cy="278374"/>
          </a:xfrm>
        </p:spPr>
        <p:txBody>
          <a:bodyPr anchor="b"/>
          <a:lstStyle>
            <a:lvl1pPr>
              <a:defRPr lang="en-US" sz="1797" b="1" kern="1200" baseline="0" dirty="0" smtClean="0">
                <a:solidFill>
                  <a:schemeClr val="tx2"/>
                </a:solidFill>
                <a:latin typeface="Santander Text"/>
                <a:ea typeface="+mn-ea"/>
                <a:cs typeface="+mn-cs"/>
              </a:defRPr>
            </a:lvl1pPr>
          </a:lstStyle>
          <a:p>
            <a:pPr lvl="0"/>
            <a:r>
              <a:rPr lang="en-US"/>
              <a:t>Chart title</a:t>
            </a:r>
          </a:p>
        </p:txBody>
      </p:sp>
      <p:sp>
        <p:nvSpPr>
          <p:cNvPr id="10" name="Content Placeholder 2"/>
          <p:cNvSpPr>
            <a:spLocks noGrp="1"/>
          </p:cNvSpPr>
          <p:nvPr>
            <p:ph sz="quarter" idx="17"/>
          </p:nvPr>
        </p:nvSpPr>
        <p:spPr>
          <a:xfrm>
            <a:off x="6381532" y="1628775"/>
            <a:ext cx="5115144" cy="4176713"/>
          </a:xfrm>
        </p:spPr>
        <p:txBody>
          <a:bodyPr anchor="ctr"/>
          <a:lstStyle>
            <a:lvl1pPr>
              <a:lnSpc>
                <a:spcPct val="100000"/>
              </a:lnSpc>
              <a:spcAft>
                <a:spcPts val="599"/>
              </a:spcAft>
              <a:defRPr/>
            </a:lvl1pPr>
            <a:lvl2pPr>
              <a:lnSpc>
                <a:spcPct val="100000"/>
              </a:lnSpc>
              <a:spcAft>
                <a:spcPts val="599"/>
              </a:spcAft>
              <a:defRPr/>
            </a:lvl2pPr>
            <a:lvl3pPr>
              <a:lnSpc>
                <a:spcPct val="100000"/>
              </a:lnSpc>
              <a:spcAft>
                <a:spcPts val="599"/>
              </a:spcAft>
              <a:defRPr/>
            </a:lvl3pPr>
            <a:lvl4pPr>
              <a:lnSpc>
                <a:spcPct val="100000"/>
              </a:lnSpc>
              <a:spcAft>
                <a:spcPts val="599"/>
              </a:spcAft>
              <a:defRPr/>
            </a:lvl4pPr>
            <a:lvl5pPr>
              <a:lnSpc>
                <a:spcPct val="100000"/>
              </a:lnSpc>
              <a:spcAft>
                <a:spcPts val="599"/>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1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4"/>
            <a:ext cx="2698750" cy="201613"/>
          </a:xfrm>
        </p:spPr>
        <p:txBody>
          <a:bodyPr anchor="b"/>
          <a:lstStyle>
            <a:lvl1pPr algn="r">
              <a:defRPr sz="998"/>
            </a:lvl1pPr>
          </a:lstStyle>
          <a:p>
            <a:pPr lvl="0"/>
            <a:r>
              <a:rPr lang="en-US" noProof="0"/>
              <a:t>Chapter # &gt; Topic</a:t>
            </a:r>
          </a:p>
        </p:txBody>
      </p:sp>
      <p:sp>
        <p:nvSpPr>
          <p:cNvPr id="1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3" y="264281"/>
            <a:ext cx="11090275" cy="614413"/>
          </a:xfrm>
          <a:prstGeom prst="rect">
            <a:avLst/>
          </a:prstGeom>
        </p:spPr>
        <p:txBody>
          <a:bodyPr vert="horz" lIns="0" tIns="0" rIns="0" bIns="0" rtlCol="0" anchor="b">
            <a:noAutofit/>
          </a:bodyPr>
          <a:lstStyle>
            <a:lvl1pPr>
              <a:lnSpc>
                <a:spcPts val="2396"/>
              </a:lnSpc>
              <a:defRPr/>
            </a:lvl1pPr>
          </a:lstStyle>
          <a:p>
            <a:r>
              <a:rPr lang="en-US"/>
              <a:t>Click to edit title</a:t>
            </a:r>
            <a:endParaRPr lang="es-ES"/>
          </a:p>
        </p:txBody>
      </p:sp>
      <p:cxnSp>
        <p:nvCxnSpPr>
          <p:cNvPr id="13" name="Straight Connector 12">
            <a:extLst>
              <a:ext uri="{FF2B5EF4-FFF2-40B4-BE49-F238E27FC236}">
                <a16:creationId xmlns:a16="http://schemas.microsoft.com/office/drawing/2014/main" id="{D1160276-2D13-4284-981F-C00DEDD71BA8}"/>
              </a:ext>
            </a:extLst>
          </p:cNvPr>
          <p:cNvCxnSpPr/>
          <p:nvPr userDrawn="1"/>
        </p:nvCxnSpPr>
        <p:spPr>
          <a:xfrm>
            <a:off x="550864"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7BA9BCE-A3E8-411D-907B-B79FCB4A37A3}"/>
              </a:ext>
            </a:extLst>
          </p:cNvPr>
          <p:cNvCxnSpPr/>
          <p:nvPr userDrawn="1"/>
        </p:nvCxnSpPr>
        <p:spPr>
          <a:xfrm>
            <a:off x="550864" y="642140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6"/>
            <a:ext cx="9561512" cy="230187"/>
          </a:xfrm>
        </p:spPr>
        <p:txBody>
          <a:bodyPr tIns="36000" anchor="t" anchorCtr="0"/>
          <a:lstStyle>
            <a:lvl1pPr>
              <a:defRPr sz="998"/>
            </a:lvl1pPr>
          </a:lstStyle>
          <a:p>
            <a:pPr lvl="0"/>
            <a:r>
              <a:rPr lang="en-US" noProof="0"/>
              <a:t>Click to add source</a:t>
            </a:r>
          </a:p>
        </p:txBody>
      </p:sp>
    </p:spTree>
    <p:extLst>
      <p:ext uri="{BB962C8B-B14F-4D97-AF65-F5344CB8AC3E}">
        <p14:creationId xmlns:p14="http://schemas.microsoft.com/office/powerpoint/2010/main" val="34208453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1_1/3">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74A453A-D419-44F6-8B0F-84C43FCFA567}"/>
              </a:ext>
            </a:extLst>
          </p:cNvPr>
          <p:cNvSpPr/>
          <p:nvPr userDrawn="1"/>
        </p:nvSpPr>
        <p:spPr>
          <a:xfrm>
            <a:off x="7396693" y="1196976"/>
            <a:ext cx="4258091" cy="486092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a:p>
        </p:txBody>
      </p:sp>
      <p:sp>
        <p:nvSpPr>
          <p:cNvPr id="2" name="CuadroTexto 5">
            <a:extLst>
              <a:ext uri="{FF2B5EF4-FFF2-40B4-BE49-F238E27FC236}">
                <a16:creationId xmlns:a16="http://schemas.microsoft.com/office/drawing/2014/main" id="{4355AB1E-66FF-4C7B-95B6-6E8B522B05A6}"/>
              </a:ext>
            </a:extLst>
          </p:cNvPr>
          <p:cNvSpPr txBox="1"/>
          <p:nvPr userDrawn="1"/>
        </p:nvSpPr>
        <p:spPr>
          <a:xfrm>
            <a:off x="9948536" y="6456770"/>
            <a:ext cx="1706251" cy="292388"/>
          </a:xfrm>
          <a:prstGeom prst="rect">
            <a:avLst/>
          </a:prstGeom>
          <a:noFill/>
        </p:spPr>
        <p:txBody>
          <a:bodyPr wrap="square" lIns="0" tIns="0" rIns="0" bIns="0" rtlCol="0" anchor="ctr" anchorCtr="0">
            <a:noAutofit/>
          </a:bodyPr>
          <a:lstStyle/>
          <a:p>
            <a:pPr algn="r" defTabSz="911111"/>
            <a:fld id="{DB0C6F71-F88D-45D5-A0AB-EA235CD66EB9}" type="slidenum">
              <a:rPr lang="en-US" sz="1296" noProof="0" smtClean="0">
                <a:solidFill>
                  <a:schemeClr val="tx1"/>
                </a:solidFill>
                <a:latin typeface="Santander Text" panose="020B0504020201020104" pitchFamily="34" charset="0"/>
              </a:rPr>
              <a:pPr algn="r" defTabSz="911111"/>
              <a:t>‹#›</a:t>
            </a:fld>
            <a:endParaRPr lang="en-US" sz="1296" noProof="0">
              <a:solidFill>
                <a:schemeClr val="tx1"/>
              </a:solidFill>
              <a:latin typeface="Santander Text" panose="020B0504020201020104" pitchFamily="34" charset="0"/>
            </a:endParaRPr>
          </a:p>
        </p:txBody>
      </p:sp>
      <p:sp>
        <p:nvSpPr>
          <p:cNvPr id="3" name="CuadroTexto 5">
            <a:extLst>
              <a:ext uri="{FF2B5EF4-FFF2-40B4-BE49-F238E27FC236}">
                <a16:creationId xmlns:a16="http://schemas.microsoft.com/office/drawing/2014/main" id="{222FF7D7-7B77-4EEC-8205-A031C02EC565}"/>
              </a:ext>
            </a:extLst>
          </p:cNvPr>
          <p:cNvSpPr txBox="1"/>
          <p:nvPr userDrawn="1"/>
        </p:nvSpPr>
        <p:spPr>
          <a:xfrm>
            <a:off x="9948536" y="6456770"/>
            <a:ext cx="1706251" cy="292388"/>
          </a:xfrm>
          <a:prstGeom prst="rect">
            <a:avLst/>
          </a:prstGeom>
          <a:noFill/>
        </p:spPr>
        <p:txBody>
          <a:bodyPr wrap="square" lIns="0" tIns="0" rIns="0" bIns="0" rtlCol="0" anchor="ctr" anchorCtr="0">
            <a:noAutofit/>
          </a:bodyPr>
          <a:lstStyle/>
          <a:p>
            <a:pPr algn="r" defTabSz="911111"/>
            <a:fld id="{DB0C6F71-F88D-45D5-A0AB-EA235CD66EB9}" type="slidenum">
              <a:rPr lang="en-US" sz="1296" noProof="0" smtClean="0">
                <a:solidFill>
                  <a:schemeClr val="tx1"/>
                </a:solidFill>
                <a:latin typeface="Santander Text" panose="020B0504020201020104" pitchFamily="34" charset="0"/>
              </a:rPr>
              <a:pPr algn="r" defTabSz="911111"/>
              <a:t>‹#›</a:t>
            </a:fld>
            <a:endParaRPr lang="en-US" sz="1296" noProof="0">
              <a:solidFill>
                <a:schemeClr val="tx1"/>
              </a:solidFill>
              <a:latin typeface="Santander Text" panose="020B0504020201020104" pitchFamily="34" charset="0"/>
            </a:endParaRPr>
          </a:p>
        </p:txBody>
      </p:sp>
      <p:pic>
        <p:nvPicPr>
          <p:cNvPr id="4"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6" y="6467039"/>
            <a:ext cx="1223683" cy="214585"/>
          </a:xfrm>
          <a:prstGeom prst="rect">
            <a:avLst/>
          </a:prstGeom>
        </p:spPr>
      </p:pic>
      <p:sp>
        <p:nvSpPr>
          <p:cNvPr id="5"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71"/>
            <a:ext cx="11090275" cy="225519"/>
          </a:xfrm>
        </p:spPr>
        <p:txBody>
          <a:bodyPr anchor="b" anchorCtr="0"/>
          <a:lstStyle>
            <a:lvl1pPr>
              <a:defRPr sz="998"/>
            </a:lvl1pPr>
          </a:lstStyle>
          <a:p>
            <a:pPr lvl="0"/>
            <a:r>
              <a:rPr lang="en-US" noProof="0"/>
              <a:t>Click to add footnotes</a:t>
            </a:r>
          </a:p>
        </p:txBody>
      </p:sp>
      <p:sp>
        <p:nvSpPr>
          <p:cNvPr id="1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4"/>
            <a:ext cx="2698750" cy="201613"/>
          </a:xfrm>
        </p:spPr>
        <p:txBody>
          <a:bodyPr anchor="b"/>
          <a:lstStyle>
            <a:lvl1pPr algn="r">
              <a:defRPr sz="998"/>
            </a:lvl1pPr>
          </a:lstStyle>
          <a:p>
            <a:pPr lvl="0"/>
            <a:r>
              <a:rPr lang="en-US" noProof="0"/>
              <a:t>Chapter # &gt; Topic</a:t>
            </a:r>
          </a:p>
        </p:txBody>
      </p:sp>
      <p:sp>
        <p:nvSpPr>
          <p:cNvPr id="1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3" y="264281"/>
            <a:ext cx="11090275" cy="614413"/>
          </a:xfrm>
          <a:prstGeom prst="rect">
            <a:avLst/>
          </a:prstGeom>
        </p:spPr>
        <p:txBody>
          <a:bodyPr vert="horz" lIns="0" tIns="0" rIns="0" bIns="0" rtlCol="0" anchor="b">
            <a:noAutofit/>
          </a:bodyPr>
          <a:lstStyle>
            <a:lvl1pPr>
              <a:lnSpc>
                <a:spcPts val="2396"/>
              </a:lnSpc>
              <a:defRPr/>
            </a:lvl1pPr>
          </a:lstStyle>
          <a:p>
            <a:r>
              <a:rPr lang="en-US"/>
              <a:t>Click to edit title</a:t>
            </a:r>
            <a:endParaRPr lang="es-ES"/>
          </a:p>
        </p:txBody>
      </p:sp>
      <p:cxnSp>
        <p:nvCxnSpPr>
          <p:cNvPr id="13" name="Straight Connector 12">
            <a:extLst>
              <a:ext uri="{FF2B5EF4-FFF2-40B4-BE49-F238E27FC236}">
                <a16:creationId xmlns:a16="http://schemas.microsoft.com/office/drawing/2014/main" id="{D1160276-2D13-4284-981F-C00DEDD71BA8}"/>
              </a:ext>
            </a:extLst>
          </p:cNvPr>
          <p:cNvCxnSpPr/>
          <p:nvPr userDrawn="1"/>
        </p:nvCxnSpPr>
        <p:spPr>
          <a:xfrm>
            <a:off x="550864"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7BA9BCE-A3E8-411D-907B-B79FCB4A37A3}"/>
              </a:ext>
            </a:extLst>
          </p:cNvPr>
          <p:cNvCxnSpPr/>
          <p:nvPr userDrawn="1"/>
        </p:nvCxnSpPr>
        <p:spPr>
          <a:xfrm>
            <a:off x="550864" y="642140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6"/>
            <a:ext cx="9561512" cy="230187"/>
          </a:xfrm>
        </p:spPr>
        <p:txBody>
          <a:bodyPr tIns="36000" anchor="t" anchorCtr="0"/>
          <a:lstStyle>
            <a:lvl1pPr>
              <a:defRPr sz="998"/>
            </a:lvl1pPr>
          </a:lstStyle>
          <a:p>
            <a:pPr lvl="0"/>
            <a:r>
              <a:rPr lang="en-US" noProof="0"/>
              <a:t>Click to add source</a:t>
            </a:r>
          </a:p>
        </p:txBody>
      </p:sp>
      <p:sp>
        <p:nvSpPr>
          <p:cNvPr id="17" name="Content Placeholder 3"/>
          <p:cNvSpPr>
            <a:spLocks noGrp="1"/>
          </p:cNvSpPr>
          <p:nvPr>
            <p:ph sz="quarter" idx="15" hasCustomPrompt="1"/>
          </p:nvPr>
        </p:nvSpPr>
        <p:spPr>
          <a:xfrm>
            <a:off x="550862" y="1240519"/>
            <a:ext cx="6453620" cy="278374"/>
          </a:xfrm>
        </p:spPr>
        <p:txBody>
          <a:bodyPr anchor="b"/>
          <a:lstStyle>
            <a:lvl1pPr>
              <a:defRPr lang="en-US" sz="1797" b="1" kern="1200" baseline="0" dirty="0" smtClean="0">
                <a:solidFill>
                  <a:schemeClr val="tx2"/>
                </a:solidFill>
                <a:latin typeface="Santander Text"/>
                <a:ea typeface="+mn-ea"/>
                <a:cs typeface="+mn-cs"/>
              </a:defRPr>
            </a:lvl1pPr>
          </a:lstStyle>
          <a:p>
            <a:pPr lvl="0"/>
            <a:r>
              <a:rPr lang="en-US"/>
              <a:t>Chart title</a:t>
            </a:r>
          </a:p>
        </p:txBody>
      </p:sp>
      <p:sp>
        <p:nvSpPr>
          <p:cNvPr id="18" name="Content Placeholder 3"/>
          <p:cNvSpPr>
            <a:spLocks noGrp="1"/>
          </p:cNvSpPr>
          <p:nvPr>
            <p:ph sz="quarter" idx="16" hasCustomPrompt="1"/>
          </p:nvPr>
        </p:nvSpPr>
        <p:spPr>
          <a:xfrm>
            <a:off x="7639051" y="1240518"/>
            <a:ext cx="3766088" cy="278374"/>
          </a:xfrm>
        </p:spPr>
        <p:txBody>
          <a:bodyPr anchor="b"/>
          <a:lstStyle>
            <a:lvl1pPr>
              <a:defRPr lang="en-US" sz="1797" b="1" kern="1200" baseline="0" dirty="0" smtClean="0">
                <a:solidFill>
                  <a:schemeClr val="tx2"/>
                </a:solidFill>
                <a:latin typeface="Santander Text"/>
                <a:ea typeface="+mn-ea"/>
                <a:cs typeface="+mn-cs"/>
              </a:defRPr>
            </a:lvl1pPr>
          </a:lstStyle>
          <a:p>
            <a:pPr lvl="0"/>
            <a:r>
              <a:rPr lang="en-US"/>
              <a:t>Chart title</a:t>
            </a:r>
          </a:p>
        </p:txBody>
      </p:sp>
      <p:sp>
        <p:nvSpPr>
          <p:cNvPr id="19" name="Content Placeholder 2"/>
          <p:cNvSpPr>
            <a:spLocks noGrp="1"/>
          </p:cNvSpPr>
          <p:nvPr>
            <p:ph sz="quarter" idx="17"/>
          </p:nvPr>
        </p:nvSpPr>
        <p:spPr>
          <a:xfrm>
            <a:off x="7642219" y="1628775"/>
            <a:ext cx="3762920" cy="4176713"/>
          </a:xfrm>
        </p:spPr>
        <p:txBody>
          <a:bodyPr anchor="ctr"/>
          <a:lstStyle>
            <a:lvl1pPr>
              <a:lnSpc>
                <a:spcPct val="100000"/>
              </a:lnSpc>
              <a:spcAft>
                <a:spcPts val="599"/>
              </a:spcAft>
              <a:defRPr/>
            </a:lvl1pPr>
            <a:lvl2pPr>
              <a:lnSpc>
                <a:spcPct val="100000"/>
              </a:lnSpc>
              <a:spcAft>
                <a:spcPts val="599"/>
              </a:spcAft>
              <a:defRPr/>
            </a:lvl2pPr>
            <a:lvl3pPr>
              <a:lnSpc>
                <a:spcPct val="100000"/>
              </a:lnSpc>
              <a:spcAft>
                <a:spcPts val="599"/>
              </a:spcAft>
              <a:defRPr/>
            </a:lvl3pPr>
            <a:lvl4pPr>
              <a:lnSpc>
                <a:spcPct val="100000"/>
              </a:lnSpc>
              <a:spcAft>
                <a:spcPts val="599"/>
              </a:spcAft>
              <a:defRPr/>
            </a:lvl4pPr>
            <a:lvl5pPr>
              <a:lnSpc>
                <a:spcPct val="100000"/>
              </a:lnSpc>
              <a:spcAft>
                <a:spcPts val="599"/>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Tree>
    <p:extLst>
      <p:ext uri="{BB962C8B-B14F-4D97-AF65-F5344CB8AC3E}">
        <p14:creationId xmlns:p14="http://schemas.microsoft.com/office/powerpoint/2010/main" val="9048353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2_1/4">
    <p:spTree>
      <p:nvGrpSpPr>
        <p:cNvPr id="1" name=""/>
        <p:cNvGrpSpPr/>
        <p:nvPr/>
      </p:nvGrpSpPr>
      <p:grpSpPr>
        <a:xfrm>
          <a:off x="0" y="0"/>
          <a:ext cx="0" cy="0"/>
          <a:chOff x="0" y="0"/>
          <a:chExt cx="0" cy="0"/>
        </a:xfrm>
      </p:grpSpPr>
      <p:sp>
        <p:nvSpPr>
          <p:cNvPr id="2" name="CuadroTexto 5">
            <a:extLst>
              <a:ext uri="{FF2B5EF4-FFF2-40B4-BE49-F238E27FC236}">
                <a16:creationId xmlns:a16="http://schemas.microsoft.com/office/drawing/2014/main" id="{4355AB1E-66FF-4C7B-95B6-6E8B522B05A6}"/>
              </a:ext>
            </a:extLst>
          </p:cNvPr>
          <p:cNvSpPr txBox="1"/>
          <p:nvPr userDrawn="1"/>
        </p:nvSpPr>
        <p:spPr>
          <a:xfrm>
            <a:off x="9948536" y="6456770"/>
            <a:ext cx="1706251" cy="292388"/>
          </a:xfrm>
          <a:prstGeom prst="rect">
            <a:avLst/>
          </a:prstGeom>
          <a:noFill/>
        </p:spPr>
        <p:txBody>
          <a:bodyPr wrap="square" lIns="0" tIns="0" rIns="0" bIns="0" rtlCol="0" anchor="ctr" anchorCtr="0">
            <a:noAutofit/>
          </a:bodyPr>
          <a:lstStyle/>
          <a:p>
            <a:pPr algn="r" defTabSz="911111"/>
            <a:fld id="{DB0C6F71-F88D-45D5-A0AB-EA235CD66EB9}" type="slidenum">
              <a:rPr lang="en-US" sz="1296" noProof="0" smtClean="0">
                <a:solidFill>
                  <a:schemeClr val="tx1"/>
                </a:solidFill>
                <a:latin typeface="Santander Text" panose="020B0504020201020104" pitchFamily="34" charset="0"/>
              </a:rPr>
              <a:pPr algn="r" defTabSz="911111"/>
              <a:t>‹#›</a:t>
            </a:fld>
            <a:endParaRPr lang="en-US" sz="1296" noProof="0">
              <a:solidFill>
                <a:schemeClr val="tx1"/>
              </a:solidFill>
              <a:latin typeface="Santander Text" panose="020B0504020201020104" pitchFamily="34" charset="0"/>
            </a:endParaRPr>
          </a:p>
        </p:txBody>
      </p:sp>
      <p:sp>
        <p:nvSpPr>
          <p:cNvPr id="3" name="CuadroTexto 5">
            <a:extLst>
              <a:ext uri="{FF2B5EF4-FFF2-40B4-BE49-F238E27FC236}">
                <a16:creationId xmlns:a16="http://schemas.microsoft.com/office/drawing/2014/main" id="{222FF7D7-7B77-4EEC-8205-A031C02EC565}"/>
              </a:ext>
            </a:extLst>
          </p:cNvPr>
          <p:cNvSpPr txBox="1"/>
          <p:nvPr userDrawn="1"/>
        </p:nvSpPr>
        <p:spPr>
          <a:xfrm>
            <a:off x="9948536" y="6456770"/>
            <a:ext cx="1706251" cy="292388"/>
          </a:xfrm>
          <a:prstGeom prst="rect">
            <a:avLst/>
          </a:prstGeom>
          <a:noFill/>
        </p:spPr>
        <p:txBody>
          <a:bodyPr wrap="square" lIns="0" tIns="0" rIns="0" bIns="0" rtlCol="0" anchor="ctr" anchorCtr="0">
            <a:noAutofit/>
          </a:bodyPr>
          <a:lstStyle/>
          <a:p>
            <a:pPr algn="r" defTabSz="911111"/>
            <a:fld id="{DB0C6F71-F88D-45D5-A0AB-EA235CD66EB9}" type="slidenum">
              <a:rPr lang="en-US" sz="1296" noProof="0" smtClean="0">
                <a:solidFill>
                  <a:schemeClr val="tx1"/>
                </a:solidFill>
                <a:latin typeface="Santander Text" panose="020B0504020201020104" pitchFamily="34" charset="0"/>
              </a:rPr>
              <a:pPr algn="r" defTabSz="911111"/>
              <a:t>‹#›</a:t>
            </a:fld>
            <a:endParaRPr lang="en-US" sz="1296" noProof="0">
              <a:solidFill>
                <a:schemeClr val="tx1"/>
              </a:solidFill>
              <a:latin typeface="Santander Text" panose="020B0504020201020104" pitchFamily="34" charset="0"/>
            </a:endParaRPr>
          </a:p>
        </p:txBody>
      </p:sp>
      <p:pic>
        <p:nvPicPr>
          <p:cNvPr id="4"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6" y="6467039"/>
            <a:ext cx="1223683" cy="214585"/>
          </a:xfrm>
          <a:prstGeom prst="rect">
            <a:avLst/>
          </a:prstGeom>
        </p:spPr>
      </p:pic>
      <p:sp>
        <p:nvSpPr>
          <p:cNvPr id="5"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71"/>
            <a:ext cx="11090275" cy="225519"/>
          </a:xfrm>
        </p:spPr>
        <p:txBody>
          <a:bodyPr anchor="b" anchorCtr="0"/>
          <a:lstStyle>
            <a:lvl1pPr>
              <a:defRPr sz="998"/>
            </a:lvl1pPr>
          </a:lstStyle>
          <a:p>
            <a:pPr lvl="0"/>
            <a:r>
              <a:rPr lang="en-US" noProof="0"/>
              <a:t>Click to add footnotes</a:t>
            </a:r>
          </a:p>
        </p:txBody>
      </p:sp>
      <p:sp>
        <p:nvSpPr>
          <p:cNvPr id="1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4"/>
            <a:ext cx="2698750" cy="201613"/>
          </a:xfrm>
        </p:spPr>
        <p:txBody>
          <a:bodyPr anchor="b"/>
          <a:lstStyle>
            <a:lvl1pPr algn="r">
              <a:defRPr sz="998"/>
            </a:lvl1pPr>
          </a:lstStyle>
          <a:p>
            <a:pPr lvl="0"/>
            <a:r>
              <a:rPr lang="en-US" noProof="0"/>
              <a:t>Chapter # &gt; Topic</a:t>
            </a:r>
          </a:p>
        </p:txBody>
      </p:sp>
      <p:sp>
        <p:nvSpPr>
          <p:cNvPr id="1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3" y="264281"/>
            <a:ext cx="11090275" cy="614413"/>
          </a:xfrm>
          <a:prstGeom prst="rect">
            <a:avLst/>
          </a:prstGeom>
        </p:spPr>
        <p:txBody>
          <a:bodyPr vert="horz" lIns="0" tIns="0" rIns="0" bIns="0" rtlCol="0" anchor="b">
            <a:noAutofit/>
          </a:bodyPr>
          <a:lstStyle>
            <a:lvl1pPr>
              <a:lnSpc>
                <a:spcPts val="2396"/>
              </a:lnSpc>
              <a:defRPr/>
            </a:lvl1pPr>
          </a:lstStyle>
          <a:p>
            <a:r>
              <a:rPr lang="en-US"/>
              <a:t>Click to edit title</a:t>
            </a:r>
            <a:endParaRPr lang="es-ES"/>
          </a:p>
        </p:txBody>
      </p:sp>
      <p:cxnSp>
        <p:nvCxnSpPr>
          <p:cNvPr id="13" name="Straight Connector 12">
            <a:extLst>
              <a:ext uri="{FF2B5EF4-FFF2-40B4-BE49-F238E27FC236}">
                <a16:creationId xmlns:a16="http://schemas.microsoft.com/office/drawing/2014/main" id="{D1160276-2D13-4284-981F-C00DEDD71BA8}"/>
              </a:ext>
            </a:extLst>
          </p:cNvPr>
          <p:cNvCxnSpPr/>
          <p:nvPr userDrawn="1"/>
        </p:nvCxnSpPr>
        <p:spPr>
          <a:xfrm>
            <a:off x="550864"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7BA9BCE-A3E8-411D-907B-B79FCB4A37A3}"/>
              </a:ext>
            </a:extLst>
          </p:cNvPr>
          <p:cNvCxnSpPr/>
          <p:nvPr userDrawn="1"/>
        </p:nvCxnSpPr>
        <p:spPr>
          <a:xfrm>
            <a:off x="550864" y="6421143"/>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6"/>
            <a:ext cx="9561512" cy="230187"/>
          </a:xfrm>
        </p:spPr>
        <p:txBody>
          <a:bodyPr tIns="36000" anchor="t" anchorCtr="0"/>
          <a:lstStyle>
            <a:lvl1pPr>
              <a:defRPr sz="998"/>
            </a:lvl1pPr>
          </a:lstStyle>
          <a:p>
            <a:pPr lvl="0"/>
            <a:r>
              <a:rPr lang="en-US" noProof="0"/>
              <a:t>Click to add source</a:t>
            </a:r>
          </a:p>
        </p:txBody>
      </p:sp>
      <p:sp>
        <p:nvSpPr>
          <p:cNvPr id="20" name="Rectangle 19">
            <a:extLst>
              <a:ext uri="{FF2B5EF4-FFF2-40B4-BE49-F238E27FC236}">
                <a16:creationId xmlns:a16="http://schemas.microsoft.com/office/drawing/2014/main" id="{974A453A-D419-44F6-8B0F-84C43FCFA567}"/>
              </a:ext>
            </a:extLst>
          </p:cNvPr>
          <p:cNvSpPr/>
          <p:nvPr userDrawn="1"/>
        </p:nvSpPr>
        <p:spPr>
          <a:xfrm>
            <a:off x="8780016" y="1196976"/>
            <a:ext cx="2857012" cy="486092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a:p>
        </p:txBody>
      </p:sp>
      <p:sp>
        <p:nvSpPr>
          <p:cNvPr id="21" name="Content Placeholder 3"/>
          <p:cNvSpPr>
            <a:spLocks noGrp="1"/>
          </p:cNvSpPr>
          <p:nvPr>
            <p:ph sz="quarter" idx="15" hasCustomPrompt="1"/>
          </p:nvPr>
        </p:nvSpPr>
        <p:spPr>
          <a:xfrm>
            <a:off x="550862" y="1240519"/>
            <a:ext cx="7937786" cy="278374"/>
          </a:xfrm>
        </p:spPr>
        <p:txBody>
          <a:bodyPr anchor="b"/>
          <a:lstStyle>
            <a:lvl1pPr>
              <a:defRPr lang="en-US" sz="1797" b="1" kern="1200" baseline="0" dirty="0" smtClean="0">
                <a:solidFill>
                  <a:schemeClr val="tx2"/>
                </a:solidFill>
                <a:latin typeface="Santander Text"/>
                <a:ea typeface="+mn-ea"/>
                <a:cs typeface="+mn-cs"/>
              </a:defRPr>
            </a:lvl1pPr>
          </a:lstStyle>
          <a:p>
            <a:pPr lvl="0"/>
            <a:r>
              <a:rPr lang="en-US"/>
              <a:t>Chart title</a:t>
            </a:r>
          </a:p>
        </p:txBody>
      </p:sp>
      <p:sp>
        <p:nvSpPr>
          <p:cNvPr id="22" name="Content Placeholder 3"/>
          <p:cNvSpPr>
            <a:spLocks noGrp="1"/>
          </p:cNvSpPr>
          <p:nvPr>
            <p:ph sz="quarter" idx="16" hasCustomPrompt="1"/>
          </p:nvPr>
        </p:nvSpPr>
        <p:spPr>
          <a:xfrm>
            <a:off x="9039225" y="1240518"/>
            <a:ext cx="2438400" cy="278374"/>
          </a:xfrm>
        </p:spPr>
        <p:txBody>
          <a:bodyPr anchor="b"/>
          <a:lstStyle>
            <a:lvl1pPr>
              <a:defRPr lang="en-US" sz="1797" b="1" kern="1200" baseline="0" dirty="0" smtClean="0">
                <a:solidFill>
                  <a:schemeClr val="tx2"/>
                </a:solidFill>
                <a:latin typeface="Santander Text"/>
                <a:ea typeface="+mn-ea"/>
                <a:cs typeface="+mn-cs"/>
              </a:defRPr>
            </a:lvl1pPr>
          </a:lstStyle>
          <a:p>
            <a:pPr lvl="0"/>
            <a:r>
              <a:rPr lang="en-US"/>
              <a:t>Chart title</a:t>
            </a:r>
          </a:p>
        </p:txBody>
      </p:sp>
      <p:sp>
        <p:nvSpPr>
          <p:cNvPr id="23" name="Content Placeholder 2"/>
          <p:cNvSpPr>
            <a:spLocks noGrp="1"/>
          </p:cNvSpPr>
          <p:nvPr>
            <p:ph sz="quarter" idx="17"/>
          </p:nvPr>
        </p:nvSpPr>
        <p:spPr>
          <a:xfrm>
            <a:off x="9038485" y="1628775"/>
            <a:ext cx="2439141" cy="4176713"/>
          </a:xfrm>
        </p:spPr>
        <p:txBody>
          <a:bodyPr anchor="ctr"/>
          <a:lstStyle>
            <a:lvl1pPr>
              <a:lnSpc>
                <a:spcPct val="100000"/>
              </a:lnSpc>
              <a:spcAft>
                <a:spcPts val="599"/>
              </a:spcAft>
              <a:defRPr/>
            </a:lvl1pPr>
            <a:lvl2pPr>
              <a:lnSpc>
                <a:spcPct val="100000"/>
              </a:lnSpc>
              <a:spcAft>
                <a:spcPts val="599"/>
              </a:spcAft>
              <a:defRPr/>
            </a:lvl2pPr>
            <a:lvl3pPr>
              <a:lnSpc>
                <a:spcPct val="100000"/>
              </a:lnSpc>
              <a:spcAft>
                <a:spcPts val="599"/>
              </a:spcAft>
              <a:defRPr/>
            </a:lvl3pPr>
            <a:lvl4pPr>
              <a:lnSpc>
                <a:spcPct val="100000"/>
              </a:lnSpc>
              <a:spcAft>
                <a:spcPts val="599"/>
              </a:spcAft>
              <a:defRPr/>
            </a:lvl4pPr>
            <a:lvl5pPr>
              <a:lnSpc>
                <a:spcPct val="100000"/>
              </a:lnSpc>
              <a:spcAft>
                <a:spcPts val="599"/>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Tree>
    <p:extLst>
      <p:ext uri="{BB962C8B-B14F-4D97-AF65-F5344CB8AC3E}">
        <p14:creationId xmlns:p14="http://schemas.microsoft.com/office/powerpoint/2010/main" val="161543953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3_Takeaway Layout">
    <p:spTree>
      <p:nvGrpSpPr>
        <p:cNvPr id="1" name=""/>
        <p:cNvGrpSpPr/>
        <p:nvPr/>
      </p:nvGrpSpPr>
      <p:grpSpPr>
        <a:xfrm>
          <a:off x="0" y="0"/>
          <a:ext cx="0" cy="0"/>
          <a:chOff x="0" y="0"/>
          <a:chExt cx="0" cy="0"/>
        </a:xfrm>
      </p:grpSpPr>
      <p:sp>
        <p:nvSpPr>
          <p:cNvPr id="25" name="CuadroTexto 5">
            <a:extLst>
              <a:ext uri="{FF2B5EF4-FFF2-40B4-BE49-F238E27FC236}">
                <a16:creationId xmlns:a16="http://schemas.microsoft.com/office/drawing/2014/main" id="{4355AB1E-66FF-4C7B-95B6-6E8B522B05A6}"/>
              </a:ext>
            </a:extLst>
          </p:cNvPr>
          <p:cNvSpPr txBox="1"/>
          <p:nvPr userDrawn="1"/>
        </p:nvSpPr>
        <p:spPr>
          <a:xfrm>
            <a:off x="9948536" y="6456770"/>
            <a:ext cx="1706251" cy="292388"/>
          </a:xfrm>
          <a:prstGeom prst="rect">
            <a:avLst/>
          </a:prstGeom>
          <a:noFill/>
        </p:spPr>
        <p:txBody>
          <a:bodyPr wrap="square" lIns="0" tIns="0" rIns="0" bIns="0" rtlCol="0" anchor="ctr" anchorCtr="0">
            <a:noAutofit/>
          </a:bodyPr>
          <a:lstStyle/>
          <a:p>
            <a:pPr algn="r" defTabSz="911111"/>
            <a:fld id="{DB0C6F71-F88D-45D5-A0AB-EA235CD66EB9}" type="slidenum">
              <a:rPr lang="en-US" sz="1296" noProof="0" smtClean="0">
                <a:solidFill>
                  <a:schemeClr val="tx1"/>
                </a:solidFill>
                <a:latin typeface="Santander Text" panose="020B0504020201020104" pitchFamily="34" charset="0"/>
              </a:rPr>
              <a:pPr algn="r" defTabSz="911111"/>
              <a:t>‹#›</a:t>
            </a:fld>
            <a:endParaRPr lang="en-US" sz="1296" noProof="0">
              <a:solidFill>
                <a:schemeClr val="tx1"/>
              </a:solidFill>
              <a:latin typeface="Santander Text" panose="020B0504020201020104" pitchFamily="34" charset="0"/>
            </a:endParaRPr>
          </a:p>
        </p:txBody>
      </p:sp>
      <p:sp>
        <p:nvSpPr>
          <p:cNvPr id="28" name="CuadroTexto 5">
            <a:extLst>
              <a:ext uri="{FF2B5EF4-FFF2-40B4-BE49-F238E27FC236}">
                <a16:creationId xmlns:a16="http://schemas.microsoft.com/office/drawing/2014/main" id="{222FF7D7-7B77-4EEC-8205-A031C02EC565}"/>
              </a:ext>
            </a:extLst>
          </p:cNvPr>
          <p:cNvSpPr txBox="1"/>
          <p:nvPr userDrawn="1"/>
        </p:nvSpPr>
        <p:spPr>
          <a:xfrm>
            <a:off x="9948536" y="6456770"/>
            <a:ext cx="1706251" cy="292388"/>
          </a:xfrm>
          <a:prstGeom prst="rect">
            <a:avLst/>
          </a:prstGeom>
          <a:noFill/>
        </p:spPr>
        <p:txBody>
          <a:bodyPr wrap="square" lIns="0" tIns="0" rIns="0" bIns="0" rtlCol="0" anchor="ctr" anchorCtr="0">
            <a:noAutofit/>
          </a:bodyPr>
          <a:lstStyle/>
          <a:p>
            <a:pPr algn="r" defTabSz="911111"/>
            <a:fld id="{DB0C6F71-F88D-45D5-A0AB-EA235CD66EB9}" type="slidenum">
              <a:rPr lang="en-US" sz="1296" noProof="0" smtClean="0">
                <a:solidFill>
                  <a:schemeClr val="tx1"/>
                </a:solidFill>
                <a:latin typeface="Santander Text" panose="020B0504020201020104" pitchFamily="34" charset="0"/>
              </a:rPr>
              <a:pPr algn="r" defTabSz="911111"/>
              <a:t>‹#›</a:t>
            </a:fld>
            <a:endParaRPr lang="en-US" sz="1296" noProof="0">
              <a:solidFill>
                <a:schemeClr val="tx1"/>
              </a:solidFill>
              <a:latin typeface="Santander Text" panose="020B0504020201020104" pitchFamily="34" charset="0"/>
            </a:endParaRPr>
          </a:p>
        </p:txBody>
      </p:sp>
      <p:pic>
        <p:nvPicPr>
          <p:cNvPr id="29"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6" y="6467039"/>
            <a:ext cx="1223683" cy="214585"/>
          </a:xfrm>
          <a:prstGeom prst="rect">
            <a:avLst/>
          </a:prstGeom>
        </p:spPr>
      </p:pic>
      <p:sp>
        <p:nvSpPr>
          <p:cNvPr id="30"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71"/>
            <a:ext cx="11090275" cy="225519"/>
          </a:xfrm>
        </p:spPr>
        <p:txBody>
          <a:bodyPr anchor="b" anchorCtr="0"/>
          <a:lstStyle>
            <a:lvl1pPr>
              <a:defRPr sz="998"/>
            </a:lvl1pPr>
          </a:lstStyle>
          <a:p>
            <a:pPr lvl="0"/>
            <a:r>
              <a:rPr lang="en-US" noProof="0"/>
              <a:t>Click to add footnotes</a:t>
            </a:r>
          </a:p>
        </p:txBody>
      </p:sp>
      <p:sp>
        <p:nvSpPr>
          <p:cNvPr id="32" name="Rectangle 31">
            <a:extLst>
              <a:ext uri="{FF2B5EF4-FFF2-40B4-BE49-F238E27FC236}">
                <a16:creationId xmlns:a16="http://schemas.microsoft.com/office/drawing/2014/main" id="{974A453A-D419-44F6-8B0F-84C43FCFA567}"/>
              </a:ext>
            </a:extLst>
          </p:cNvPr>
          <p:cNvSpPr/>
          <p:nvPr userDrawn="1"/>
        </p:nvSpPr>
        <p:spPr>
          <a:xfrm>
            <a:off x="550861" y="5376863"/>
            <a:ext cx="11103922" cy="6791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a:p>
        </p:txBody>
      </p:sp>
      <p:sp>
        <p:nvSpPr>
          <p:cNvPr id="35" name="Content Placeholder 2"/>
          <p:cNvSpPr>
            <a:spLocks noGrp="1"/>
          </p:cNvSpPr>
          <p:nvPr>
            <p:ph sz="quarter" idx="17"/>
          </p:nvPr>
        </p:nvSpPr>
        <p:spPr>
          <a:xfrm>
            <a:off x="770022" y="5443538"/>
            <a:ext cx="10621846" cy="568988"/>
          </a:xfrm>
        </p:spPr>
        <p:txBody>
          <a:bodyPr tIns="0" rIns="0" anchor="ctr"/>
          <a:lstStyle>
            <a:lvl1pPr>
              <a:lnSpc>
                <a:spcPct val="100000"/>
              </a:lnSpc>
              <a:defRPr/>
            </a:lvl1pPr>
            <a:lvl2pPr>
              <a:buNone/>
              <a:defRPr/>
            </a:lvl2pPr>
          </a:lstStyle>
          <a:p>
            <a:pPr lvl="0"/>
            <a:r>
              <a:rPr lang="en-US"/>
              <a:t>Edit Master text styles</a:t>
            </a:r>
          </a:p>
        </p:txBody>
      </p:sp>
      <p:sp>
        <p:nvSpPr>
          <p:cNvPr id="36"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4"/>
            <a:ext cx="2698750" cy="201613"/>
          </a:xfrm>
        </p:spPr>
        <p:txBody>
          <a:bodyPr anchor="b"/>
          <a:lstStyle>
            <a:lvl1pPr algn="r">
              <a:defRPr sz="998"/>
            </a:lvl1pPr>
          </a:lstStyle>
          <a:p>
            <a:pPr lvl="0"/>
            <a:r>
              <a:rPr lang="en-US" noProof="0"/>
              <a:t>Chapter # &gt; Topic</a:t>
            </a:r>
          </a:p>
        </p:txBody>
      </p:sp>
      <p:sp>
        <p:nvSpPr>
          <p:cNvPr id="37"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3" y="264281"/>
            <a:ext cx="11090275" cy="614413"/>
          </a:xfrm>
          <a:prstGeom prst="rect">
            <a:avLst/>
          </a:prstGeom>
        </p:spPr>
        <p:txBody>
          <a:bodyPr vert="horz" lIns="0" tIns="0" rIns="0" bIns="0" rtlCol="0" anchor="b">
            <a:noAutofit/>
          </a:bodyPr>
          <a:lstStyle>
            <a:lvl1pPr>
              <a:lnSpc>
                <a:spcPts val="2396"/>
              </a:lnSpc>
              <a:defRPr/>
            </a:lvl1pPr>
          </a:lstStyle>
          <a:p>
            <a:r>
              <a:rPr lang="en-US"/>
              <a:t>Click to edit title</a:t>
            </a:r>
            <a:endParaRPr lang="es-ES"/>
          </a:p>
        </p:txBody>
      </p:sp>
      <p:cxnSp>
        <p:nvCxnSpPr>
          <p:cNvPr id="38" name="Straight Connector 37">
            <a:extLst>
              <a:ext uri="{FF2B5EF4-FFF2-40B4-BE49-F238E27FC236}">
                <a16:creationId xmlns:a16="http://schemas.microsoft.com/office/drawing/2014/main" id="{D1160276-2D13-4284-981F-C00DEDD71BA8}"/>
              </a:ext>
            </a:extLst>
          </p:cNvPr>
          <p:cNvCxnSpPr/>
          <p:nvPr userDrawn="1"/>
        </p:nvCxnSpPr>
        <p:spPr>
          <a:xfrm>
            <a:off x="550864"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BA9BCE-A3E8-411D-907B-B79FCB4A37A3}"/>
              </a:ext>
            </a:extLst>
          </p:cNvPr>
          <p:cNvCxnSpPr/>
          <p:nvPr userDrawn="1"/>
        </p:nvCxnSpPr>
        <p:spPr>
          <a:xfrm>
            <a:off x="550864" y="6421143"/>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6"/>
            <a:ext cx="9561512" cy="230187"/>
          </a:xfrm>
        </p:spPr>
        <p:txBody>
          <a:bodyPr tIns="36000" anchor="t" anchorCtr="0"/>
          <a:lstStyle>
            <a:lvl1pPr>
              <a:defRPr sz="998"/>
            </a:lvl1pPr>
          </a:lstStyle>
          <a:p>
            <a:pPr lvl="0"/>
            <a:r>
              <a:rPr lang="en-US" noProof="0"/>
              <a:t>Click to add source</a:t>
            </a:r>
          </a:p>
        </p:txBody>
      </p:sp>
      <p:sp>
        <p:nvSpPr>
          <p:cNvPr id="14" name="Content Placeholder 3"/>
          <p:cNvSpPr>
            <a:spLocks noGrp="1"/>
          </p:cNvSpPr>
          <p:nvPr>
            <p:ph sz="quarter" idx="15" hasCustomPrompt="1"/>
          </p:nvPr>
        </p:nvSpPr>
        <p:spPr>
          <a:xfrm>
            <a:off x="550862" y="1240519"/>
            <a:ext cx="11090275" cy="278374"/>
          </a:xfrm>
        </p:spPr>
        <p:txBody>
          <a:bodyPr anchor="b"/>
          <a:lstStyle>
            <a:lvl1pPr>
              <a:defRPr lang="en-US" sz="1797" b="1" kern="1200" baseline="0" dirty="0" smtClean="0">
                <a:solidFill>
                  <a:schemeClr val="tx2"/>
                </a:solidFill>
                <a:latin typeface="Santander Text"/>
                <a:ea typeface="+mn-ea"/>
                <a:cs typeface="+mn-cs"/>
              </a:defRPr>
            </a:lvl1pPr>
          </a:lstStyle>
          <a:p>
            <a:pPr lvl="0"/>
            <a:r>
              <a:rPr lang="en-US"/>
              <a:t>Chart title</a:t>
            </a:r>
          </a:p>
        </p:txBody>
      </p:sp>
    </p:spTree>
    <p:extLst>
      <p:ext uri="{BB962C8B-B14F-4D97-AF65-F5344CB8AC3E}">
        <p14:creationId xmlns:p14="http://schemas.microsoft.com/office/powerpoint/2010/main" val="19503503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F0D1AA4-DBA4-3E7A-578B-058FAF97B0A6}"/>
              </a:ext>
            </a:extLst>
          </p:cNvPr>
          <p:cNvSpPr>
            <a:spLocks noGrp="1"/>
          </p:cNvSpPr>
          <p:nvPr>
            <p:ph type="title"/>
          </p:nvPr>
        </p:nvSpPr>
        <p:spPr/>
        <p:txBody>
          <a:bodyPr/>
          <a:lstStyle/>
          <a:p>
            <a:r>
              <a:rPr lang="es-ES"/>
              <a:t>Haga clic para modificar el estilo de título del patrón</a:t>
            </a:r>
            <a:endParaRPr lang="es-PE"/>
          </a:p>
        </p:txBody>
      </p:sp>
      <p:sp>
        <p:nvSpPr>
          <p:cNvPr id="3" name="Marcador de contenido 2">
            <a:extLst>
              <a:ext uri="{FF2B5EF4-FFF2-40B4-BE49-F238E27FC236}">
                <a16:creationId xmlns:a16="http://schemas.microsoft.com/office/drawing/2014/main" id="{792C0AAF-746B-2DD7-2DBF-BD27FB6AD4DD}"/>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a:extLst>
              <a:ext uri="{FF2B5EF4-FFF2-40B4-BE49-F238E27FC236}">
                <a16:creationId xmlns:a16="http://schemas.microsoft.com/office/drawing/2014/main" id="{CB54DDF8-F928-A603-4FD0-00D92F5549EF}"/>
              </a:ext>
            </a:extLst>
          </p:cNvPr>
          <p:cNvSpPr>
            <a:spLocks noGrp="1"/>
          </p:cNvSpPr>
          <p:nvPr>
            <p:ph type="dt" sz="half" idx="10"/>
          </p:nvPr>
        </p:nvSpPr>
        <p:spPr/>
        <p:txBody>
          <a:bodyPr/>
          <a:lstStyle/>
          <a:p>
            <a:fld id="{C695F5F3-0EE6-479F-88F9-8A2F0FA95D6A}" type="datetimeFigureOut">
              <a:rPr lang="es-PE" smtClean="0"/>
              <a:t>29/01/2026</a:t>
            </a:fld>
            <a:endParaRPr lang="es-PE"/>
          </a:p>
        </p:txBody>
      </p:sp>
      <p:sp>
        <p:nvSpPr>
          <p:cNvPr id="5" name="Marcador de pie de página 4">
            <a:extLst>
              <a:ext uri="{FF2B5EF4-FFF2-40B4-BE49-F238E27FC236}">
                <a16:creationId xmlns:a16="http://schemas.microsoft.com/office/drawing/2014/main" id="{4CB2A96A-6288-FA5E-BD64-17CC7A1893F5}"/>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FE71E596-E5EB-2EBD-1811-EA9E1C0D34EC}"/>
              </a:ext>
            </a:extLst>
          </p:cNvPr>
          <p:cNvSpPr>
            <a:spLocks noGrp="1"/>
          </p:cNvSpPr>
          <p:nvPr>
            <p:ph type="sldNum" sz="quarter" idx="12"/>
          </p:nvPr>
        </p:nvSpPr>
        <p:spPr/>
        <p:txBody>
          <a:bodyPr/>
          <a:lstStyle/>
          <a:p>
            <a:fld id="{E4B1BF1D-F9C7-4B0A-84BE-F8CBD47D4C31}" type="slidenum">
              <a:rPr lang="es-PE" smtClean="0"/>
              <a:t>‹#›</a:t>
            </a:fld>
            <a:endParaRPr lang="es-PE"/>
          </a:p>
        </p:txBody>
      </p:sp>
    </p:spTree>
    <p:extLst>
      <p:ext uri="{BB962C8B-B14F-4D97-AF65-F5344CB8AC3E}">
        <p14:creationId xmlns:p14="http://schemas.microsoft.com/office/powerpoint/2010/main" val="104647454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4_ThankYou">
    <p:spTree>
      <p:nvGrpSpPr>
        <p:cNvPr id="1" name=""/>
        <p:cNvGrpSpPr/>
        <p:nvPr/>
      </p:nvGrpSpPr>
      <p:grpSpPr>
        <a:xfrm>
          <a:off x="0" y="0"/>
          <a:ext cx="0" cy="0"/>
          <a:chOff x="0" y="0"/>
          <a:chExt cx="0" cy="0"/>
        </a:xfrm>
      </p:grpSpPr>
      <p:pic>
        <p:nvPicPr>
          <p:cNvPr id="11" name="Imagem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 y="5117"/>
            <a:ext cx="12190560" cy="6856620"/>
          </a:xfrm>
          <a:prstGeom prst="rect">
            <a:avLst/>
          </a:prstGeom>
        </p:spPr>
      </p:pic>
      <p:sp>
        <p:nvSpPr>
          <p:cNvPr id="4" name="Freeform: Shape 14">
            <a:extLst>
              <a:ext uri="{FF2B5EF4-FFF2-40B4-BE49-F238E27FC236}">
                <a16:creationId xmlns:a16="http://schemas.microsoft.com/office/drawing/2014/main" id="{80DAC009-2BB8-4885-AC03-9FD05C47BE65}"/>
              </a:ext>
            </a:extLst>
          </p:cNvPr>
          <p:cNvSpPr/>
          <p:nvPr userDrawn="1"/>
        </p:nvSpPr>
        <p:spPr>
          <a:xfrm>
            <a:off x="7262226" y="2188309"/>
            <a:ext cx="2446172" cy="248603"/>
          </a:xfrm>
          <a:custGeom>
            <a:avLst/>
            <a:gdLst/>
            <a:ahLst/>
            <a:cxnLst/>
            <a:rect l="l" t="t" r="r" b="b"/>
            <a:pathLst>
              <a:path w="2446172" h="248603">
                <a:moveTo>
                  <a:pt x="2218258" y="75686"/>
                </a:moveTo>
                <a:cubicBezTo>
                  <a:pt x="2202560" y="75848"/>
                  <a:pt x="2190935" y="80359"/>
                  <a:pt x="2183385" y="89222"/>
                </a:cubicBezTo>
                <a:cubicBezTo>
                  <a:pt x="2175835" y="98084"/>
                  <a:pt x="2172083" y="110330"/>
                  <a:pt x="2172129" y="125959"/>
                </a:cubicBezTo>
                <a:cubicBezTo>
                  <a:pt x="2172037" y="140289"/>
                  <a:pt x="2175052" y="151821"/>
                  <a:pt x="2181175" y="160557"/>
                </a:cubicBezTo>
                <a:cubicBezTo>
                  <a:pt x="2187298" y="169292"/>
                  <a:pt x="2197081" y="173781"/>
                  <a:pt x="2210524" y="174023"/>
                </a:cubicBezTo>
                <a:cubicBezTo>
                  <a:pt x="2216451" y="173988"/>
                  <a:pt x="2221861" y="173090"/>
                  <a:pt x="2226752" y="171329"/>
                </a:cubicBezTo>
                <a:cubicBezTo>
                  <a:pt x="2231644" y="169568"/>
                  <a:pt x="2236086" y="167151"/>
                  <a:pt x="2240080" y="164078"/>
                </a:cubicBezTo>
                <a:lnTo>
                  <a:pt x="2240080" y="77344"/>
                </a:lnTo>
                <a:cubicBezTo>
                  <a:pt x="2236926" y="76791"/>
                  <a:pt x="2233566" y="76377"/>
                  <a:pt x="2229998" y="76101"/>
                </a:cubicBezTo>
                <a:cubicBezTo>
                  <a:pt x="2226430" y="75825"/>
                  <a:pt x="2222517" y="75686"/>
                  <a:pt x="2218258"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469508" y="75686"/>
                </a:moveTo>
                <a:cubicBezTo>
                  <a:pt x="1455466" y="75859"/>
                  <a:pt x="1445085" y="80210"/>
                  <a:pt x="1438363" y="88738"/>
                </a:cubicBezTo>
                <a:cubicBezTo>
                  <a:pt x="1431642" y="97267"/>
                  <a:pt x="1428304" y="108937"/>
                  <a:pt x="1428350" y="123750"/>
                </a:cubicBezTo>
                <a:cubicBezTo>
                  <a:pt x="1428460" y="140663"/>
                  <a:pt x="1432108" y="153104"/>
                  <a:pt x="1439296" y="161075"/>
                </a:cubicBezTo>
                <a:cubicBezTo>
                  <a:pt x="1446483" y="169045"/>
                  <a:pt x="1456554" y="172993"/>
                  <a:pt x="1469508" y="172918"/>
                </a:cubicBezTo>
                <a:cubicBezTo>
                  <a:pt x="1483031" y="172762"/>
                  <a:pt x="1493136" y="168446"/>
                  <a:pt x="1499823" y="159970"/>
                </a:cubicBezTo>
                <a:cubicBezTo>
                  <a:pt x="1506510" y="151493"/>
                  <a:pt x="1509848" y="139788"/>
                  <a:pt x="1509836" y="124855"/>
                </a:cubicBezTo>
                <a:cubicBezTo>
                  <a:pt x="1509710" y="108062"/>
                  <a:pt x="1506096" y="95655"/>
                  <a:pt x="1498995" y="87633"/>
                </a:cubicBezTo>
                <a:cubicBezTo>
                  <a:pt x="1491894" y="79611"/>
                  <a:pt x="1482064" y="75629"/>
                  <a:pt x="14695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1" y="140225"/>
                  <a:pt x="570862" y="124302"/>
                </a:cubicBezTo>
                <a:cubicBezTo>
                  <a:pt x="571012" y="109346"/>
                  <a:pt x="567329" y="97549"/>
                  <a:pt x="559813" y="88911"/>
                </a:cubicBezTo>
                <a:cubicBezTo>
                  <a:pt x="552297" y="80273"/>
                  <a:pt x="540051" y="75865"/>
                  <a:pt x="523075" y="75686"/>
                </a:cubicBezTo>
                <a:close/>
                <a:moveTo>
                  <a:pt x="1101204" y="75134"/>
                </a:moveTo>
                <a:cubicBezTo>
                  <a:pt x="1090460" y="75163"/>
                  <a:pt x="1082185" y="78213"/>
                  <a:pt x="1076379" y="84284"/>
                </a:cubicBezTo>
                <a:cubicBezTo>
                  <a:pt x="1070572" y="90355"/>
                  <a:pt x="1067062" y="99275"/>
                  <a:pt x="1065848" y="111043"/>
                </a:cubicBezTo>
                <a:lnTo>
                  <a:pt x="1134351" y="111043"/>
                </a:lnTo>
                <a:cubicBezTo>
                  <a:pt x="1134282" y="99637"/>
                  <a:pt x="1131382" y="90821"/>
                  <a:pt x="1125650" y="84595"/>
                </a:cubicBezTo>
                <a:cubicBezTo>
                  <a:pt x="1119919" y="78368"/>
                  <a:pt x="1111770" y="75215"/>
                  <a:pt x="1101204"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301050" y="53036"/>
                </a:moveTo>
                <a:lnTo>
                  <a:pt x="2331434" y="53036"/>
                </a:lnTo>
                <a:lnTo>
                  <a:pt x="2331434" y="195568"/>
                </a:lnTo>
                <a:lnTo>
                  <a:pt x="2301050" y="195568"/>
                </a:lnTo>
                <a:close/>
                <a:moveTo>
                  <a:pt x="157925" y="53036"/>
                </a:moveTo>
                <a:lnTo>
                  <a:pt x="188309" y="53036"/>
                </a:lnTo>
                <a:lnTo>
                  <a:pt x="188309" y="195568"/>
                </a:lnTo>
                <a:lnTo>
                  <a:pt x="157925" y="195568"/>
                </a:lnTo>
                <a:close/>
                <a:moveTo>
                  <a:pt x="2419655" y="49721"/>
                </a:moveTo>
                <a:cubicBezTo>
                  <a:pt x="2424454" y="49716"/>
                  <a:pt x="2429219" y="49796"/>
                  <a:pt x="2433950" y="49963"/>
                </a:cubicBezTo>
                <a:cubicBezTo>
                  <a:pt x="2438680" y="50130"/>
                  <a:pt x="2442754" y="50418"/>
                  <a:pt x="2446172" y="50826"/>
                </a:cubicBezTo>
                <a:cubicBezTo>
                  <a:pt x="2446161" y="55534"/>
                  <a:pt x="2445908" y="60275"/>
                  <a:pt x="2445413" y="65052"/>
                </a:cubicBezTo>
                <a:cubicBezTo>
                  <a:pt x="2444918" y="69828"/>
                  <a:pt x="2444250" y="73741"/>
                  <a:pt x="2443410" y="76791"/>
                </a:cubicBezTo>
                <a:cubicBezTo>
                  <a:pt x="2439848" y="76383"/>
                  <a:pt x="2436200" y="76095"/>
                  <a:pt x="2432465" y="75928"/>
                </a:cubicBezTo>
                <a:cubicBezTo>
                  <a:pt x="2428730" y="75761"/>
                  <a:pt x="2424736" y="75681"/>
                  <a:pt x="2420484" y="75686"/>
                </a:cubicBezTo>
                <a:cubicBezTo>
                  <a:pt x="2413026" y="75686"/>
                  <a:pt x="2405567" y="76239"/>
                  <a:pt x="2398109" y="77344"/>
                </a:cubicBezTo>
                <a:lnTo>
                  <a:pt x="2398109" y="195568"/>
                </a:lnTo>
                <a:lnTo>
                  <a:pt x="2367725" y="195568"/>
                </a:lnTo>
                <a:lnTo>
                  <a:pt x="2367725" y="57456"/>
                </a:lnTo>
                <a:cubicBezTo>
                  <a:pt x="2374498" y="55200"/>
                  <a:pt x="2382635" y="53358"/>
                  <a:pt x="2392136" y="51931"/>
                </a:cubicBezTo>
                <a:cubicBezTo>
                  <a:pt x="2401637" y="50504"/>
                  <a:pt x="2410810" y="49767"/>
                  <a:pt x="2419655" y="49721"/>
                </a:cubicBezTo>
                <a:close/>
                <a:moveTo>
                  <a:pt x="2218258" y="49721"/>
                </a:moveTo>
                <a:cubicBezTo>
                  <a:pt x="2228133" y="49698"/>
                  <a:pt x="2237318" y="50297"/>
                  <a:pt x="2245812" y="51517"/>
                </a:cubicBezTo>
                <a:cubicBezTo>
                  <a:pt x="2254306" y="52737"/>
                  <a:pt x="2262523" y="54716"/>
                  <a:pt x="2270465" y="57456"/>
                </a:cubicBezTo>
                <a:lnTo>
                  <a:pt x="2270465" y="195568"/>
                </a:lnTo>
                <a:lnTo>
                  <a:pt x="2242566" y="195568"/>
                </a:lnTo>
                <a:lnTo>
                  <a:pt x="2240909" y="178995"/>
                </a:lnTo>
                <a:cubicBezTo>
                  <a:pt x="2237111" y="185141"/>
                  <a:pt x="2232069" y="189975"/>
                  <a:pt x="2225785" y="193496"/>
                </a:cubicBezTo>
                <a:cubicBezTo>
                  <a:pt x="2219501" y="197018"/>
                  <a:pt x="2211560" y="198814"/>
                  <a:pt x="2201961" y="198883"/>
                </a:cubicBezTo>
                <a:cubicBezTo>
                  <a:pt x="2183477" y="198745"/>
                  <a:pt x="2168791" y="192392"/>
                  <a:pt x="2157903" y="179823"/>
                </a:cubicBezTo>
                <a:cubicBezTo>
                  <a:pt x="2147015" y="167255"/>
                  <a:pt x="2141445" y="149300"/>
                  <a:pt x="2141191" y="125959"/>
                </a:cubicBezTo>
                <a:cubicBezTo>
                  <a:pt x="2141209" y="101514"/>
                  <a:pt x="2147665" y="82730"/>
                  <a:pt x="2160562" y="69610"/>
                </a:cubicBezTo>
                <a:cubicBezTo>
                  <a:pt x="2173458" y="56489"/>
                  <a:pt x="2192690" y="49859"/>
                  <a:pt x="2218258" y="49721"/>
                </a:cubicBezTo>
                <a:close/>
                <a:moveTo>
                  <a:pt x="1789633" y="49721"/>
                </a:moveTo>
                <a:cubicBezTo>
                  <a:pt x="1799508" y="49698"/>
                  <a:pt x="1808693" y="50297"/>
                  <a:pt x="1817187" y="51517"/>
                </a:cubicBezTo>
                <a:cubicBezTo>
                  <a:pt x="1825681" y="52737"/>
                  <a:pt x="1833899"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870" y="49721"/>
                </a:moveTo>
                <a:cubicBezTo>
                  <a:pt x="1647903" y="49842"/>
                  <a:pt x="1665443" y="54503"/>
                  <a:pt x="1675491" y="63705"/>
                </a:cubicBezTo>
                <a:cubicBezTo>
                  <a:pt x="1685538" y="72907"/>
                  <a:pt x="1690372" y="85924"/>
                  <a:pt x="1689992" y="102757"/>
                </a:cubicBezTo>
                <a:lnTo>
                  <a:pt x="1689992" y="195568"/>
                </a:lnTo>
                <a:lnTo>
                  <a:pt x="1659608" y="195568"/>
                </a:lnTo>
                <a:lnTo>
                  <a:pt x="1659608" y="108005"/>
                </a:lnTo>
                <a:cubicBezTo>
                  <a:pt x="1659941" y="97111"/>
                  <a:pt x="1657478" y="88997"/>
                  <a:pt x="1652219" y="83662"/>
                </a:cubicBezTo>
                <a:cubicBezTo>
                  <a:pt x="1646959" y="78328"/>
                  <a:pt x="1636900" y="75669"/>
                  <a:pt x="1622041" y="75686"/>
                </a:cubicBezTo>
                <a:cubicBezTo>
                  <a:pt x="1618416" y="75692"/>
                  <a:pt x="1614548" y="75888"/>
                  <a:pt x="1610440" y="76273"/>
                </a:cubicBezTo>
                <a:cubicBezTo>
                  <a:pt x="1606331" y="76659"/>
                  <a:pt x="1602187" y="77200"/>
                  <a:pt x="1598009" y="77896"/>
                </a:cubicBezTo>
                <a:lnTo>
                  <a:pt x="1598009" y="195568"/>
                </a:lnTo>
                <a:lnTo>
                  <a:pt x="1567625" y="195568"/>
                </a:lnTo>
                <a:lnTo>
                  <a:pt x="1567625" y="57456"/>
                </a:lnTo>
                <a:cubicBezTo>
                  <a:pt x="1577471" y="55079"/>
                  <a:pt x="1587265" y="53203"/>
                  <a:pt x="1597008" y="51828"/>
                </a:cubicBezTo>
                <a:cubicBezTo>
                  <a:pt x="1606751" y="50452"/>
                  <a:pt x="1615371" y="49750"/>
                  <a:pt x="1622870" y="49721"/>
                </a:cubicBezTo>
                <a:close/>
                <a:moveTo>
                  <a:pt x="1470336" y="49721"/>
                </a:moveTo>
                <a:cubicBezTo>
                  <a:pt x="1485815" y="49861"/>
                  <a:pt x="1498777" y="53111"/>
                  <a:pt x="1509223" y="59471"/>
                </a:cubicBezTo>
                <a:cubicBezTo>
                  <a:pt x="1519668" y="65831"/>
                  <a:pt x="1527535" y="74462"/>
                  <a:pt x="1532825" y="85365"/>
                </a:cubicBezTo>
                <a:cubicBezTo>
                  <a:pt x="1538114" y="96267"/>
                  <a:pt x="1540764" y="108602"/>
                  <a:pt x="1540774" y="122369"/>
                </a:cubicBezTo>
                <a:cubicBezTo>
                  <a:pt x="1540555" y="146705"/>
                  <a:pt x="1534018" y="165500"/>
                  <a:pt x="1521162" y="178753"/>
                </a:cubicBezTo>
                <a:cubicBezTo>
                  <a:pt x="1508306" y="192006"/>
                  <a:pt x="1490443" y="198716"/>
                  <a:pt x="1467574" y="198883"/>
                </a:cubicBezTo>
                <a:cubicBezTo>
                  <a:pt x="1452360" y="198743"/>
                  <a:pt x="1439544" y="195493"/>
                  <a:pt x="1429128" y="189133"/>
                </a:cubicBezTo>
                <a:cubicBezTo>
                  <a:pt x="1418711" y="182773"/>
                  <a:pt x="1410827" y="174142"/>
                  <a:pt x="1405475" y="163240"/>
                </a:cubicBezTo>
                <a:cubicBezTo>
                  <a:pt x="1400122" y="152337"/>
                  <a:pt x="1397435" y="140003"/>
                  <a:pt x="1397413" y="126236"/>
                </a:cubicBezTo>
                <a:cubicBezTo>
                  <a:pt x="1397655" y="101899"/>
                  <a:pt x="1404215" y="83104"/>
                  <a:pt x="1417094" y="69851"/>
                </a:cubicBezTo>
                <a:cubicBezTo>
                  <a:pt x="1429973" y="56598"/>
                  <a:pt x="1447720" y="49888"/>
                  <a:pt x="1470336" y="49721"/>
                </a:cubicBezTo>
                <a:close/>
                <a:moveTo>
                  <a:pt x="1329662" y="49721"/>
                </a:moveTo>
                <a:cubicBezTo>
                  <a:pt x="1338351" y="49704"/>
                  <a:pt x="1346454" y="50222"/>
                  <a:pt x="1353969" y="51275"/>
                </a:cubicBezTo>
                <a:cubicBezTo>
                  <a:pt x="1361485" y="52328"/>
                  <a:pt x="1368483" y="54020"/>
                  <a:pt x="1374963" y="56351"/>
                </a:cubicBezTo>
                <a:cubicBezTo>
                  <a:pt x="1374709" y="60316"/>
                  <a:pt x="1374249" y="64263"/>
                  <a:pt x="1373581" y="68194"/>
                </a:cubicBezTo>
                <a:cubicBezTo>
                  <a:pt x="1372914" y="72124"/>
                  <a:pt x="1371901" y="76279"/>
                  <a:pt x="1370543" y="80659"/>
                </a:cubicBezTo>
                <a:cubicBezTo>
                  <a:pt x="1364092" y="78604"/>
                  <a:pt x="1357589" y="77119"/>
                  <a:pt x="1351035" y="76204"/>
                </a:cubicBezTo>
                <a:cubicBezTo>
                  <a:pt x="1344480" y="75289"/>
                  <a:pt x="1337632" y="74841"/>
                  <a:pt x="1330490" y="74858"/>
                </a:cubicBezTo>
                <a:cubicBezTo>
                  <a:pt x="1321018" y="74933"/>
                  <a:pt x="1314550" y="76302"/>
                  <a:pt x="1311086" y="78967"/>
                </a:cubicBezTo>
                <a:cubicBezTo>
                  <a:pt x="1307621" y="81631"/>
                  <a:pt x="1305987" y="85141"/>
                  <a:pt x="1306182" y="89498"/>
                </a:cubicBezTo>
                <a:cubicBezTo>
                  <a:pt x="1306165" y="94504"/>
                  <a:pt x="1307926" y="98510"/>
                  <a:pt x="1311465" y="101514"/>
                </a:cubicBezTo>
                <a:cubicBezTo>
                  <a:pt x="1315004" y="104517"/>
                  <a:pt x="1320425" y="107142"/>
                  <a:pt x="1327728" y="109386"/>
                </a:cubicBezTo>
                <a:lnTo>
                  <a:pt x="1342368" y="114082"/>
                </a:lnTo>
                <a:cubicBezTo>
                  <a:pt x="1355414" y="118104"/>
                  <a:pt x="1364955" y="123456"/>
                  <a:pt x="1370992" y="130137"/>
                </a:cubicBezTo>
                <a:cubicBezTo>
                  <a:pt x="1377029" y="136819"/>
                  <a:pt x="1380009" y="145554"/>
                  <a:pt x="1379935" y="156344"/>
                </a:cubicBezTo>
                <a:cubicBezTo>
                  <a:pt x="1379865" y="169114"/>
                  <a:pt x="1375032" y="179346"/>
                  <a:pt x="1365433" y="187040"/>
                </a:cubicBezTo>
                <a:cubicBezTo>
                  <a:pt x="1355834" y="194734"/>
                  <a:pt x="1341885" y="198681"/>
                  <a:pt x="1323585" y="198883"/>
                </a:cubicBezTo>
                <a:cubicBezTo>
                  <a:pt x="1313428" y="198906"/>
                  <a:pt x="1304393" y="198169"/>
                  <a:pt x="1296480" y="196673"/>
                </a:cubicBezTo>
                <a:cubicBezTo>
                  <a:pt x="1288567" y="195177"/>
                  <a:pt x="1281397" y="192783"/>
                  <a:pt x="1274969" y="189491"/>
                </a:cubicBezTo>
                <a:cubicBezTo>
                  <a:pt x="1275245" y="183863"/>
                  <a:pt x="1275729" y="178960"/>
                  <a:pt x="1276419" y="174782"/>
                </a:cubicBezTo>
                <a:cubicBezTo>
                  <a:pt x="1277110" y="170604"/>
                  <a:pt x="1278008" y="166944"/>
                  <a:pt x="1279112" y="163802"/>
                </a:cubicBezTo>
                <a:cubicBezTo>
                  <a:pt x="1285661" y="166985"/>
                  <a:pt x="1292866" y="169390"/>
                  <a:pt x="1300727" y="171019"/>
                </a:cubicBezTo>
                <a:cubicBezTo>
                  <a:pt x="1308588" y="172647"/>
                  <a:pt x="1315931" y="173464"/>
                  <a:pt x="1322756" y="173470"/>
                </a:cubicBezTo>
                <a:cubicBezTo>
                  <a:pt x="1331497" y="173516"/>
                  <a:pt x="1338184" y="172250"/>
                  <a:pt x="1342817" y="169672"/>
                </a:cubicBezTo>
                <a:cubicBezTo>
                  <a:pt x="1347449" y="167094"/>
                  <a:pt x="1349786" y="162928"/>
                  <a:pt x="1349826" y="157173"/>
                </a:cubicBezTo>
                <a:cubicBezTo>
                  <a:pt x="1349757" y="152189"/>
                  <a:pt x="1347823" y="148345"/>
                  <a:pt x="1344025" y="145640"/>
                </a:cubicBezTo>
                <a:cubicBezTo>
                  <a:pt x="1340227" y="142936"/>
                  <a:pt x="1334979" y="140611"/>
                  <a:pt x="1328281" y="138666"/>
                </a:cubicBezTo>
                <a:lnTo>
                  <a:pt x="1314193" y="134246"/>
                </a:lnTo>
                <a:cubicBezTo>
                  <a:pt x="1300434" y="129821"/>
                  <a:pt x="1290731" y="123963"/>
                  <a:pt x="1285086" y="116671"/>
                </a:cubicBezTo>
                <a:cubicBezTo>
                  <a:pt x="1279440" y="109380"/>
                  <a:pt x="1276713" y="100691"/>
                  <a:pt x="1276903" y="90603"/>
                </a:cubicBezTo>
                <a:cubicBezTo>
                  <a:pt x="1276926" y="77781"/>
                  <a:pt x="1281368" y="67791"/>
                  <a:pt x="1290231" y="60632"/>
                </a:cubicBezTo>
                <a:cubicBezTo>
                  <a:pt x="1299093" y="53473"/>
                  <a:pt x="1312236" y="49836"/>
                  <a:pt x="1329662" y="49721"/>
                </a:cubicBezTo>
                <a:close/>
                <a:moveTo>
                  <a:pt x="1238555" y="49721"/>
                </a:moveTo>
                <a:cubicBezTo>
                  <a:pt x="1243354" y="49716"/>
                  <a:pt x="1248119" y="49796"/>
                  <a:pt x="1252850" y="49963"/>
                </a:cubicBezTo>
                <a:cubicBezTo>
                  <a:pt x="1257580" y="50130"/>
                  <a:pt x="1261654" y="50418"/>
                  <a:pt x="1265073" y="50826"/>
                </a:cubicBezTo>
                <a:cubicBezTo>
                  <a:pt x="1265061" y="55534"/>
                  <a:pt x="1264808" y="60275"/>
                  <a:pt x="1264313" y="65052"/>
                </a:cubicBezTo>
                <a:cubicBezTo>
                  <a:pt x="1263818" y="69828"/>
                  <a:pt x="1263151" y="73741"/>
                  <a:pt x="1262310" y="76791"/>
                </a:cubicBezTo>
                <a:cubicBezTo>
                  <a:pt x="1258748" y="76383"/>
                  <a:pt x="1255100" y="76095"/>
                  <a:pt x="1251365" y="75928"/>
                </a:cubicBezTo>
                <a:cubicBezTo>
                  <a:pt x="1247630" y="75761"/>
                  <a:pt x="1243636" y="75681"/>
                  <a:pt x="1239384" y="75686"/>
                </a:cubicBezTo>
                <a:cubicBezTo>
                  <a:pt x="1231926" y="75686"/>
                  <a:pt x="1224468" y="76239"/>
                  <a:pt x="1217010" y="77344"/>
                </a:cubicBezTo>
                <a:lnTo>
                  <a:pt x="1217010" y="195568"/>
                </a:lnTo>
                <a:lnTo>
                  <a:pt x="1186625" y="195568"/>
                </a:lnTo>
                <a:lnTo>
                  <a:pt x="1186625" y="57456"/>
                </a:lnTo>
                <a:cubicBezTo>
                  <a:pt x="1193398" y="55200"/>
                  <a:pt x="1201535" y="53358"/>
                  <a:pt x="1211036" y="51931"/>
                </a:cubicBezTo>
                <a:cubicBezTo>
                  <a:pt x="1220537" y="50504"/>
                  <a:pt x="1229710" y="49767"/>
                  <a:pt x="1238555" y="49721"/>
                </a:cubicBezTo>
                <a:close/>
                <a:moveTo>
                  <a:pt x="1102862" y="49721"/>
                </a:moveTo>
                <a:cubicBezTo>
                  <a:pt x="1124425" y="50182"/>
                  <a:pt x="1140204" y="56374"/>
                  <a:pt x="1150200" y="68297"/>
                </a:cubicBezTo>
                <a:cubicBezTo>
                  <a:pt x="1160196" y="80221"/>
                  <a:pt x="1165133" y="95114"/>
                  <a:pt x="1165012" y="112977"/>
                </a:cubicBezTo>
                <a:cubicBezTo>
                  <a:pt x="1165012" y="117201"/>
                  <a:pt x="1164874" y="121183"/>
                  <a:pt x="1164598" y="124924"/>
                </a:cubicBezTo>
                <a:cubicBezTo>
                  <a:pt x="1164322" y="128664"/>
                  <a:pt x="1163908" y="132508"/>
                  <a:pt x="1163355" y="136456"/>
                </a:cubicBezTo>
                <a:lnTo>
                  <a:pt x="1066400" y="136456"/>
                </a:lnTo>
                <a:cubicBezTo>
                  <a:pt x="1068288" y="148731"/>
                  <a:pt x="1072937" y="157881"/>
                  <a:pt x="1080349" y="163906"/>
                </a:cubicBezTo>
                <a:cubicBezTo>
                  <a:pt x="1087762" y="169931"/>
                  <a:pt x="1098212" y="172935"/>
                  <a:pt x="1111701" y="172918"/>
                </a:cubicBezTo>
                <a:cubicBezTo>
                  <a:pt x="1120028" y="172912"/>
                  <a:pt x="1128303" y="172026"/>
                  <a:pt x="1136527" y="170259"/>
                </a:cubicBezTo>
                <a:cubicBezTo>
                  <a:pt x="1144750" y="168492"/>
                  <a:pt x="1152680" y="165880"/>
                  <a:pt x="1160317" y="162421"/>
                </a:cubicBezTo>
                <a:cubicBezTo>
                  <a:pt x="1159758" y="166507"/>
                  <a:pt x="1159079" y="170973"/>
                  <a:pt x="1158279" y="175818"/>
                </a:cubicBezTo>
                <a:cubicBezTo>
                  <a:pt x="1157479" y="180663"/>
                  <a:pt x="1156593" y="185405"/>
                  <a:pt x="1155621" y="190044"/>
                </a:cubicBezTo>
                <a:cubicBezTo>
                  <a:pt x="1148732" y="193191"/>
                  <a:pt x="1141585" y="195459"/>
                  <a:pt x="1134179" y="196846"/>
                </a:cubicBezTo>
                <a:cubicBezTo>
                  <a:pt x="1126772" y="198233"/>
                  <a:pt x="1119004" y="198912"/>
                  <a:pt x="1110872" y="198883"/>
                </a:cubicBezTo>
                <a:cubicBezTo>
                  <a:pt x="1085494" y="198693"/>
                  <a:pt x="1066573" y="192029"/>
                  <a:pt x="1054108" y="178891"/>
                </a:cubicBezTo>
                <a:cubicBezTo>
                  <a:pt x="1041643" y="165753"/>
                  <a:pt x="1035428" y="147281"/>
                  <a:pt x="1035463" y="123473"/>
                </a:cubicBezTo>
                <a:cubicBezTo>
                  <a:pt x="1035400" y="109606"/>
                  <a:pt x="1037644" y="97135"/>
                  <a:pt x="1042194" y="86060"/>
                </a:cubicBezTo>
                <a:cubicBezTo>
                  <a:pt x="1046745" y="74986"/>
                  <a:pt x="1053982" y="66198"/>
                  <a:pt x="1063904" y="59696"/>
                </a:cubicBezTo>
                <a:cubicBezTo>
                  <a:pt x="1073826" y="53195"/>
                  <a:pt x="1086812" y="49870"/>
                  <a:pt x="1102862"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2" y="162421"/>
                </a:cubicBezTo>
                <a:cubicBezTo>
                  <a:pt x="807333" y="166507"/>
                  <a:pt x="806654" y="170973"/>
                  <a:pt x="805854" y="175818"/>
                </a:cubicBezTo>
                <a:cubicBezTo>
                  <a:pt x="805055"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50" y="76722"/>
                  <a:pt x="259157"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944528" y="28452"/>
                </a:moveTo>
                <a:cubicBezTo>
                  <a:pt x="941173" y="28435"/>
                  <a:pt x="937593" y="28538"/>
                  <a:pt x="933789" y="28763"/>
                </a:cubicBezTo>
                <a:cubicBezTo>
                  <a:pt x="929986" y="28987"/>
                  <a:pt x="926199" y="29436"/>
                  <a:pt x="922430" y="30109"/>
                </a:cubicBezTo>
                <a:lnTo>
                  <a:pt x="922430" y="101375"/>
                </a:lnTo>
                <a:lnTo>
                  <a:pt x="945633" y="101375"/>
                </a:lnTo>
                <a:cubicBezTo>
                  <a:pt x="960790" y="101312"/>
                  <a:pt x="972047" y="98193"/>
                  <a:pt x="979401" y="92018"/>
                </a:cubicBezTo>
                <a:cubicBezTo>
                  <a:pt x="986756" y="85844"/>
                  <a:pt x="990416" y="76993"/>
                  <a:pt x="990381" y="65466"/>
                </a:cubicBezTo>
                <a:cubicBezTo>
                  <a:pt x="990439" y="52927"/>
                  <a:pt x="986733" y="43616"/>
                  <a:pt x="979263" y="37533"/>
                </a:cubicBezTo>
                <a:cubicBezTo>
                  <a:pt x="971793" y="31450"/>
                  <a:pt x="960215" y="28423"/>
                  <a:pt x="944528" y="28452"/>
                </a:cubicBezTo>
                <a:close/>
                <a:moveTo>
                  <a:pt x="2005917" y="4420"/>
                </a:moveTo>
                <a:lnTo>
                  <a:pt x="2120275" y="4420"/>
                </a:lnTo>
                <a:cubicBezTo>
                  <a:pt x="2119998" y="8558"/>
                  <a:pt x="2119584" y="13127"/>
                  <a:pt x="2119032" y="18128"/>
                </a:cubicBezTo>
                <a:cubicBezTo>
                  <a:pt x="2118479" y="23129"/>
                  <a:pt x="2117789" y="27767"/>
                  <a:pt x="2116960" y="32043"/>
                </a:cubicBezTo>
                <a:lnTo>
                  <a:pt x="2036855" y="32043"/>
                </a:lnTo>
                <a:lnTo>
                  <a:pt x="2036855" y="85631"/>
                </a:lnTo>
                <a:lnTo>
                  <a:pt x="2115026" y="85631"/>
                </a:lnTo>
                <a:cubicBezTo>
                  <a:pt x="2114750" y="89636"/>
                  <a:pt x="2114336" y="94124"/>
                  <a:pt x="2113783" y="99097"/>
                </a:cubicBezTo>
                <a:cubicBezTo>
                  <a:pt x="2113231" y="104069"/>
                  <a:pt x="2112540" y="108695"/>
                  <a:pt x="2111712" y="112977"/>
                </a:cubicBezTo>
                <a:lnTo>
                  <a:pt x="2036855" y="112977"/>
                </a:lnTo>
                <a:lnTo>
                  <a:pt x="2036855" y="195568"/>
                </a:lnTo>
                <a:lnTo>
                  <a:pt x="2005917" y="195568"/>
                </a:lnTo>
                <a:close/>
                <a:moveTo>
                  <a:pt x="1902809" y="2211"/>
                </a:moveTo>
                <a:lnTo>
                  <a:pt x="1902809" y="195568"/>
                </a:lnTo>
                <a:lnTo>
                  <a:pt x="1872425" y="195568"/>
                </a:lnTo>
                <a:lnTo>
                  <a:pt x="1872425" y="6630"/>
                </a:lnTo>
                <a:cubicBezTo>
                  <a:pt x="1876488" y="5479"/>
                  <a:pt x="1881345"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1" y="3592"/>
                </a:cubicBezTo>
                <a:cubicBezTo>
                  <a:pt x="644872" y="2717"/>
                  <a:pt x="650143" y="2257"/>
                  <a:pt x="655034" y="2211"/>
                </a:cubicBezTo>
                <a:close/>
                <a:moveTo>
                  <a:pt x="943423" y="1382"/>
                </a:moveTo>
                <a:cubicBezTo>
                  <a:pt x="963261" y="1532"/>
                  <a:pt x="978921" y="4393"/>
                  <a:pt x="990401" y="9965"/>
                </a:cubicBezTo>
                <a:cubicBezTo>
                  <a:pt x="1001882" y="15538"/>
                  <a:pt x="1010032" y="22921"/>
                  <a:pt x="1014852" y="32115"/>
                </a:cubicBezTo>
                <a:cubicBezTo>
                  <a:pt x="1019673" y="41308"/>
                  <a:pt x="1022012" y="51413"/>
                  <a:pt x="1021871" y="62428"/>
                </a:cubicBezTo>
                <a:cubicBezTo>
                  <a:pt x="1021715" y="83283"/>
                  <a:pt x="1015051" y="99373"/>
                  <a:pt x="1001879" y="110698"/>
                </a:cubicBezTo>
                <a:cubicBezTo>
                  <a:pt x="988706" y="122023"/>
                  <a:pt x="969958" y="127755"/>
                  <a:pt x="945633" y="127893"/>
                </a:cubicBezTo>
                <a:lnTo>
                  <a:pt x="922430" y="127893"/>
                </a:lnTo>
                <a:lnTo>
                  <a:pt x="922430" y="195292"/>
                </a:lnTo>
                <a:lnTo>
                  <a:pt x="891492" y="195292"/>
                </a:lnTo>
                <a:lnTo>
                  <a:pt x="891492" y="6906"/>
                </a:lnTo>
                <a:cubicBezTo>
                  <a:pt x="898473" y="5347"/>
                  <a:pt x="906610" y="4046"/>
                  <a:pt x="915904" y="3005"/>
                </a:cubicBezTo>
                <a:cubicBezTo>
                  <a:pt x="925198" y="1963"/>
                  <a:pt x="934371" y="1422"/>
                  <a:pt x="943423" y="1382"/>
                </a:cubicBezTo>
                <a:close/>
                <a:moveTo>
                  <a:pt x="2316242" y="1106"/>
                </a:moveTo>
                <a:cubicBezTo>
                  <a:pt x="2321738" y="1215"/>
                  <a:pt x="2326215" y="2999"/>
                  <a:pt x="2329673" y="6458"/>
                </a:cubicBezTo>
                <a:cubicBezTo>
                  <a:pt x="2333132" y="9916"/>
                  <a:pt x="2334916" y="14393"/>
                  <a:pt x="2335025" y="19889"/>
                </a:cubicBezTo>
                <a:cubicBezTo>
                  <a:pt x="2334916" y="25385"/>
                  <a:pt x="2333132" y="29862"/>
                  <a:pt x="2329673" y="33320"/>
                </a:cubicBezTo>
                <a:cubicBezTo>
                  <a:pt x="2326215" y="36779"/>
                  <a:pt x="2321738" y="38563"/>
                  <a:pt x="2316242" y="38672"/>
                </a:cubicBezTo>
                <a:cubicBezTo>
                  <a:pt x="2310614" y="38563"/>
                  <a:pt x="2306056" y="36779"/>
                  <a:pt x="2302569" y="33320"/>
                </a:cubicBezTo>
                <a:cubicBezTo>
                  <a:pt x="2299082" y="29862"/>
                  <a:pt x="2297286" y="25385"/>
                  <a:pt x="2297183" y="19889"/>
                </a:cubicBezTo>
                <a:cubicBezTo>
                  <a:pt x="2297286" y="14393"/>
                  <a:pt x="2299082" y="9916"/>
                  <a:pt x="2302569" y="6458"/>
                </a:cubicBezTo>
                <a:cubicBezTo>
                  <a:pt x="2306056" y="2999"/>
                  <a:pt x="2310614" y="1215"/>
                  <a:pt x="2316242" y="1106"/>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8"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4"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79"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1"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2"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8" y="112977"/>
                </a:cubicBezTo>
                <a:lnTo>
                  <a:pt x="45301" y="106900"/>
                </a:lnTo>
                <a:cubicBezTo>
                  <a:pt x="32123" y="101473"/>
                  <a:pt x="21603" y="94510"/>
                  <a:pt x="13742" y="86010"/>
                </a:cubicBezTo>
                <a:cubicBezTo>
                  <a:pt x="5881" y="77511"/>
                  <a:pt x="1853" y="66059"/>
                  <a:pt x="1657" y="51655"/>
                </a:cubicBezTo>
                <a:cubicBezTo>
                  <a:pt x="1634" y="35726"/>
                  <a:pt x="7136" y="23181"/>
                  <a:pt x="18162" y="14019"/>
                </a:cubicBezTo>
                <a:cubicBezTo>
                  <a:pt x="29188" y="4858"/>
                  <a:pt x="45877" y="185"/>
                  <a:pt x="68228" y="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1956"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5"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7297514" y="5858104"/>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upo 19">
            <a:extLst>
              <a:ext uri="{FF2B5EF4-FFF2-40B4-BE49-F238E27FC236}">
                <a16:creationId xmlns:a16="http://schemas.microsoft.com/office/drawing/2014/main" id="{246620ED-93B0-4966-8E36-4B883B49E634}"/>
              </a:ext>
            </a:extLst>
          </p:cNvPr>
          <p:cNvGrpSpPr/>
          <p:nvPr userDrawn="1"/>
        </p:nvGrpSpPr>
        <p:grpSpPr>
          <a:xfrm>
            <a:off x="9184031" y="5858536"/>
            <a:ext cx="578707" cy="455017"/>
            <a:chOff x="2203451" y="-4230356"/>
            <a:chExt cx="6896100" cy="5422158"/>
          </a:xfrm>
        </p:grpSpPr>
        <p:pic>
          <p:nvPicPr>
            <p:cNvPr id="7"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8"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5" cstate="screen">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9" name="CuadroTexto 22">
            <a:extLst>
              <a:ext uri="{FF2B5EF4-FFF2-40B4-BE49-F238E27FC236}">
                <a16:creationId xmlns:a16="http://schemas.microsoft.com/office/drawing/2014/main" id="{B163354C-97AE-4FC8-BF01-B7FCA9B2C7C0}"/>
              </a:ext>
            </a:extLst>
          </p:cNvPr>
          <p:cNvSpPr txBox="1"/>
          <p:nvPr userDrawn="1"/>
        </p:nvSpPr>
        <p:spPr>
          <a:xfrm>
            <a:off x="7160629" y="657789"/>
            <a:ext cx="3365478" cy="1167948"/>
          </a:xfrm>
          <a:prstGeom prst="rect">
            <a:avLst/>
          </a:prstGeom>
          <a:noFill/>
        </p:spPr>
        <p:txBody>
          <a:bodyPr wrap="square" rtlCol="0">
            <a:spAutoFit/>
          </a:bodyPr>
          <a:lstStyle/>
          <a:p>
            <a:pPr marL="0" marR="0" lvl="0" indent="0" algn="l" defTabSz="911956" rtl="0" eaLnBrk="1" fontAlgn="auto" latinLnBrk="0" hangingPunct="1">
              <a:lnSpc>
                <a:spcPct val="100000"/>
              </a:lnSpc>
              <a:spcBef>
                <a:spcPts val="0"/>
              </a:spcBef>
              <a:spcAft>
                <a:spcPts val="0"/>
              </a:spcAft>
              <a:buClrTx/>
              <a:buSzTx/>
              <a:buFontTx/>
              <a:buNone/>
              <a:tabLst/>
              <a:defRPr/>
            </a:pPr>
            <a:r>
              <a:rPr kumimoji="0" lang="en-US" sz="1395"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Our purpose is to help people </a:t>
            </a:r>
            <a:br>
              <a:rPr kumimoji="0" lang="en-US" sz="1395"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br>
            <a:r>
              <a:rPr kumimoji="0" lang="en-US" sz="1395"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and businesses prosper.</a:t>
            </a:r>
          </a:p>
          <a:p>
            <a:pPr marL="0" marR="0" lvl="0" indent="0" algn="l" defTabSz="911956" rtl="0" eaLnBrk="1" fontAlgn="auto" latinLnBrk="0" hangingPunct="1">
              <a:lnSpc>
                <a:spcPct val="100000"/>
              </a:lnSpc>
              <a:spcBef>
                <a:spcPts val="0"/>
              </a:spcBef>
              <a:spcAft>
                <a:spcPts val="0"/>
              </a:spcAft>
              <a:buClrTx/>
              <a:buSzTx/>
              <a:buFontTx/>
              <a:buNone/>
              <a:tabLst/>
              <a:defRPr/>
            </a:pPr>
            <a:endParaRPr kumimoji="0" lang="en-US" sz="1395"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endParaRPr>
          </a:p>
          <a:p>
            <a:pPr marL="0" marR="0" lvl="0" indent="0" algn="l" defTabSz="911956" rtl="0" eaLnBrk="1" fontAlgn="auto" latinLnBrk="0" hangingPunct="1">
              <a:lnSpc>
                <a:spcPct val="100000"/>
              </a:lnSpc>
              <a:spcBef>
                <a:spcPts val="0"/>
              </a:spcBef>
              <a:spcAft>
                <a:spcPts val="0"/>
              </a:spcAft>
              <a:buClrTx/>
              <a:buSzTx/>
              <a:buFontTx/>
              <a:buNone/>
              <a:tabLst/>
              <a:defRPr/>
            </a:pPr>
            <a:r>
              <a:rPr kumimoji="0" lang="en-US" sz="1395"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Our culture is based on believing </a:t>
            </a:r>
            <a:br>
              <a:rPr kumimoji="0" lang="en-US" sz="1395"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br>
            <a:r>
              <a:rPr kumimoji="0" lang="en-US" sz="1395"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that everything we do should be:</a:t>
            </a:r>
          </a:p>
        </p:txBody>
      </p:sp>
      <p:sp>
        <p:nvSpPr>
          <p:cNvPr id="13" name="Espaço Reservado para Texto 12"/>
          <p:cNvSpPr>
            <a:spLocks noGrp="1"/>
          </p:cNvSpPr>
          <p:nvPr>
            <p:ph type="body" sz="quarter" idx="10" hasCustomPrompt="1"/>
          </p:nvPr>
        </p:nvSpPr>
        <p:spPr>
          <a:xfrm>
            <a:off x="7218685" y="3799800"/>
            <a:ext cx="4430713" cy="1767970"/>
          </a:xfrm>
          <a:prstGeom prst="rect">
            <a:avLst/>
          </a:prstGeom>
        </p:spPr>
        <p:txBody>
          <a:bodyPr wrap="square" lIns="0" rIns="0">
            <a:spAutoFit/>
          </a:bodyPr>
          <a:lstStyle>
            <a:lvl1pPr marL="0" indent="0">
              <a:buFontTx/>
              <a:buNone/>
              <a:defRPr lang="pt-BR" sz="5390" b="1" spc="-96" baseline="0" smtClean="0">
                <a:solidFill>
                  <a:schemeClr val="accent1"/>
                </a:solidFill>
                <a:latin typeface="Santander Headline" panose="020B0504020201020104" pitchFamily="34" charset="0"/>
                <a:ea typeface="+mj-ea"/>
                <a:cs typeface="Segoe UI Semibold" panose="020B0702040204020203" pitchFamily="34" charset="0"/>
              </a:defRPr>
            </a:lvl1pPr>
            <a:lvl2pPr>
              <a:defRPr lang="pt-BR" smtClean="0"/>
            </a:lvl2pPr>
            <a:lvl3pPr>
              <a:defRPr lang="pt-BR" smtClean="0"/>
            </a:lvl3pPr>
            <a:lvl4pPr>
              <a:defRPr lang="pt-BR" smtClean="0"/>
            </a:lvl4pPr>
            <a:lvl5pPr>
              <a:defRPr lang="en-US"/>
            </a:lvl5pPr>
          </a:lstStyle>
          <a:p>
            <a:pPr lvl="0" algn="l"/>
            <a:r>
              <a:rPr lang="pt-BR"/>
              <a:t>Editar estilos </a:t>
            </a:r>
            <a:br>
              <a:rPr lang="pt-BR"/>
            </a:br>
            <a:r>
              <a:rPr lang="pt-BR"/>
              <a:t>de texto mestre</a:t>
            </a:r>
          </a:p>
        </p:txBody>
      </p:sp>
    </p:spTree>
    <p:extLst>
      <p:ext uri="{BB962C8B-B14F-4D97-AF65-F5344CB8AC3E}">
        <p14:creationId xmlns:p14="http://schemas.microsoft.com/office/powerpoint/2010/main" val="23126422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5_Obrigado">
    <p:spTree>
      <p:nvGrpSpPr>
        <p:cNvPr id="1" name=""/>
        <p:cNvGrpSpPr/>
        <p:nvPr/>
      </p:nvGrpSpPr>
      <p:grpSpPr>
        <a:xfrm>
          <a:off x="0" y="0"/>
          <a:ext cx="0" cy="0"/>
          <a:chOff x="0" y="0"/>
          <a:chExt cx="0" cy="0"/>
        </a:xfrm>
      </p:grpSpPr>
      <p:pic>
        <p:nvPicPr>
          <p:cNvPr id="11" name="Imagem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 y="5117"/>
            <a:ext cx="12190560" cy="6856620"/>
          </a:xfrm>
          <a:prstGeom prst="rect">
            <a:avLst/>
          </a:prstGeom>
        </p:spPr>
      </p:pic>
      <p:pic>
        <p:nvPicPr>
          <p:cNvPr id="5"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7297514" y="5858104"/>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upo 19">
            <a:extLst>
              <a:ext uri="{FF2B5EF4-FFF2-40B4-BE49-F238E27FC236}">
                <a16:creationId xmlns:a16="http://schemas.microsoft.com/office/drawing/2014/main" id="{246620ED-93B0-4966-8E36-4B883B49E634}"/>
              </a:ext>
            </a:extLst>
          </p:cNvPr>
          <p:cNvGrpSpPr/>
          <p:nvPr userDrawn="1"/>
        </p:nvGrpSpPr>
        <p:grpSpPr>
          <a:xfrm>
            <a:off x="9184031" y="5858536"/>
            <a:ext cx="578707" cy="455017"/>
            <a:chOff x="2203451" y="-4230356"/>
            <a:chExt cx="6896100" cy="5422158"/>
          </a:xfrm>
        </p:grpSpPr>
        <p:pic>
          <p:nvPicPr>
            <p:cNvPr id="7"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8"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5" cstate="screen">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9" name="CuadroTexto 22">
            <a:extLst>
              <a:ext uri="{FF2B5EF4-FFF2-40B4-BE49-F238E27FC236}">
                <a16:creationId xmlns:a16="http://schemas.microsoft.com/office/drawing/2014/main" id="{B163354C-97AE-4FC8-BF01-B7FCA9B2C7C0}"/>
              </a:ext>
            </a:extLst>
          </p:cNvPr>
          <p:cNvSpPr txBox="1"/>
          <p:nvPr userDrawn="1"/>
        </p:nvSpPr>
        <p:spPr>
          <a:xfrm>
            <a:off x="7160629" y="657789"/>
            <a:ext cx="3365478" cy="1167948"/>
          </a:xfrm>
          <a:prstGeom prst="rect">
            <a:avLst/>
          </a:prstGeom>
          <a:noFill/>
        </p:spPr>
        <p:txBody>
          <a:bodyPr wrap="square" rtlCol="0">
            <a:spAutoFit/>
          </a:bodyPr>
          <a:lstStyle/>
          <a:p>
            <a:pPr marL="0" marR="0" lvl="0" indent="0" algn="l" defTabSz="911956" rtl="0" eaLnBrk="1" fontAlgn="auto" latinLnBrk="0" hangingPunct="1">
              <a:lnSpc>
                <a:spcPct val="100000"/>
              </a:lnSpc>
              <a:spcBef>
                <a:spcPts val="0"/>
              </a:spcBef>
              <a:spcAft>
                <a:spcPts val="0"/>
              </a:spcAft>
              <a:buClrTx/>
              <a:buSzTx/>
              <a:buFontTx/>
              <a:buNone/>
              <a:tabLst/>
              <a:defRPr/>
            </a:pPr>
            <a:r>
              <a:rPr kumimoji="0" lang="pt-BR" sz="1395"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Nosso propósito é contribuir para que as pessoas e as empresas prosperem.</a:t>
            </a:r>
          </a:p>
          <a:p>
            <a:pPr marL="0" marR="0" lvl="0" indent="0" algn="l" defTabSz="911956" rtl="0" eaLnBrk="1" fontAlgn="auto" latinLnBrk="0" hangingPunct="1">
              <a:lnSpc>
                <a:spcPct val="100000"/>
              </a:lnSpc>
              <a:spcBef>
                <a:spcPts val="0"/>
              </a:spcBef>
              <a:spcAft>
                <a:spcPts val="0"/>
              </a:spcAft>
              <a:buClrTx/>
              <a:buSzTx/>
              <a:buFontTx/>
              <a:buNone/>
              <a:tabLst/>
              <a:defRPr/>
            </a:pPr>
            <a:endParaRPr kumimoji="0" lang="pt-BR" sz="1395"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endParaRPr>
          </a:p>
          <a:p>
            <a:pPr marL="0" marR="0" lvl="0" indent="0" algn="l" defTabSz="911956" rtl="0" eaLnBrk="1" fontAlgn="auto" latinLnBrk="0" hangingPunct="1">
              <a:lnSpc>
                <a:spcPct val="100000"/>
              </a:lnSpc>
              <a:spcBef>
                <a:spcPts val="0"/>
              </a:spcBef>
              <a:spcAft>
                <a:spcPts val="0"/>
              </a:spcAft>
              <a:buClrTx/>
              <a:buSzTx/>
              <a:buFontTx/>
              <a:buNone/>
              <a:tabLst/>
              <a:defRPr/>
            </a:pPr>
            <a:r>
              <a:rPr kumimoji="0" lang="pt-BR" sz="1395"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Nossa cultura se baseia na crença de que tudo que fazemos deve ser </a:t>
            </a:r>
          </a:p>
        </p:txBody>
      </p:sp>
      <p:sp>
        <p:nvSpPr>
          <p:cNvPr id="13" name="Espaço Reservado para Texto 12"/>
          <p:cNvSpPr>
            <a:spLocks noGrp="1"/>
          </p:cNvSpPr>
          <p:nvPr>
            <p:ph type="body" sz="quarter" idx="10" hasCustomPrompt="1"/>
          </p:nvPr>
        </p:nvSpPr>
        <p:spPr>
          <a:xfrm>
            <a:off x="7218685" y="3799800"/>
            <a:ext cx="4430713" cy="1767970"/>
          </a:xfrm>
          <a:prstGeom prst="rect">
            <a:avLst/>
          </a:prstGeom>
        </p:spPr>
        <p:txBody>
          <a:bodyPr wrap="square" lIns="0" rIns="0">
            <a:spAutoFit/>
          </a:bodyPr>
          <a:lstStyle>
            <a:lvl1pPr marL="0" indent="0">
              <a:buFontTx/>
              <a:buNone/>
              <a:defRPr lang="pt-BR" sz="5390" b="1" spc="-96" baseline="0" smtClean="0">
                <a:solidFill>
                  <a:schemeClr val="accent1"/>
                </a:solidFill>
                <a:latin typeface="Santander Headline" panose="020B0504020201020104" pitchFamily="34" charset="0"/>
                <a:ea typeface="+mj-ea"/>
                <a:cs typeface="Segoe UI Semibold" panose="020B0702040204020203" pitchFamily="34" charset="0"/>
              </a:defRPr>
            </a:lvl1pPr>
            <a:lvl2pPr>
              <a:defRPr lang="pt-BR" smtClean="0"/>
            </a:lvl2pPr>
            <a:lvl3pPr>
              <a:defRPr lang="pt-BR" smtClean="0"/>
            </a:lvl3pPr>
            <a:lvl4pPr>
              <a:defRPr lang="pt-BR" smtClean="0"/>
            </a:lvl4pPr>
            <a:lvl5pPr>
              <a:defRPr lang="en-US"/>
            </a:lvl5pPr>
          </a:lstStyle>
          <a:p>
            <a:pPr lvl="0" algn="l"/>
            <a:r>
              <a:rPr lang="pt-BR"/>
              <a:t>Editar estilos </a:t>
            </a:r>
            <a:br>
              <a:rPr lang="pt-BR"/>
            </a:br>
            <a:r>
              <a:rPr lang="pt-BR"/>
              <a:t>de texto mestre</a:t>
            </a:r>
          </a:p>
        </p:txBody>
      </p:sp>
      <p:sp>
        <p:nvSpPr>
          <p:cNvPr id="12" name="CaixaDeTexto 11">
            <a:extLst>
              <a:ext uri="{FF2B5EF4-FFF2-40B4-BE49-F238E27FC236}">
                <a16:creationId xmlns:a16="http://schemas.microsoft.com/office/drawing/2014/main" id="{0CB90E92-3DEA-4B96-9108-EFBD552F2B47}"/>
              </a:ext>
            </a:extLst>
          </p:cNvPr>
          <p:cNvSpPr txBox="1"/>
          <p:nvPr userDrawn="1"/>
        </p:nvSpPr>
        <p:spPr>
          <a:xfrm>
            <a:off x="7262227" y="2188309"/>
            <a:ext cx="2598049" cy="248603"/>
          </a:xfrm>
          <a:custGeom>
            <a:avLst/>
            <a:gdLst/>
            <a:ahLst/>
            <a:cxnLst/>
            <a:rect l="l" t="t" r="r" b="b"/>
            <a:pathLst>
              <a:path w="2598049" h="248603">
                <a:moveTo>
                  <a:pt x="2526783" y="75686"/>
                </a:moveTo>
                <a:cubicBezTo>
                  <a:pt x="2512741" y="75859"/>
                  <a:pt x="2502360" y="80210"/>
                  <a:pt x="2495638" y="88738"/>
                </a:cubicBezTo>
                <a:cubicBezTo>
                  <a:pt x="2488917" y="97267"/>
                  <a:pt x="2485579" y="108937"/>
                  <a:pt x="2485625" y="123750"/>
                </a:cubicBezTo>
                <a:cubicBezTo>
                  <a:pt x="2485735" y="140663"/>
                  <a:pt x="2489383" y="153104"/>
                  <a:pt x="2496571" y="161075"/>
                </a:cubicBezTo>
                <a:cubicBezTo>
                  <a:pt x="2503758" y="169045"/>
                  <a:pt x="2513829" y="172993"/>
                  <a:pt x="2526783" y="172918"/>
                </a:cubicBezTo>
                <a:cubicBezTo>
                  <a:pt x="2540306" y="172762"/>
                  <a:pt x="2550411" y="168446"/>
                  <a:pt x="2557098" y="159970"/>
                </a:cubicBezTo>
                <a:cubicBezTo>
                  <a:pt x="2563785" y="151493"/>
                  <a:pt x="2567123" y="139788"/>
                  <a:pt x="2567112" y="124855"/>
                </a:cubicBezTo>
                <a:cubicBezTo>
                  <a:pt x="2566985" y="108062"/>
                  <a:pt x="2563371" y="95655"/>
                  <a:pt x="2556270" y="87633"/>
                </a:cubicBezTo>
                <a:cubicBezTo>
                  <a:pt x="2549168" y="79611"/>
                  <a:pt x="2539339" y="75629"/>
                  <a:pt x="2526783"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621908" y="75686"/>
                </a:moveTo>
                <a:cubicBezTo>
                  <a:pt x="1607866" y="75859"/>
                  <a:pt x="1597485" y="80210"/>
                  <a:pt x="1590763" y="88738"/>
                </a:cubicBezTo>
                <a:cubicBezTo>
                  <a:pt x="1584042" y="97267"/>
                  <a:pt x="1580704" y="108937"/>
                  <a:pt x="1580750" y="123750"/>
                </a:cubicBezTo>
                <a:cubicBezTo>
                  <a:pt x="1580859" y="140663"/>
                  <a:pt x="1584508" y="153104"/>
                  <a:pt x="1591696" y="161075"/>
                </a:cubicBezTo>
                <a:cubicBezTo>
                  <a:pt x="1598883" y="169045"/>
                  <a:pt x="1608954" y="172993"/>
                  <a:pt x="1621908" y="172918"/>
                </a:cubicBezTo>
                <a:cubicBezTo>
                  <a:pt x="1635431" y="172762"/>
                  <a:pt x="1645536" y="168446"/>
                  <a:pt x="1652223" y="159970"/>
                </a:cubicBezTo>
                <a:cubicBezTo>
                  <a:pt x="1658910" y="151493"/>
                  <a:pt x="1662248" y="139788"/>
                  <a:pt x="1662236" y="124855"/>
                </a:cubicBezTo>
                <a:cubicBezTo>
                  <a:pt x="1662110" y="108062"/>
                  <a:pt x="1658496" y="95655"/>
                  <a:pt x="1651395" y="87633"/>
                </a:cubicBezTo>
                <a:cubicBezTo>
                  <a:pt x="1644293" y="79611"/>
                  <a:pt x="1634464" y="75629"/>
                  <a:pt x="16219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0" y="140225"/>
                  <a:pt x="570862" y="124302"/>
                </a:cubicBezTo>
                <a:cubicBezTo>
                  <a:pt x="571012" y="109346"/>
                  <a:pt x="567329" y="97549"/>
                  <a:pt x="559813" y="88911"/>
                </a:cubicBezTo>
                <a:cubicBezTo>
                  <a:pt x="552297" y="80273"/>
                  <a:pt x="540051" y="75865"/>
                  <a:pt x="523075" y="75686"/>
                </a:cubicBezTo>
                <a:close/>
                <a:moveTo>
                  <a:pt x="1225029" y="75134"/>
                </a:moveTo>
                <a:cubicBezTo>
                  <a:pt x="1214285" y="75163"/>
                  <a:pt x="1206010" y="78213"/>
                  <a:pt x="1200204" y="84284"/>
                </a:cubicBezTo>
                <a:cubicBezTo>
                  <a:pt x="1194397" y="90355"/>
                  <a:pt x="1190887" y="99275"/>
                  <a:pt x="1189673" y="111043"/>
                </a:cubicBezTo>
                <a:lnTo>
                  <a:pt x="1258176" y="111043"/>
                </a:lnTo>
                <a:cubicBezTo>
                  <a:pt x="1258107" y="99637"/>
                  <a:pt x="1255207" y="90821"/>
                  <a:pt x="1249475" y="84595"/>
                </a:cubicBezTo>
                <a:cubicBezTo>
                  <a:pt x="1243744" y="78368"/>
                  <a:pt x="1235595" y="75215"/>
                  <a:pt x="1225029"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090119" y="53036"/>
                </a:moveTo>
                <a:lnTo>
                  <a:pt x="2120503" y="53036"/>
                </a:lnTo>
                <a:lnTo>
                  <a:pt x="2120503" y="138942"/>
                </a:lnTo>
                <a:cubicBezTo>
                  <a:pt x="2120354" y="150630"/>
                  <a:pt x="2122656" y="159227"/>
                  <a:pt x="2127409" y="164735"/>
                </a:cubicBezTo>
                <a:cubicBezTo>
                  <a:pt x="2132162" y="170242"/>
                  <a:pt x="2140265" y="172969"/>
                  <a:pt x="2151717" y="172918"/>
                </a:cubicBezTo>
                <a:cubicBezTo>
                  <a:pt x="2157281" y="172923"/>
                  <a:pt x="2162656" y="172014"/>
                  <a:pt x="2167841" y="170190"/>
                </a:cubicBezTo>
                <a:cubicBezTo>
                  <a:pt x="2173026" y="168366"/>
                  <a:pt x="2177780" y="165592"/>
                  <a:pt x="2182101" y="161869"/>
                </a:cubicBezTo>
                <a:lnTo>
                  <a:pt x="2182101" y="53036"/>
                </a:lnTo>
                <a:lnTo>
                  <a:pt x="2212486" y="53036"/>
                </a:lnTo>
                <a:lnTo>
                  <a:pt x="2212486" y="195568"/>
                </a:lnTo>
                <a:lnTo>
                  <a:pt x="2184311" y="195568"/>
                </a:lnTo>
                <a:lnTo>
                  <a:pt x="2182654" y="177614"/>
                </a:lnTo>
                <a:cubicBezTo>
                  <a:pt x="2177993" y="183938"/>
                  <a:pt x="2172261" y="189037"/>
                  <a:pt x="2165459" y="192909"/>
                </a:cubicBezTo>
                <a:cubicBezTo>
                  <a:pt x="2158657" y="196782"/>
                  <a:pt x="2150577" y="198773"/>
                  <a:pt x="2141220" y="198883"/>
                </a:cubicBezTo>
                <a:cubicBezTo>
                  <a:pt x="2124468" y="198883"/>
                  <a:pt x="2111773" y="194463"/>
                  <a:pt x="2103136" y="185624"/>
                </a:cubicBezTo>
                <a:cubicBezTo>
                  <a:pt x="2094498" y="176785"/>
                  <a:pt x="2090159" y="163526"/>
                  <a:pt x="2090119" y="145848"/>
                </a:cubicBezTo>
                <a:close/>
                <a:moveTo>
                  <a:pt x="157925" y="53036"/>
                </a:moveTo>
                <a:lnTo>
                  <a:pt x="188309" y="53036"/>
                </a:lnTo>
                <a:lnTo>
                  <a:pt x="188309" y="195568"/>
                </a:lnTo>
                <a:lnTo>
                  <a:pt x="157925" y="195568"/>
                </a:lnTo>
                <a:close/>
                <a:moveTo>
                  <a:pt x="2527611" y="49721"/>
                </a:moveTo>
                <a:cubicBezTo>
                  <a:pt x="2543090" y="49861"/>
                  <a:pt x="2556052" y="53111"/>
                  <a:pt x="2566498" y="59471"/>
                </a:cubicBezTo>
                <a:cubicBezTo>
                  <a:pt x="2576943" y="65831"/>
                  <a:pt x="2584810" y="74462"/>
                  <a:pt x="2590099" y="85365"/>
                </a:cubicBezTo>
                <a:cubicBezTo>
                  <a:pt x="2595389" y="96267"/>
                  <a:pt x="2598038" y="108602"/>
                  <a:pt x="2598049" y="122369"/>
                </a:cubicBezTo>
                <a:cubicBezTo>
                  <a:pt x="2597830" y="146705"/>
                  <a:pt x="2591293" y="165500"/>
                  <a:pt x="2578437" y="178753"/>
                </a:cubicBezTo>
                <a:cubicBezTo>
                  <a:pt x="2565581" y="192006"/>
                  <a:pt x="2547718" y="198716"/>
                  <a:pt x="2524849" y="198883"/>
                </a:cubicBezTo>
                <a:cubicBezTo>
                  <a:pt x="2509635" y="198743"/>
                  <a:pt x="2496819" y="195493"/>
                  <a:pt x="2486403" y="189133"/>
                </a:cubicBezTo>
                <a:cubicBezTo>
                  <a:pt x="2475986" y="182773"/>
                  <a:pt x="2468102" y="174142"/>
                  <a:pt x="2462750" y="163240"/>
                </a:cubicBezTo>
                <a:cubicBezTo>
                  <a:pt x="2457397" y="152337"/>
                  <a:pt x="2454710" y="140003"/>
                  <a:pt x="2454688" y="126236"/>
                </a:cubicBezTo>
                <a:cubicBezTo>
                  <a:pt x="2454929" y="101899"/>
                  <a:pt x="2461490" y="83104"/>
                  <a:pt x="2474369" y="69851"/>
                </a:cubicBezTo>
                <a:cubicBezTo>
                  <a:pt x="2487248" y="56598"/>
                  <a:pt x="2504995" y="49888"/>
                  <a:pt x="2527611" y="49721"/>
                </a:cubicBezTo>
                <a:close/>
                <a:moveTo>
                  <a:pt x="2291686" y="49721"/>
                </a:moveTo>
                <a:cubicBezTo>
                  <a:pt x="2300376" y="49704"/>
                  <a:pt x="2308479" y="50222"/>
                  <a:pt x="2315994" y="51275"/>
                </a:cubicBezTo>
                <a:cubicBezTo>
                  <a:pt x="2323510" y="52328"/>
                  <a:pt x="2330508" y="54020"/>
                  <a:pt x="2336988" y="56351"/>
                </a:cubicBezTo>
                <a:cubicBezTo>
                  <a:pt x="2336734" y="60316"/>
                  <a:pt x="2336274" y="64263"/>
                  <a:pt x="2335606" y="68194"/>
                </a:cubicBezTo>
                <a:cubicBezTo>
                  <a:pt x="2334939" y="72124"/>
                  <a:pt x="2333926" y="76279"/>
                  <a:pt x="2332568" y="80659"/>
                </a:cubicBezTo>
                <a:cubicBezTo>
                  <a:pt x="2326117" y="78604"/>
                  <a:pt x="2319614" y="77119"/>
                  <a:pt x="2313059" y="76204"/>
                </a:cubicBezTo>
                <a:cubicBezTo>
                  <a:pt x="2306505" y="75289"/>
                  <a:pt x="2299657" y="74841"/>
                  <a:pt x="2292515" y="74858"/>
                </a:cubicBezTo>
                <a:cubicBezTo>
                  <a:pt x="2283043" y="74933"/>
                  <a:pt x="2276575" y="76302"/>
                  <a:pt x="2273110" y="78967"/>
                </a:cubicBezTo>
                <a:cubicBezTo>
                  <a:pt x="2269646" y="81631"/>
                  <a:pt x="2268012" y="85141"/>
                  <a:pt x="2268207" y="89498"/>
                </a:cubicBezTo>
                <a:cubicBezTo>
                  <a:pt x="2268190" y="94504"/>
                  <a:pt x="2269951" y="98510"/>
                  <a:pt x="2273490" y="101514"/>
                </a:cubicBezTo>
                <a:cubicBezTo>
                  <a:pt x="2277029" y="104517"/>
                  <a:pt x="2282450" y="107142"/>
                  <a:pt x="2289753" y="109386"/>
                </a:cubicBezTo>
                <a:lnTo>
                  <a:pt x="2304393" y="114082"/>
                </a:lnTo>
                <a:cubicBezTo>
                  <a:pt x="2317439" y="118104"/>
                  <a:pt x="2326980" y="123456"/>
                  <a:pt x="2333017" y="130137"/>
                </a:cubicBezTo>
                <a:cubicBezTo>
                  <a:pt x="2339053" y="136819"/>
                  <a:pt x="2342034" y="145554"/>
                  <a:pt x="2341960" y="156344"/>
                </a:cubicBezTo>
                <a:cubicBezTo>
                  <a:pt x="2341890" y="169114"/>
                  <a:pt x="2337056" y="179346"/>
                  <a:pt x="2327458" y="187040"/>
                </a:cubicBezTo>
                <a:cubicBezTo>
                  <a:pt x="2317859" y="194734"/>
                  <a:pt x="2303909" y="198681"/>
                  <a:pt x="2285610" y="198883"/>
                </a:cubicBezTo>
                <a:cubicBezTo>
                  <a:pt x="2275453" y="198906"/>
                  <a:pt x="2266418" y="198169"/>
                  <a:pt x="2258505" y="196673"/>
                </a:cubicBezTo>
                <a:cubicBezTo>
                  <a:pt x="2250592" y="195177"/>
                  <a:pt x="2243422" y="192783"/>
                  <a:pt x="2236994" y="189491"/>
                </a:cubicBezTo>
                <a:cubicBezTo>
                  <a:pt x="2237270" y="183863"/>
                  <a:pt x="2237754" y="178960"/>
                  <a:pt x="2238444" y="174782"/>
                </a:cubicBezTo>
                <a:cubicBezTo>
                  <a:pt x="2239135" y="170604"/>
                  <a:pt x="2240033" y="166944"/>
                  <a:pt x="2241137" y="163802"/>
                </a:cubicBezTo>
                <a:cubicBezTo>
                  <a:pt x="2247686" y="166985"/>
                  <a:pt x="2254891" y="169390"/>
                  <a:pt x="2262752" y="171019"/>
                </a:cubicBezTo>
                <a:cubicBezTo>
                  <a:pt x="2270613" y="172647"/>
                  <a:pt x="2277956" y="173464"/>
                  <a:pt x="2284781" y="173470"/>
                </a:cubicBezTo>
                <a:cubicBezTo>
                  <a:pt x="2293522" y="173516"/>
                  <a:pt x="2300209" y="172250"/>
                  <a:pt x="2304842" y="169672"/>
                </a:cubicBezTo>
                <a:cubicBezTo>
                  <a:pt x="2309474" y="167094"/>
                  <a:pt x="2311811" y="162928"/>
                  <a:pt x="2311851" y="157173"/>
                </a:cubicBezTo>
                <a:cubicBezTo>
                  <a:pt x="2311782" y="152189"/>
                  <a:pt x="2309848" y="148345"/>
                  <a:pt x="2306050" y="145640"/>
                </a:cubicBezTo>
                <a:cubicBezTo>
                  <a:pt x="2302252" y="142936"/>
                  <a:pt x="2297004" y="140611"/>
                  <a:pt x="2290305" y="138666"/>
                </a:cubicBezTo>
                <a:lnTo>
                  <a:pt x="2276218" y="134246"/>
                </a:lnTo>
                <a:cubicBezTo>
                  <a:pt x="2262458" y="129821"/>
                  <a:pt x="2252756" y="123963"/>
                  <a:pt x="2247111" y="116671"/>
                </a:cubicBezTo>
                <a:cubicBezTo>
                  <a:pt x="2241465" y="109380"/>
                  <a:pt x="2238738" y="100691"/>
                  <a:pt x="2238928" y="90603"/>
                </a:cubicBezTo>
                <a:cubicBezTo>
                  <a:pt x="2238951" y="77781"/>
                  <a:pt x="2243393" y="67791"/>
                  <a:pt x="2252255" y="60632"/>
                </a:cubicBezTo>
                <a:cubicBezTo>
                  <a:pt x="2261118" y="53473"/>
                  <a:pt x="2274261" y="49836"/>
                  <a:pt x="2291686" y="49721"/>
                </a:cubicBezTo>
                <a:close/>
                <a:moveTo>
                  <a:pt x="1789633" y="49721"/>
                </a:moveTo>
                <a:cubicBezTo>
                  <a:pt x="1799508" y="49698"/>
                  <a:pt x="1808693" y="50297"/>
                  <a:pt x="1817187" y="51517"/>
                </a:cubicBezTo>
                <a:cubicBezTo>
                  <a:pt x="1825681" y="52737"/>
                  <a:pt x="1833898"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736" y="49721"/>
                </a:moveTo>
                <a:cubicBezTo>
                  <a:pt x="1638215" y="49861"/>
                  <a:pt x="1651177" y="53111"/>
                  <a:pt x="1661623" y="59471"/>
                </a:cubicBezTo>
                <a:cubicBezTo>
                  <a:pt x="1672068" y="65831"/>
                  <a:pt x="1679935" y="74462"/>
                  <a:pt x="1685225" y="85365"/>
                </a:cubicBezTo>
                <a:cubicBezTo>
                  <a:pt x="1690514" y="96267"/>
                  <a:pt x="1693164" y="108602"/>
                  <a:pt x="1693174" y="122369"/>
                </a:cubicBezTo>
                <a:cubicBezTo>
                  <a:pt x="1692955" y="146705"/>
                  <a:pt x="1686418" y="165500"/>
                  <a:pt x="1673562" y="178753"/>
                </a:cubicBezTo>
                <a:cubicBezTo>
                  <a:pt x="1660706" y="192006"/>
                  <a:pt x="1642843" y="198716"/>
                  <a:pt x="1619974" y="198883"/>
                </a:cubicBezTo>
                <a:cubicBezTo>
                  <a:pt x="1604760" y="198743"/>
                  <a:pt x="1591944" y="195493"/>
                  <a:pt x="1581528" y="189133"/>
                </a:cubicBezTo>
                <a:cubicBezTo>
                  <a:pt x="1571111" y="182773"/>
                  <a:pt x="1563227" y="174142"/>
                  <a:pt x="1557875" y="163240"/>
                </a:cubicBezTo>
                <a:cubicBezTo>
                  <a:pt x="1552522" y="152337"/>
                  <a:pt x="1549835" y="140003"/>
                  <a:pt x="1549813" y="126236"/>
                </a:cubicBezTo>
                <a:cubicBezTo>
                  <a:pt x="1550055" y="101899"/>
                  <a:pt x="1556615" y="83104"/>
                  <a:pt x="1569494" y="69851"/>
                </a:cubicBezTo>
                <a:cubicBezTo>
                  <a:pt x="1582373" y="56598"/>
                  <a:pt x="1600120" y="49888"/>
                  <a:pt x="1622736" y="49721"/>
                </a:cubicBezTo>
                <a:close/>
                <a:moveTo>
                  <a:pt x="1482062" y="49721"/>
                </a:moveTo>
                <a:cubicBezTo>
                  <a:pt x="1490751" y="49704"/>
                  <a:pt x="1498854" y="50222"/>
                  <a:pt x="1506369" y="51275"/>
                </a:cubicBezTo>
                <a:cubicBezTo>
                  <a:pt x="1513885" y="52328"/>
                  <a:pt x="1520883" y="54020"/>
                  <a:pt x="1527363" y="56351"/>
                </a:cubicBezTo>
                <a:cubicBezTo>
                  <a:pt x="1527109" y="60316"/>
                  <a:pt x="1526649" y="64263"/>
                  <a:pt x="1525981" y="68194"/>
                </a:cubicBezTo>
                <a:cubicBezTo>
                  <a:pt x="1525314" y="72124"/>
                  <a:pt x="1524301" y="76279"/>
                  <a:pt x="1522943" y="80659"/>
                </a:cubicBezTo>
                <a:cubicBezTo>
                  <a:pt x="1516492" y="78604"/>
                  <a:pt x="1509989" y="77119"/>
                  <a:pt x="1503435" y="76204"/>
                </a:cubicBezTo>
                <a:cubicBezTo>
                  <a:pt x="1496880" y="75289"/>
                  <a:pt x="1490032" y="74841"/>
                  <a:pt x="1482890" y="74858"/>
                </a:cubicBezTo>
                <a:cubicBezTo>
                  <a:pt x="1473418" y="74933"/>
                  <a:pt x="1466950" y="76302"/>
                  <a:pt x="1463486" y="78967"/>
                </a:cubicBezTo>
                <a:cubicBezTo>
                  <a:pt x="1460021" y="81631"/>
                  <a:pt x="1458387" y="85141"/>
                  <a:pt x="1458582" y="89498"/>
                </a:cubicBezTo>
                <a:cubicBezTo>
                  <a:pt x="1458565" y="94504"/>
                  <a:pt x="1460326" y="98510"/>
                  <a:pt x="1463865" y="101514"/>
                </a:cubicBezTo>
                <a:cubicBezTo>
                  <a:pt x="1467404" y="104517"/>
                  <a:pt x="1472825" y="107142"/>
                  <a:pt x="1480128" y="109386"/>
                </a:cubicBezTo>
                <a:lnTo>
                  <a:pt x="1494768" y="114082"/>
                </a:lnTo>
                <a:cubicBezTo>
                  <a:pt x="1507814" y="118104"/>
                  <a:pt x="1517355" y="123456"/>
                  <a:pt x="1523392" y="130137"/>
                </a:cubicBezTo>
                <a:cubicBezTo>
                  <a:pt x="1529428" y="136819"/>
                  <a:pt x="1532409" y="145554"/>
                  <a:pt x="1532335" y="156344"/>
                </a:cubicBezTo>
                <a:cubicBezTo>
                  <a:pt x="1532265" y="169114"/>
                  <a:pt x="1527432" y="179346"/>
                  <a:pt x="1517833" y="187040"/>
                </a:cubicBezTo>
                <a:cubicBezTo>
                  <a:pt x="1508234" y="194734"/>
                  <a:pt x="1494285" y="198681"/>
                  <a:pt x="1475985" y="198883"/>
                </a:cubicBezTo>
                <a:cubicBezTo>
                  <a:pt x="1465828" y="198906"/>
                  <a:pt x="1456793" y="198169"/>
                  <a:pt x="1448880" y="196673"/>
                </a:cubicBezTo>
                <a:cubicBezTo>
                  <a:pt x="1440967" y="195177"/>
                  <a:pt x="1433797" y="192783"/>
                  <a:pt x="1427369" y="189491"/>
                </a:cubicBezTo>
                <a:cubicBezTo>
                  <a:pt x="1427645" y="183863"/>
                  <a:pt x="1428129" y="178960"/>
                  <a:pt x="1428819" y="174782"/>
                </a:cubicBezTo>
                <a:cubicBezTo>
                  <a:pt x="1429510" y="170604"/>
                  <a:pt x="1430408" y="166944"/>
                  <a:pt x="1431512" y="163802"/>
                </a:cubicBezTo>
                <a:cubicBezTo>
                  <a:pt x="1438061" y="166985"/>
                  <a:pt x="1445266" y="169390"/>
                  <a:pt x="1453127" y="171019"/>
                </a:cubicBezTo>
                <a:cubicBezTo>
                  <a:pt x="1460988" y="172647"/>
                  <a:pt x="1468331" y="173464"/>
                  <a:pt x="1475156" y="173470"/>
                </a:cubicBezTo>
                <a:cubicBezTo>
                  <a:pt x="1483897" y="173516"/>
                  <a:pt x="1490584" y="172250"/>
                  <a:pt x="1495217" y="169672"/>
                </a:cubicBezTo>
                <a:cubicBezTo>
                  <a:pt x="1499849" y="167094"/>
                  <a:pt x="1502186" y="162928"/>
                  <a:pt x="1502226" y="157173"/>
                </a:cubicBezTo>
                <a:cubicBezTo>
                  <a:pt x="1502157" y="152189"/>
                  <a:pt x="1500223" y="148345"/>
                  <a:pt x="1496425" y="145640"/>
                </a:cubicBezTo>
                <a:cubicBezTo>
                  <a:pt x="1492627" y="142936"/>
                  <a:pt x="1487379" y="140611"/>
                  <a:pt x="1480681" y="138666"/>
                </a:cubicBezTo>
                <a:lnTo>
                  <a:pt x="1466593" y="134246"/>
                </a:lnTo>
                <a:cubicBezTo>
                  <a:pt x="1452834" y="129821"/>
                  <a:pt x="1443131" y="123963"/>
                  <a:pt x="1437486" y="116671"/>
                </a:cubicBezTo>
                <a:cubicBezTo>
                  <a:pt x="1431840" y="109380"/>
                  <a:pt x="1429113" y="100691"/>
                  <a:pt x="1429303" y="90603"/>
                </a:cubicBezTo>
                <a:cubicBezTo>
                  <a:pt x="1429326" y="77781"/>
                  <a:pt x="1433768" y="67791"/>
                  <a:pt x="1442631" y="60632"/>
                </a:cubicBezTo>
                <a:cubicBezTo>
                  <a:pt x="1451493" y="53473"/>
                  <a:pt x="1464636" y="49836"/>
                  <a:pt x="1482062" y="49721"/>
                </a:cubicBezTo>
                <a:close/>
                <a:moveTo>
                  <a:pt x="1358237" y="49721"/>
                </a:moveTo>
                <a:cubicBezTo>
                  <a:pt x="1366926" y="49704"/>
                  <a:pt x="1375029" y="50222"/>
                  <a:pt x="1382544" y="51275"/>
                </a:cubicBezTo>
                <a:cubicBezTo>
                  <a:pt x="1390060" y="52328"/>
                  <a:pt x="1397058" y="54020"/>
                  <a:pt x="1403538" y="56351"/>
                </a:cubicBezTo>
                <a:cubicBezTo>
                  <a:pt x="1403284" y="60316"/>
                  <a:pt x="1402824" y="64263"/>
                  <a:pt x="1402156" y="68194"/>
                </a:cubicBezTo>
                <a:cubicBezTo>
                  <a:pt x="1401489" y="72124"/>
                  <a:pt x="1400476" y="76279"/>
                  <a:pt x="1399118" y="80659"/>
                </a:cubicBezTo>
                <a:cubicBezTo>
                  <a:pt x="1392667" y="78604"/>
                  <a:pt x="1386164" y="77119"/>
                  <a:pt x="1379610" y="76204"/>
                </a:cubicBezTo>
                <a:cubicBezTo>
                  <a:pt x="1373055" y="75289"/>
                  <a:pt x="1366207" y="74841"/>
                  <a:pt x="1359065" y="74858"/>
                </a:cubicBezTo>
                <a:cubicBezTo>
                  <a:pt x="1349593" y="74933"/>
                  <a:pt x="1343125" y="76302"/>
                  <a:pt x="1339661" y="78967"/>
                </a:cubicBezTo>
                <a:cubicBezTo>
                  <a:pt x="1336196" y="81631"/>
                  <a:pt x="1334562" y="85141"/>
                  <a:pt x="1334757" y="89498"/>
                </a:cubicBezTo>
                <a:cubicBezTo>
                  <a:pt x="1334740" y="94504"/>
                  <a:pt x="1336501" y="98510"/>
                  <a:pt x="1340040" y="101514"/>
                </a:cubicBezTo>
                <a:cubicBezTo>
                  <a:pt x="1343579" y="104517"/>
                  <a:pt x="1349000" y="107142"/>
                  <a:pt x="1356303" y="109386"/>
                </a:cubicBezTo>
                <a:lnTo>
                  <a:pt x="1370943" y="114082"/>
                </a:lnTo>
                <a:cubicBezTo>
                  <a:pt x="1383989" y="118104"/>
                  <a:pt x="1393530" y="123456"/>
                  <a:pt x="1399567" y="130137"/>
                </a:cubicBezTo>
                <a:cubicBezTo>
                  <a:pt x="1405603" y="136819"/>
                  <a:pt x="1408584" y="145554"/>
                  <a:pt x="1408510" y="156344"/>
                </a:cubicBezTo>
                <a:cubicBezTo>
                  <a:pt x="1408440" y="169114"/>
                  <a:pt x="1403607" y="179346"/>
                  <a:pt x="1394008" y="187040"/>
                </a:cubicBezTo>
                <a:cubicBezTo>
                  <a:pt x="1384409" y="194734"/>
                  <a:pt x="1370460" y="198681"/>
                  <a:pt x="1352160" y="198883"/>
                </a:cubicBezTo>
                <a:cubicBezTo>
                  <a:pt x="1342003" y="198906"/>
                  <a:pt x="1332968" y="198169"/>
                  <a:pt x="1325055" y="196673"/>
                </a:cubicBezTo>
                <a:cubicBezTo>
                  <a:pt x="1317142" y="195177"/>
                  <a:pt x="1309972" y="192783"/>
                  <a:pt x="1303544" y="189491"/>
                </a:cubicBezTo>
                <a:cubicBezTo>
                  <a:pt x="1303820" y="183863"/>
                  <a:pt x="1304304" y="178960"/>
                  <a:pt x="1304994" y="174782"/>
                </a:cubicBezTo>
                <a:cubicBezTo>
                  <a:pt x="1305685" y="170604"/>
                  <a:pt x="1306583" y="166944"/>
                  <a:pt x="1307687" y="163802"/>
                </a:cubicBezTo>
                <a:cubicBezTo>
                  <a:pt x="1314236" y="166985"/>
                  <a:pt x="1321441" y="169390"/>
                  <a:pt x="1329302" y="171019"/>
                </a:cubicBezTo>
                <a:cubicBezTo>
                  <a:pt x="1337163" y="172647"/>
                  <a:pt x="1344506" y="173464"/>
                  <a:pt x="1351331" y="173470"/>
                </a:cubicBezTo>
                <a:cubicBezTo>
                  <a:pt x="1360072" y="173516"/>
                  <a:pt x="1366759" y="172250"/>
                  <a:pt x="1371392" y="169672"/>
                </a:cubicBezTo>
                <a:cubicBezTo>
                  <a:pt x="1376024" y="167094"/>
                  <a:pt x="1378361" y="162928"/>
                  <a:pt x="1378401" y="157173"/>
                </a:cubicBezTo>
                <a:cubicBezTo>
                  <a:pt x="1378332" y="152189"/>
                  <a:pt x="1376398" y="148345"/>
                  <a:pt x="1372600" y="145640"/>
                </a:cubicBezTo>
                <a:cubicBezTo>
                  <a:pt x="1368802" y="142936"/>
                  <a:pt x="1363554" y="140611"/>
                  <a:pt x="1356856" y="138666"/>
                </a:cubicBezTo>
                <a:lnTo>
                  <a:pt x="1342768" y="134246"/>
                </a:lnTo>
                <a:cubicBezTo>
                  <a:pt x="1329009" y="129821"/>
                  <a:pt x="1319306" y="123963"/>
                  <a:pt x="1313661" y="116671"/>
                </a:cubicBezTo>
                <a:cubicBezTo>
                  <a:pt x="1308015" y="109380"/>
                  <a:pt x="1305288" y="100691"/>
                  <a:pt x="1305478" y="90603"/>
                </a:cubicBezTo>
                <a:cubicBezTo>
                  <a:pt x="1305501" y="77781"/>
                  <a:pt x="1309943" y="67791"/>
                  <a:pt x="1318806" y="60632"/>
                </a:cubicBezTo>
                <a:cubicBezTo>
                  <a:pt x="1327668" y="53473"/>
                  <a:pt x="1340811" y="49836"/>
                  <a:pt x="1358237" y="49721"/>
                </a:cubicBezTo>
                <a:close/>
                <a:moveTo>
                  <a:pt x="1226687" y="49721"/>
                </a:moveTo>
                <a:cubicBezTo>
                  <a:pt x="1248250" y="50182"/>
                  <a:pt x="1264029" y="56374"/>
                  <a:pt x="1274025" y="68297"/>
                </a:cubicBezTo>
                <a:cubicBezTo>
                  <a:pt x="1284021" y="80221"/>
                  <a:pt x="1288958" y="95114"/>
                  <a:pt x="1288837" y="112977"/>
                </a:cubicBezTo>
                <a:cubicBezTo>
                  <a:pt x="1288837" y="117201"/>
                  <a:pt x="1288699" y="121183"/>
                  <a:pt x="1288423" y="124924"/>
                </a:cubicBezTo>
                <a:cubicBezTo>
                  <a:pt x="1288147" y="128664"/>
                  <a:pt x="1287733" y="132508"/>
                  <a:pt x="1287180" y="136456"/>
                </a:cubicBezTo>
                <a:lnTo>
                  <a:pt x="1190225" y="136456"/>
                </a:lnTo>
                <a:cubicBezTo>
                  <a:pt x="1192113" y="148731"/>
                  <a:pt x="1196762" y="157881"/>
                  <a:pt x="1204174" y="163906"/>
                </a:cubicBezTo>
                <a:cubicBezTo>
                  <a:pt x="1211586" y="169931"/>
                  <a:pt x="1222037" y="172935"/>
                  <a:pt x="1235526" y="172918"/>
                </a:cubicBezTo>
                <a:cubicBezTo>
                  <a:pt x="1243853" y="172912"/>
                  <a:pt x="1252128" y="172026"/>
                  <a:pt x="1260352" y="170259"/>
                </a:cubicBezTo>
                <a:cubicBezTo>
                  <a:pt x="1268575" y="168492"/>
                  <a:pt x="1276505" y="165880"/>
                  <a:pt x="1284142" y="162421"/>
                </a:cubicBezTo>
                <a:cubicBezTo>
                  <a:pt x="1283583" y="166507"/>
                  <a:pt x="1282904" y="170973"/>
                  <a:pt x="1282104" y="175818"/>
                </a:cubicBezTo>
                <a:cubicBezTo>
                  <a:pt x="1281305" y="180663"/>
                  <a:pt x="1280418" y="185405"/>
                  <a:pt x="1279446" y="190044"/>
                </a:cubicBezTo>
                <a:cubicBezTo>
                  <a:pt x="1272557" y="193191"/>
                  <a:pt x="1265410" y="195459"/>
                  <a:pt x="1258004" y="196846"/>
                </a:cubicBezTo>
                <a:cubicBezTo>
                  <a:pt x="1250598" y="198233"/>
                  <a:pt x="1242829" y="198912"/>
                  <a:pt x="1234697" y="198883"/>
                </a:cubicBezTo>
                <a:cubicBezTo>
                  <a:pt x="1209319" y="198693"/>
                  <a:pt x="1190398" y="192029"/>
                  <a:pt x="1177933" y="178891"/>
                </a:cubicBezTo>
                <a:cubicBezTo>
                  <a:pt x="1165468" y="165753"/>
                  <a:pt x="1159253" y="147281"/>
                  <a:pt x="1159288" y="123473"/>
                </a:cubicBezTo>
                <a:cubicBezTo>
                  <a:pt x="1159225" y="109606"/>
                  <a:pt x="1161469" y="97135"/>
                  <a:pt x="1166020" y="86060"/>
                </a:cubicBezTo>
                <a:cubicBezTo>
                  <a:pt x="1170570" y="74986"/>
                  <a:pt x="1177807" y="66198"/>
                  <a:pt x="1187729" y="59696"/>
                </a:cubicBezTo>
                <a:cubicBezTo>
                  <a:pt x="1197651" y="53195"/>
                  <a:pt x="1210637" y="49870"/>
                  <a:pt x="1226687" y="49721"/>
                </a:cubicBezTo>
                <a:close/>
                <a:moveTo>
                  <a:pt x="881987" y="49721"/>
                </a:moveTo>
                <a:cubicBezTo>
                  <a:pt x="890676" y="49704"/>
                  <a:pt x="898779" y="50222"/>
                  <a:pt x="906294" y="51275"/>
                </a:cubicBezTo>
                <a:cubicBezTo>
                  <a:pt x="913810" y="52328"/>
                  <a:pt x="920808" y="54020"/>
                  <a:pt x="927287" y="56351"/>
                </a:cubicBezTo>
                <a:cubicBezTo>
                  <a:pt x="927034" y="60316"/>
                  <a:pt x="926574" y="64263"/>
                  <a:pt x="925906" y="68194"/>
                </a:cubicBezTo>
                <a:cubicBezTo>
                  <a:pt x="925239" y="72124"/>
                  <a:pt x="924226" y="76279"/>
                  <a:pt x="922868" y="80659"/>
                </a:cubicBezTo>
                <a:cubicBezTo>
                  <a:pt x="916417" y="78604"/>
                  <a:pt x="909914" y="77119"/>
                  <a:pt x="903359" y="76204"/>
                </a:cubicBezTo>
                <a:cubicBezTo>
                  <a:pt x="896805" y="75289"/>
                  <a:pt x="889957" y="74841"/>
                  <a:pt x="882815" y="74858"/>
                </a:cubicBezTo>
                <a:cubicBezTo>
                  <a:pt x="873343" y="74933"/>
                  <a:pt x="866875" y="76302"/>
                  <a:pt x="863410" y="78967"/>
                </a:cubicBezTo>
                <a:cubicBezTo>
                  <a:pt x="859946" y="81631"/>
                  <a:pt x="858312" y="85141"/>
                  <a:pt x="858507" y="89498"/>
                </a:cubicBezTo>
                <a:cubicBezTo>
                  <a:pt x="858490" y="94504"/>
                  <a:pt x="860251" y="98510"/>
                  <a:pt x="863790" y="101514"/>
                </a:cubicBezTo>
                <a:cubicBezTo>
                  <a:pt x="867329" y="104517"/>
                  <a:pt x="872750" y="107142"/>
                  <a:pt x="880053" y="109386"/>
                </a:cubicBezTo>
                <a:lnTo>
                  <a:pt x="894693" y="114082"/>
                </a:lnTo>
                <a:cubicBezTo>
                  <a:pt x="907739" y="118104"/>
                  <a:pt x="917280" y="123456"/>
                  <a:pt x="923317" y="130137"/>
                </a:cubicBezTo>
                <a:cubicBezTo>
                  <a:pt x="929353" y="136819"/>
                  <a:pt x="932334" y="145554"/>
                  <a:pt x="932259" y="156344"/>
                </a:cubicBezTo>
                <a:cubicBezTo>
                  <a:pt x="932190" y="169114"/>
                  <a:pt x="927356" y="179346"/>
                  <a:pt x="917758" y="187040"/>
                </a:cubicBezTo>
                <a:cubicBezTo>
                  <a:pt x="908159" y="194734"/>
                  <a:pt x="894209" y="198681"/>
                  <a:pt x="875910" y="198883"/>
                </a:cubicBezTo>
                <a:cubicBezTo>
                  <a:pt x="865753" y="198906"/>
                  <a:pt x="856718" y="198169"/>
                  <a:pt x="848805" y="196673"/>
                </a:cubicBezTo>
                <a:cubicBezTo>
                  <a:pt x="840892" y="195177"/>
                  <a:pt x="833722" y="192783"/>
                  <a:pt x="827294" y="189491"/>
                </a:cubicBezTo>
                <a:cubicBezTo>
                  <a:pt x="827570" y="183863"/>
                  <a:pt x="828054" y="178960"/>
                  <a:pt x="828744" y="174782"/>
                </a:cubicBezTo>
                <a:cubicBezTo>
                  <a:pt x="829435" y="170604"/>
                  <a:pt x="830332" y="166944"/>
                  <a:pt x="831437" y="163802"/>
                </a:cubicBezTo>
                <a:cubicBezTo>
                  <a:pt x="837986" y="166985"/>
                  <a:pt x="845191" y="169390"/>
                  <a:pt x="853052" y="171019"/>
                </a:cubicBezTo>
                <a:cubicBezTo>
                  <a:pt x="860913" y="172647"/>
                  <a:pt x="868256" y="173464"/>
                  <a:pt x="875081" y="173470"/>
                </a:cubicBezTo>
                <a:cubicBezTo>
                  <a:pt x="883822" y="173516"/>
                  <a:pt x="890509" y="172250"/>
                  <a:pt x="895142" y="169672"/>
                </a:cubicBezTo>
                <a:cubicBezTo>
                  <a:pt x="899774" y="167094"/>
                  <a:pt x="902111" y="162928"/>
                  <a:pt x="902151" y="157173"/>
                </a:cubicBezTo>
                <a:cubicBezTo>
                  <a:pt x="902082" y="152189"/>
                  <a:pt x="900148" y="148345"/>
                  <a:pt x="896350" y="145640"/>
                </a:cubicBezTo>
                <a:cubicBezTo>
                  <a:pt x="892552" y="142936"/>
                  <a:pt x="887304" y="140611"/>
                  <a:pt x="880605" y="138666"/>
                </a:cubicBezTo>
                <a:lnTo>
                  <a:pt x="866518" y="134246"/>
                </a:lnTo>
                <a:cubicBezTo>
                  <a:pt x="852758" y="129821"/>
                  <a:pt x="843056" y="123963"/>
                  <a:pt x="837411" y="116671"/>
                </a:cubicBezTo>
                <a:cubicBezTo>
                  <a:pt x="831765" y="109380"/>
                  <a:pt x="829038" y="100691"/>
                  <a:pt x="829228" y="90603"/>
                </a:cubicBezTo>
                <a:cubicBezTo>
                  <a:pt x="829251" y="77781"/>
                  <a:pt x="833693" y="67791"/>
                  <a:pt x="842555" y="60632"/>
                </a:cubicBezTo>
                <a:cubicBezTo>
                  <a:pt x="851418" y="53473"/>
                  <a:pt x="864561" y="49836"/>
                  <a:pt x="881987"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1" y="162421"/>
                </a:cubicBezTo>
                <a:cubicBezTo>
                  <a:pt x="807333" y="166507"/>
                  <a:pt x="806654" y="170973"/>
                  <a:pt x="805854" y="175818"/>
                </a:cubicBezTo>
                <a:cubicBezTo>
                  <a:pt x="805054"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49" y="76722"/>
                  <a:pt x="259156"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1068353" y="28452"/>
                </a:moveTo>
                <a:cubicBezTo>
                  <a:pt x="1064998" y="28435"/>
                  <a:pt x="1061418" y="28538"/>
                  <a:pt x="1057614" y="28763"/>
                </a:cubicBezTo>
                <a:cubicBezTo>
                  <a:pt x="1053811" y="28987"/>
                  <a:pt x="1050024" y="29436"/>
                  <a:pt x="1046255" y="30109"/>
                </a:cubicBezTo>
                <a:lnTo>
                  <a:pt x="1046255" y="101375"/>
                </a:lnTo>
                <a:lnTo>
                  <a:pt x="1069458" y="101375"/>
                </a:lnTo>
                <a:cubicBezTo>
                  <a:pt x="1084615" y="101312"/>
                  <a:pt x="1095872" y="98193"/>
                  <a:pt x="1103226" y="92018"/>
                </a:cubicBezTo>
                <a:cubicBezTo>
                  <a:pt x="1110581" y="85844"/>
                  <a:pt x="1114241" y="76993"/>
                  <a:pt x="1114206" y="65466"/>
                </a:cubicBezTo>
                <a:cubicBezTo>
                  <a:pt x="1114264" y="52927"/>
                  <a:pt x="1110558" y="43616"/>
                  <a:pt x="1103088" y="37533"/>
                </a:cubicBezTo>
                <a:cubicBezTo>
                  <a:pt x="1095618" y="31450"/>
                  <a:pt x="1084040" y="28423"/>
                  <a:pt x="1068353" y="28452"/>
                </a:cubicBezTo>
                <a:close/>
                <a:moveTo>
                  <a:pt x="2396728" y="2211"/>
                </a:moveTo>
                <a:lnTo>
                  <a:pt x="2396728" y="54417"/>
                </a:lnTo>
                <a:lnTo>
                  <a:pt x="2444791" y="54417"/>
                </a:lnTo>
                <a:cubicBezTo>
                  <a:pt x="2444285" y="63763"/>
                  <a:pt x="2443364" y="72418"/>
                  <a:pt x="2442029" y="80382"/>
                </a:cubicBezTo>
                <a:lnTo>
                  <a:pt x="2396728" y="80382"/>
                </a:lnTo>
                <a:lnTo>
                  <a:pt x="2396728" y="148057"/>
                </a:lnTo>
                <a:cubicBezTo>
                  <a:pt x="2396792" y="156948"/>
                  <a:pt x="2398875" y="163336"/>
                  <a:pt x="2402978" y="167221"/>
                </a:cubicBezTo>
                <a:cubicBezTo>
                  <a:pt x="2407081" y="171105"/>
                  <a:pt x="2412824" y="173004"/>
                  <a:pt x="2420207" y="172918"/>
                </a:cubicBezTo>
                <a:cubicBezTo>
                  <a:pt x="2424650" y="172900"/>
                  <a:pt x="2428885" y="172521"/>
                  <a:pt x="2432914" y="171778"/>
                </a:cubicBezTo>
                <a:cubicBezTo>
                  <a:pt x="2436942" y="171036"/>
                  <a:pt x="2440625" y="170035"/>
                  <a:pt x="2443963" y="168774"/>
                </a:cubicBezTo>
                <a:cubicBezTo>
                  <a:pt x="2443554" y="172969"/>
                  <a:pt x="2443059" y="177285"/>
                  <a:pt x="2442478" y="181722"/>
                </a:cubicBezTo>
                <a:cubicBezTo>
                  <a:pt x="2441897" y="186159"/>
                  <a:pt x="2441195" y="190406"/>
                  <a:pt x="2440372" y="194463"/>
                </a:cubicBezTo>
                <a:cubicBezTo>
                  <a:pt x="2436211" y="196098"/>
                  <a:pt x="2431964" y="197249"/>
                  <a:pt x="2427631" y="197916"/>
                </a:cubicBezTo>
                <a:cubicBezTo>
                  <a:pt x="2423298" y="198584"/>
                  <a:pt x="2418982" y="198906"/>
                  <a:pt x="2414683" y="198883"/>
                </a:cubicBezTo>
                <a:cubicBezTo>
                  <a:pt x="2399738" y="199021"/>
                  <a:pt x="2387987" y="195361"/>
                  <a:pt x="2379430" y="187903"/>
                </a:cubicBezTo>
                <a:cubicBezTo>
                  <a:pt x="2370872" y="180445"/>
                  <a:pt x="2366510" y="168360"/>
                  <a:pt x="2366344" y="151648"/>
                </a:cubicBezTo>
                <a:lnTo>
                  <a:pt x="2366344" y="6630"/>
                </a:lnTo>
                <a:cubicBezTo>
                  <a:pt x="2371131" y="5117"/>
                  <a:pt x="2376196" y="4000"/>
                  <a:pt x="2381536" y="3281"/>
                </a:cubicBezTo>
                <a:cubicBezTo>
                  <a:pt x="2386876" y="2562"/>
                  <a:pt x="2391940" y="2205"/>
                  <a:pt x="2396728" y="2211"/>
                </a:cubicBezTo>
                <a:close/>
                <a:moveTo>
                  <a:pt x="2052742" y="2211"/>
                </a:moveTo>
                <a:lnTo>
                  <a:pt x="2052742" y="138942"/>
                </a:lnTo>
                <a:cubicBezTo>
                  <a:pt x="2052737" y="158266"/>
                  <a:pt x="2047776" y="172722"/>
                  <a:pt x="2037861" y="182309"/>
                </a:cubicBezTo>
                <a:cubicBezTo>
                  <a:pt x="2027945" y="191897"/>
                  <a:pt x="2013110" y="196685"/>
                  <a:pt x="1993354" y="196673"/>
                </a:cubicBezTo>
                <a:cubicBezTo>
                  <a:pt x="1990120" y="196662"/>
                  <a:pt x="1986713" y="196477"/>
                  <a:pt x="1983134" y="196121"/>
                </a:cubicBezTo>
                <a:cubicBezTo>
                  <a:pt x="1979554" y="195764"/>
                  <a:pt x="1976148" y="195303"/>
                  <a:pt x="1972913" y="194739"/>
                </a:cubicBezTo>
                <a:cubicBezTo>
                  <a:pt x="1973057" y="190222"/>
                  <a:pt x="1973322" y="185584"/>
                  <a:pt x="1973708" y="180825"/>
                </a:cubicBezTo>
                <a:cubicBezTo>
                  <a:pt x="1974093" y="176066"/>
                  <a:pt x="1974565" y="171772"/>
                  <a:pt x="1975123" y="167946"/>
                </a:cubicBezTo>
                <a:cubicBezTo>
                  <a:pt x="1977908" y="168498"/>
                  <a:pt x="1980832" y="168912"/>
                  <a:pt x="1983893" y="169189"/>
                </a:cubicBezTo>
                <a:cubicBezTo>
                  <a:pt x="1986955" y="169465"/>
                  <a:pt x="1990016" y="169603"/>
                  <a:pt x="1993078" y="169603"/>
                </a:cubicBezTo>
                <a:cubicBezTo>
                  <a:pt x="2002976" y="169695"/>
                  <a:pt x="2010250" y="167025"/>
                  <a:pt x="2014900" y="161592"/>
                </a:cubicBezTo>
                <a:cubicBezTo>
                  <a:pt x="2019549" y="156160"/>
                  <a:pt x="2021851" y="147413"/>
                  <a:pt x="2021805" y="135351"/>
                </a:cubicBezTo>
                <a:lnTo>
                  <a:pt x="2021805" y="6630"/>
                </a:lnTo>
                <a:cubicBezTo>
                  <a:pt x="2025891" y="5479"/>
                  <a:pt x="2030840" y="4466"/>
                  <a:pt x="2036652" y="3592"/>
                </a:cubicBezTo>
                <a:cubicBezTo>
                  <a:pt x="2042465" y="2717"/>
                  <a:pt x="2047828" y="2257"/>
                  <a:pt x="2052742" y="2211"/>
                </a:cubicBezTo>
                <a:close/>
                <a:moveTo>
                  <a:pt x="1902809" y="2211"/>
                </a:moveTo>
                <a:lnTo>
                  <a:pt x="1902809" y="195568"/>
                </a:lnTo>
                <a:lnTo>
                  <a:pt x="1872425" y="195568"/>
                </a:lnTo>
                <a:lnTo>
                  <a:pt x="1872425" y="6630"/>
                </a:lnTo>
                <a:cubicBezTo>
                  <a:pt x="1876487" y="5479"/>
                  <a:pt x="1881344"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0" y="3592"/>
                </a:cubicBezTo>
                <a:cubicBezTo>
                  <a:pt x="644872" y="2717"/>
                  <a:pt x="650143" y="2257"/>
                  <a:pt x="655034" y="2211"/>
                </a:cubicBezTo>
                <a:close/>
                <a:moveTo>
                  <a:pt x="1067248" y="1382"/>
                </a:moveTo>
                <a:cubicBezTo>
                  <a:pt x="1087086" y="1532"/>
                  <a:pt x="1102746" y="4393"/>
                  <a:pt x="1114226" y="9965"/>
                </a:cubicBezTo>
                <a:cubicBezTo>
                  <a:pt x="1125707" y="15538"/>
                  <a:pt x="1133857" y="22921"/>
                  <a:pt x="1138677" y="32115"/>
                </a:cubicBezTo>
                <a:cubicBezTo>
                  <a:pt x="1143498" y="41308"/>
                  <a:pt x="1145837" y="51413"/>
                  <a:pt x="1145696" y="62428"/>
                </a:cubicBezTo>
                <a:cubicBezTo>
                  <a:pt x="1145540" y="83283"/>
                  <a:pt x="1138876" y="99373"/>
                  <a:pt x="1125704" y="110698"/>
                </a:cubicBezTo>
                <a:cubicBezTo>
                  <a:pt x="1112531" y="122023"/>
                  <a:pt x="1093783" y="127755"/>
                  <a:pt x="1069458" y="127893"/>
                </a:cubicBezTo>
                <a:lnTo>
                  <a:pt x="1046255" y="127893"/>
                </a:lnTo>
                <a:lnTo>
                  <a:pt x="1046255" y="195292"/>
                </a:lnTo>
                <a:lnTo>
                  <a:pt x="1015317" y="195292"/>
                </a:lnTo>
                <a:lnTo>
                  <a:pt x="1015317" y="6906"/>
                </a:lnTo>
                <a:cubicBezTo>
                  <a:pt x="1022298" y="5347"/>
                  <a:pt x="1030435" y="4046"/>
                  <a:pt x="1039729" y="3005"/>
                </a:cubicBezTo>
                <a:cubicBezTo>
                  <a:pt x="1049023" y="1963"/>
                  <a:pt x="1058196" y="1422"/>
                  <a:pt x="1067248" y="1382"/>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7"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5"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80"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2"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1"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9" y="112977"/>
                </a:cubicBezTo>
                <a:lnTo>
                  <a:pt x="45301" y="106900"/>
                </a:lnTo>
                <a:cubicBezTo>
                  <a:pt x="32123" y="101473"/>
                  <a:pt x="21603" y="94510"/>
                  <a:pt x="13742" y="86010"/>
                </a:cubicBezTo>
                <a:cubicBezTo>
                  <a:pt x="5882" y="77511"/>
                  <a:pt x="1853" y="66059"/>
                  <a:pt x="1658" y="51655"/>
                </a:cubicBezTo>
                <a:cubicBezTo>
                  <a:pt x="1635" y="35726"/>
                  <a:pt x="7136" y="23181"/>
                  <a:pt x="18162" y="14019"/>
                </a:cubicBezTo>
                <a:cubicBezTo>
                  <a:pt x="29188" y="4858"/>
                  <a:pt x="45876" y="185"/>
                  <a:pt x="68228" y="1"/>
                </a:cubicBezTo>
                <a:close/>
              </a:path>
            </a:pathLst>
          </a:custGeom>
          <a:solidFill>
            <a:srgbClr val="FF0000"/>
          </a:solidFill>
          <a:ln>
            <a:noFill/>
          </a:ln>
          <a:effectLst/>
        </p:spPr>
        <p:txBody>
          <a:bodyPr rot="0" spcFirstLastPara="0" vertOverflow="overflow" horzOverflow="overflow" vert="horz" wrap="square" lIns="91273" tIns="45637" rIns="91273" bIns="45637" numCol="1" spcCol="0" rtlCol="0" fromWordArt="0" anchor="t" anchorCtr="0" forceAA="0" compatLnSpc="1">
            <a:prstTxWarp prst="textNoShape">
              <a:avLst/>
            </a:prstTxWarp>
            <a:noAutofit/>
          </a:bodyPr>
          <a:lstStyle/>
          <a:p>
            <a:pPr marL="0" marR="0" lvl="0" indent="0" algn="l" defTabSz="912754" rtl="0" eaLnBrk="1" fontAlgn="auto" latinLnBrk="0" hangingPunct="1">
              <a:lnSpc>
                <a:spcPct val="100000"/>
              </a:lnSpc>
              <a:spcBef>
                <a:spcPts val="0"/>
              </a:spcBef>
              <a:spcAft>
                <a:spcPts val="0"/>
              </a:spcAft>
              <a:buClrTx/>
              <a:buSzTx/>
              <a:buFontTx/>
              <a:buNone/>
              <a:tabLst/>
              <a:defRPr/>
            </a:pPr>
            <a:endParaRPr lang="es-ES" sz="2196">
              <a:solidFill>
                <a:srgbClr val="FF0000"/>
              </a:solidFill>
              <a:latin typeface="Santander Logo" panose="020B0504020201010104" pitchFamily="34" charset="0"/>
            </a:endParaRPr>
          </a:p>
        </p:txBody>
      </p:sp>
    </p:spTree>
    <p:extLst>
      <p:ext uri="{BB962C8B-B14F-4D97-AF65-F5344CB8AC3E}">
        <p14:creationId xmlns:p14="http://schemas.microsoft.com/office/powerpoint/2010/main" val="4882658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6_Gracias">
    <p:spTree>
      <p:nvGrpSpPr>
        <p:cNvPr id="1" name=""/>
        <p:cNvGrpSpPr/>
        <p:nvPr/>
      </p:nvGrpSpPr>
      <p:grpSpPr>
        <a:xfrm>
          <a:off x="0" y="0"/>
          <a:ext cx="0" cy="0"/>
          <a:chOff x="0" y="0"/>
          <a:chExt cx="0" cy="0"/>
        </a:xfrm>
      </p:grpSpPr>
      <p:pic>
        <p:nvPicPr>
          <p:cNvPr id="11" name="Imagem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 y="5117"/>
            <a:ext cx="12190560" cy="6856620"/>
          </a:xfrm>
          <a:prstGeom prst="rect">
            <a:avLst/>
          </a:prstGeom>
        </p:spPr>
      </p:pic>
      <p:pic>
        <p:nvPicPr>
          <p:cNvPr id="5"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7297514" y="5858104"/>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upo 19">
            <a:extLst>
              <a:ext uri="{FF2B5EF4-FFF2-40B4-BE49-F238E27FC236}">
                <a16:creationId xmlns:a16="http://schemas.microsoft.com/office/drawing/2014/main" id="{246620ED-93B0-4966-8E36-4B883B49E634}"/>
              </a:ext>
            </a:extLst>
          </p:cNvPr>
          <p:cNvGrpSpPr/>
          <p:nvPr userDrawn="1"/>
        </p:nvGrpSpPr>
        <p:grpSpPr>
          <a:xfrm>
            <a:off x="9184031" y="5858536"/>
            <a:ext cx="578707" cy="455017"/>
            <a:chOff x="2203451" y="-4230356"/>
            <a:chExt cx="6896100" cy="5422158"/>
          </a:xfrm>
        </p:grpSpPr>
        <p:pic>
          <p:nvPicPr>
            <p:cNvPr id="7"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8"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5" cstate="screen">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9" name="CuadroTexto 22">
            <a:extLst>
              <a:ext uri="{FF2B5EF4-FFF2-40B4-BE49-F238E27FC236}">
                <a16:creationId xmlns:a16="http://schemas.microsoft.com/office/drawing/2014/main" id="{B163354C-97AE-4FC8-BF01-B7FCA9B2C7C0}"/>
              </a:ext>
            </a:extLst>
          </p:cNvPr>
          <p:cNvSpPr txBox="1"/>
          <p:nvPr userDrawn="1"/>
        </p:nvSpPr>
        <p:spPr>
          <a:xfrm>
            <a:off x="7160629" y="657789"/>
            <a:ext cx="3365478" cy="1167948"/>
          </a:xfrm>
          <a:prstGeom prst="rect">
            <a:avLst/>
          </a:prstGeom>
          <a:noFill/>
        </p:spPr>
        <p:txBody>
          <a:bodyPr wrap="square" rtlCol="0">
            <a:spAutoFit/>
          </a:bodyPr>
          <a:lstStyle/>
          <a:p>
            <a:pPr marL="0" marR="0" lvl="0" indent="0" algn="l" defTabSz="911956" rtl="0" eaLnBrk="1" fontAlgn="auto" latinLnBrk="0" hangingPunct="1">
              <a:lnSpc>
                <a:spcPct val="100000"/>
              </a:lnSpc>
              <a:spcBef>
                <a:spcPts val="0"/>
              </a:spcBef>
              <a:spcAft>
                <a:spcPts val="0"/>
              </a:spcAft>
              <a:buClrTx/>
              <a:buSzTx/>
              <a:buFontTx/>
              <a:buNone/>
              <a:tabLst/>
              <a:defRPr/>
            </a:pPr>
            <a:r>
              <a:rPr kumimoji="0" lang="es-ES" sz="1395"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Nuestro propósito es ayudar a personas</a:t>
            </a:r>
          </a:p>
          <a:p>
            <a:pPr marL="0" marR="0" lvl="0" indent="0" algn="l" defTabSz="911956" rtl="0" eaLnBrk="1" fontAlgn="auto" latinLnBrk="0" hangingPunct="1">
              <a:lnSpc>
                <a:spcPct val="100000"/>
              </a:lnSpc>
              <a:spcBef>
                <a:spcPts val="0"/>
              </a:spcBef>
              <a:spcAft>
                <a:spcPts val="0"/>
              </a:spcAft>
              <a:buClrTx/>
              <a:buSzTx/>
              <a:buFontTx/>
              <a:buNone/>
              <a:tabLst/>
              <a:defRPr/>
            </a:pPr>
            <a:r>
              <a:rPr kumimoji="0" lang="es-ES" sz="1395"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y empresas a prosperar.</a:t>
            </a:r>
          </a:p>
          <a:p>
            <a:pPr marL="0" marR="0" lvl="0" indent="0" algn="l" defTabSz="911956" rtl="0" eaLnBrk="1" fontAlgn="auto" latinLnBrk="0" hangingPunct="1">
              <a:lnSpc>
                <a:spcPct val="100000"/>
              </a:lnSpc>
              <a:spcBef>
                <a:spcPts val="0"/>
              </a:spcBef>
              <a:spcAft>
                <a:spcPts val="0"/>
              </a:spcAft>
              <a:buClrTx/>
              <a:buSzTx/>
              <a:buFontTx/>
              <a:buNone/>
              <a:tabLst/>
              <a:defRPr/>
            </a:pPr>
            <a:endParaRPr kumimoji="0" lang="pt-BR" sz="1395"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endParaRPr>
          </a:p>
          <a:p>
            <a:pPr marL="0" marR="0" lvl="0" indent="0" algn="l" defTabSz="911956" rtl="0" eaLnBrk="1" fontAlgn="auto" latinLnBrk="0" hangingPunct="1">
              <a:lnSpc>
                <a:spcPct val="100000"/>
              </a:lnSpc>
              <a:spcBef>
                <a:spcPts val="0"/>
              </a:spcBef>
              <a:spcAft>
                <a:spcPts val="0"/>
              </a:spcAft>
              <a:buClrTx/>
              <a:buSzTx/>
              <a:buFontTx/>
              <a:buNone/>
              <a:tabLst/>
              <a:defRPr/>
            </a:pPr>
            <a:r>
              <a:rPr kumimoji="0" lang="es-ES" sz="1395"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Nuestra cultura se basa en la creencia</a:t>
            </a:r>
          </a:p>
          <a:p>
            <a:pPr marL="0" marR="0" lvl="0" indent="0" algn="l" defTabSz="911956" rtl="0" eaLnBrk="1" fontAlgn="auto" latinLnBrk="0" hangingPunct="1">
              <a:lnSpc>
                <a:spcPct val="100000"/>
              </a:lnSpc>
              <a:spcBef>
                <a:spcPts val="0"/>
              </a:spcBef>
              <a:spcAft>
                <a:spcPts val="0"/>
              </a:spcAft>
              <a:buClrTx/>
              <a:buSzTx/>
              <a:buFontTx/>
              <a:buNone/>
              <a:tabLst/>
              <a:defRPr/>
            </a:pPr>
            <a:r>
              <a:rPr kumimoji="0" lang="es-ES" sz="1395"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de que todo lo que hacemos debe ser</a:t>
            </a:r>
            <a:endParaRPr kumimoji="0" lang="pt-BR" sz="1395"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endParaRPr>
          </a:p>
        </p:txBody>
      </p:sp>
      <p:sp>
        <p:nvSpPr>
          <p:cNvPr id="13" name="Espaço Reservado para Texto 12"/>
          <p:cNvSpPr>
            <a:spLocks noGrp="1"/>
          </p:cNvSpPr>
          <p:nvPr>
            <p:ph type="body" sz="quarter" idx="10" hasCustomPrompt="1"/>
          </p:nvPr>
        </p:nvSpPr>
        <p:spPr>
          <a:xfrm>
            <a:off x="7218685" y="3799800"/>
            <a:ext cx="4430713" cy="1767970"/>
          </a:xfrm>
          <a:prstGeom prst="rect">
            <a:avLst/>
          </a:prstGeom>
        </p:spPr>
        <p:txBody>
          <a:bodyPr wrap="square" lIns="0" rIns="0">
            <a:spAutoFit/>
          </a:bodyPr>
          <a:lstStyle>
            <a:lvl1pPr marL="0" indent="0">
              <a:buFontTx/>
              <a:buNone/>
              <a:defRPr lang="pt-BR" sz="5390" b="1" spc="-96" baseline="0" smtClean="0">
                <a:solidFill>
                  <a:schemeClr val="accent1"/>
                </a:solidFill>
                <a:latin typeface="Santander Headline" panose="020B0504020201020104" pitchFamily="34" charset="0"/>
                <a:ea typeface="+mj-ea"/>
                <a:cs typeface="Segoe UI Semibold" panose="020B0702040204020203" pitchFamily="34" charset="0"/>
              </a:defRPr>
            </a:lvl1pPr>
            <a:lvl2pPr>
              <a:defRPr lang="pt-BR" smtClean="0"/>
            </a:lvl2pPr>
            <a:lvl3pPr>
              <a:defRPr lang="pt-BR" smtClean="0"/>
            </a:lvl3pPr>
            <a:lvl4pPr>
              <a:defRPr lang="pt-BR" smtClean="0"/>
            </a:lvl4pPr>
            <a:lvl5pPr>
              <a:defRPr lang="en-US"/>
            </a:lvl5pPr>
          </a:lstStyle>
          <a:p>
            <a:pPr lvl="0" algn="l"/>
            <a:r>
              <a:rPr lang="pt-BR"/>
              <a:t>Editar estilos </a:t>
            </a:r>
            <a:br>
              <a:rPr lang="pt-BR"/>
            </a:br>
            <a:r>
              <a:rPr lang="pt-BR"/>
              <a:t>de texto mestre</a:t>
            </a:r>
          </a:p>
        </p:txBody>
      </p:sp>
      <p:pic>
        <p:nvPicPr>
          <p:cNvPr id="4" name="Picture 3"/>
          <p:cNvPicPr>
            <a:picLocks noChangeAspect="1"/>
          </p:cNvPicPr>
          <p:nvPr userDrawn="1"/>
        </p:nvPicPr>
        <p:blipFill>
          <a:blip r:embed="rId6"/>
          <a:stretch>
            <a:fillRect/>
          </a:stretch>
        </p:blipFill>
        <p:spPr>
          <a:xfrm>
            <a:off x="7158738" y="2124075"/>
            <a:ext cx="2725148" cy="347502"/>
          </a:xfrm>
          <a:prstGeom prst="rect">
            <a:avLst/>
          </a:prstGeom>
        </p:spPr>
      </p:pic>
    </p:spTree>
    <p:extLst>
      <p:ext uri="{BB962C8B-B14F-4D97-AF65-F5344CB8AC3E}">
        <p14:creationId xmlns:p14="http://schemas.microsoft.com/office/powerpoint/2010/main" val="23817051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2_Layout wo/ subtitle">
    <p:spTree>
      <p:nvGrpSpPr>
        <p:cNvPr id="1" name=""/>
        <p:cNvGrpSpPr/>
        <p:nvPr/>
      </p:nvGrpSpPr>
      <p:grpSpPr>
        <a:xfrm>
          <a:off x="0" y="0"/>
          <a:ext cx="0" cy="0"/>
          <a:chOff x="0" y="0"/>
          <a:chExt cx="0" cy="0"/>
        </a:xfrm>
      </p:grpSpPr>
      <p:sp>
        <p:nvSpPr>
          <p:cNvPr id="13" name="CuadroTexto 5">
            <a:extLst>
              <a:ext uri="{FF2B5EF4-FFF2-40B4-BE49-F238E27FC236}">
                <a16:creationId xmlns:a16="http://schemas.microsoft.com/office/drawing/2014/main" id="{4355AB1E-66FF-4C7B-95B6-6E8B522B05A6}"/>
              </a:ext>
            </a:extLst>
          </p:cNvPr>
          <p:cNvSpPr txBox="1"/>
          <p:nvPr userDrawn="1"/>
        </p:nvSpPr>
        <p:spPr>
          <a:xfrm>
            <a:off x="10000201" y="6500297"/>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100" b="1" noProof="0" smtClean="0">
                <a:solidFill>
                  <a:schemeClr val="bg2"/>
                </a:solidFill>
                <a:latin typeface="Santander Text" panose="020B0504020201020104" pitchFamily="34" charset="0"/>
              </a:rPr>
              <a:pPr algn="r" defTabSz="912754"/>
              <a:t>‹#›</a:t>
            </a:fld>
            <a:endParaRPr lang="en-US" sz="1100" b="1" noProof="0">
              <a:solidFill>
                <a:schemeClr val="bg2"/>
              </a:solidFill>
              <a:latin typeface="Santander Text" panose="020B0504020201020104" pitchFamily="34" charset="0"/>
            </a:endParaRPr>
          </a:p>
        </p:txBody>
      </p:sp>
      <p:pic>
        <p:nvPicPr>
          <p:cNvPr id="4" name="Gráfico 11">
            <a:extLst>
              <a:ext uri="{FF2B5EF4-FFF2-40B4-BE49-F238E27FC236}">
                <a16:creationId xmlns:a16="http://schemas.microsoft.com/office/drawing/2014/main" id="{2C0EF2EA-F965-D8E9-40D6-3508770EE4B7}"/>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8934" r="79301" b="-1"/>
          <a:stretch/>
        </p:blipFill>
        <p:spPr>
          <a:xfrm>
            <a:off x="11851052" y="6517313"/>
            <a:ext cx="253286" cy="233757"/>
          </a:xfrm>
          <a:prstGeom prst="rect">
            <a:avLst/>
          </a:prstGeom>
        </p:spPr>
      </p:pic>
    </p:spTree>
    <p:extLst>
      <p:ext uri="{BB962C8B-B14F-4D97-AF65-F5344CB8AC3E}">
        <p14:creationId xmlns:p14="http://schemas.microsoft.com/office/powerpoint/2010/main" val="2987478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ortada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2F305A9-DE4B-49AF-BCD4-43A65F7EB523}"/>
              </a:ext>
            </a:extLst>
          </p:cNvPr>
          <p:cNvSpPr>
            <a:spLocks noGrp="1"/>
          </p:cNvSpPr>
          <p:nvPr>
            <p:ph type="ctrTitle" hasCustomPrompt="1"/>
          </p:nvPr>
        </p:nvSpPr>
        <p:spPr>
          <a:xfrm>
            <a:off x="721745" y="1096485"/>
            <a:ext cx="4937184" cy="1407004"/>
          </a:xfrm>
        </p:spPr>
        <p:txBody>
          <a:bodyPr anchor="t">
            <a:noAutofit/>
          </a:bodyPr>
          <a:lstStyle>
            <a:lvl1pPr algn="l">
              <a:lnSpc>
                <a:spcPct val="90000"/>
              </a:lnSpc>
              <a:defRPr lang="es-ES" sz="4500" kern="1200" dirty="0">
                <a:solidFill>
                  <a:schemeClr val="accent1"/>
                </a:solidFill>
                <a:latin typeface="Santander Headline" panose="020B0504020201020104" pitchFamily="34" charset="0"/>
                <a:ea typeface="+mj-ea"/>
                <a:cs typeface="+mj-cs"/>
              </a:defRPr>
            </a:lvl1pPr>
          </a:lstStyle>
          <a:p>
            <a:r>
              <a:rPr lang="es-ES"/>
              <a:t>Título </a:t>
            </a:r>
            <a:br>
              <a:rPr lang="es-ES"/>
            </a:br>
            <a:r>
              <a:rPr lang="es-ES"/>
              <a:t>del patrón</a:t>
            </a:r>
          </a:p>
        </p:txBody>
      </p:sp>
      <p:sp>
        <p:nvSpPr>
          <p:cNvPr id="3" name="Subtítulo 2">
            <a:extLst>
              <a:ext uri="{FF2B5EF4-FFF2-40B4-BE49-F238E27FC236}">
                <a16:creationId xmlns:a16="http://schemas.microsoft.com/office/drawing/2014/main" id="{7AB17398-CAA7-49B6-868C-44D053E7EAC0}"/>
              </a:ext>
            </a:extLst>
          </p:cNvPr>
          <p:cNvSpPr>
            <a:spLocks noGrp="1"/>
          </p:cNvSpPr>
          <p:nvPr>
            <p:ph type="subTitle" idx="1" hasCustomPrompt="1"/>
          </p:nvPr>
        </p:nvSpPr>
        <p:spPr>
          <a:xfrm>
            <a:off x="724620" y="2722142"/>
            <a:ext cx="4934309" cy="2436454"/>
          </a:xfrm>
        </p:spPr>
        <p:txBody>
          <a:bodyPr>
            <a:noAutofit/>
          </a:bodyPr>
          <a:lstStyle>
            <a:lvl1pPr marL="0" indent="0" algn="l">
              <a:lnSpc>
                <a:spcPct val="100000"/>
              </a:lnSpc>
              <a:spcBef>
                <a:spcPts val="0"/>
              </a:spcBef>
              <a:spcAft>
                <a:spcPts val="1200"/>
              </a:spcAft>
              <a:buNone/>
              <a:defRPr lang="es-ES" sz="1600" kern="1200" dirty="0">
                <a:solidFill>
                  <a:schemeClr val="tx2"/>
                </a:solidFill>
                <a:latin typeface="Santander Text" panose="020B0504020201020104" pitchFamily="34"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Esto clic para modificar el estilo de subtítulo del patrón</a:t>
            </a:r>
          </a:p>
        </p:txBody>
      </p:sp>
      <p:sp>
        <p:nvSpPr>
          <p:cNvPr id="17" name="Marcador de texto 16">
            <a:extLst>
              <a:ext uri="{FF2B5EF4-FFF2-40B4-BE49-F238E27FC236}">
                <a16:creationId xmlns:a16="http://schemas.microsoft.com/office/drawing/2014/main" id="{F5E5F18D-70E6-495C-A384-2EDAE0030937}"/>
              </a:ext>
            </a:extLst>
          </p:cNvPr>
          <p:cNvSpPr>
            <a:spLocks noGrp="1"/>
          </p:cNvSpPr>
          <p:nvPr>
            <p:ph type="body" sz="quarter" idx="14"/>
          </p:nvPr>
        </p:nvSpPr>
        <p:spPr>
          <a:xfrm>
            <a:off x="709650" y="333651"/>
            <a:ext cx="11177550" cy="419100"/>
          </a:xfrm>
        </p:spPr>
        <p:txBody>
          <a:bodyPr>
            <a:noAutofit/>
          </a:bodyPr>
          <a:lstStyle>
            <a:lvl1pPr marL="0" indent="0">
              <a:buNone/>
              <a:defRPr lang="es-ES" sz="1300" kern="1200" dirty="0">
                <a:solidFill>
                  <a:schemeClr val="tx2"/>
                </a:solidFill>
                <a:latin typeface="Santander Text" panose="020B0504020201020104" pitchFamily="34" charset="0"/>
                <a:ea typeface="+mn-ea"/>
                <a:cs typeface="+mn-cs"/>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s-ES"/>
              <a:t>Editar los estilos de texto del patrón</a:t>
            </a:r>
          </a:p>
        </p:txBody>
      </p:sp>
      <p:sp>
        <p:nvSpPr>
          <p:cNvPr id="7" name="Forma libre: forma 6">
            <a:extLst>
              <a:ext uri="{FF2B5EF4-FFF2-40B4-BE49-F238E27FC236}">
                <a16:creationId xmlns:a16="http://schemas.microsoft.com/office/drawing/2014/main" id="{67D1300D-9BA1-4612-9EA5-90328019812E}"/>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p>
        </p:txBody>
      </p:sp>
      <p:sp>
        <p:nvSpPr>
          <p:cNvPr id="11" name="Freeform 5">
            <a:extLst>
              <a:ext uri="{FF2B5EF4-FFF2-40B4-BE49-F238E27FC236}">
                <a16:creationId xmlns:a16="http://schemas.microsoft.com/office/drawing/2014/main" id="{FD0C0698-AED8-4EE2-8E87-91C0FB974E8E}"/>
              </a:ext>
            </a:extLst>
          </p:cNvPr>
          <p:cNvSpPr>
            <a:spLocks noEditPoints="1"/>
          </p:cNvSpPr>
          <p:nvPr userDrawn="1"/>
        </p:nvSpPr>
        <p:spPr bwMode="auto">
          <a:xfrm>
            <a:off x="822325" y="5727700"/>
            <a:ext cx="1898650" cy="334963"/>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Tree>
    <p:extLst>
      <p:ext uri="{BB962C8B-B14F-4D97-AF65-F5344CB8AC3E}">
        <p14:creationId xmlns:p14="http://schemas.microsoft.com/office/powerpoint/2010/main" val="14186779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Índice">
    <p:spTree>
      <p:nvGrpSpPr>
        <p:cNvPr id="1" name=""/>
        <p:cNvGrpSpPr/>
        <p:nvPr/>
      </p:nvGrpSpPr>
      <p:grpSpPr>
        <a:xfrm>
          <a:off x="0" y="0"/>
          <a:ext cx="0" cy="0"/>
          <a:chOff x="0" y="0"/>
          <a:chExt cx="0" cy="0"/>
        </a:xfrm>
      </p:grpSpPr>
      <p:sp>
        <p:nvSpPr>
          <p:cNvPr id="10" name="CuadroTexto 9">
            <a:extLst>
              <a:ext uri="{FF2B5EF4-FFF2-40B4-BE49-F238E27FC236}">
                <a16:creationId xmlns:a16="http://schemas.microsoft.com/office/drawing/2014/main" id="{B3950534-FF56-4FD6-A098-D625BC54F0FA}"/>
              </a:ext>
            </a:extLst>
          </p:cNvPr>
          <p:cNvSpPr txBox="1"/>
          <p:nvPr userDrawn="1"/>
        </p:nvSpPr>
        <p:spPr>
          <a:xfrm>
            <a:off x="722533" y="312269"/>
            <a:ext cx="1849821" cy="338554"/>
          </a:xfrm>
          <a:prstGeom prst="rect">
            <a:avLst/>
          </a:prstGeom>
          <a:noFill/>
        </p:spPr>
        <p:txBody>
          <a:bodyPr wrap="square" rtlCol="0">
            <a:spAutoFit/>
          </a:bodyPr>
          <a:lstStyle/>
          <a:p>
            <a:r>
              <a:rPr lang="es-ES" sz="1600" kern="1200">
                <a:solidFill>
                  <a:schemeClr val="accent1"/>
                </a:solidFill>
                <a:latin typeface="Santander Text" panose="020B0504020201020104" pitchFamily="34" charset="0"/>
                <a:ea typeface="+mn-ea"/>
                <a:cs typeface="+mn-cs"/>
              </a:rPr>
              <a:t>Índice</a:t>
            </a:r>
          </a:p>
        </p:txBody>
      </p:sp>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p:nvPr>
        </p:nvSpPr>
        <p:spPr>
          <a:xfrm>
            <a:off x="832641" y="1100239"/>
            <a:ext cx="10635843" cy="4906665"/>
          </a:xfrm>
        </p:spPr>
        <p:txBody>
          <a:bodyPr>
            <a:normAutofit/>
          </a:bodyPr>
          <a:lstStyle>
            <a:lvl1pPr marL="432000" indent="-396000">
              <a:buClr>
                <a:schemeClr val="accent1"/>
              </a:buClr>
              <a:buSzPct val="45000"/>
              <a:buFont typeface="+mj-lt"/>
              <a:buAutoNum type="arabicPeriod"/>
              <a:defRPr lang="es-ES" sz="3800" b="0" kern="1200" dirty="0">
                <a:solidFill>
                  <a:schemeClr val="tx2"/>
                </a:solidFill>
                <a:latin typeface="Santander Text" panose="020B0504020201020104" pitchFamily="34" charset="0"/>
                <a:ea typeface="+mn-ea"/>
                <a:cs typeface="+mn-cs"/>
              </a:defRPr>
            </a:lvl1pPr>
            <a:lvl2pPr marL="457200" indent="0">
              <a:buNone/>
              <a:defRPr/>
            </a:lvl2pPr>
          </a:lstStyle>
          <a:p>
            <a:pPr lvl="0"/>
            <a:r>
              <a:rPr lang="es-ES"/>
              <a:t>Editar los estilos de texto del patrón</a:t>
            </a:r>
          </a:p>
        </p:txBody>
      </p:sp>
      <p:sp>
        <p:nvSpPr>
          <p:cNvPr id="9" name="Freeform 5">
            <a:extLst>
              <a:ext uri="{FF2B5EF4-FFF2-40B4-BE49-F238E27FC236}">
                <a16:creationId xmlns:a16="http://schemas.microsoft.com/office/drawing/2014/main" id="{758F344F-4D40-4193-89B9-BE8205554972}"/>
              </a:ext>
            </a:extLst>
          </p:cNvPr>
          <p:cNvSpPr>
            <a:spLocks noEditPoints="1"/>
          </p:cNvSpPr>
          <p:nvPr userDrawn="1"/>
        </p:nvSpPr>
        <p:spPr bwMode="auto">
          <a:xfrm>
            <a:off x="832642" y="6262326"/>
            <a:ext cx="1171705" cy="206714"/>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2" name="CuadroTexto 1">
            <a:extLst>
              <a:ext uri="{FF2B5EF4-FFF2-40B4-BE49-F238E27FC236}">
                <a16:creationId xmlns:a16="http://schemas.microsoft.com/office/drawing/2014/main" id="{2153D9D0-178B-8BDC-EDE7-DC7B70AC6D40}"/>
              </a:ext>
            </a:extLst>
          </p:cNvPr>
          <p:cNvSpPr txBox="1"/>
          <p:nvPr userDrawn="1"/>
        </p:nvSpPr>
        <p:spPr>
          <a:xfrm>
            <a:off x="10790567" y="6297497"/>
            <a:ext cx="677918" cy="246221"/>
          </a:xfrm>
          <a:prstGeom prst="rect">
            <a:avLst/>
          </a:prstGeom>
          <a:noFill/>
        </p:spPr>
        <p:txBody>
          <a:bodyPr wrap="square" rtlCol="0">
            <a:spAutoFit/>
          </a:bodyPr>
          <a:lstStyle/>
          <a:p>
            <a:pPr algn="r"/>
            <a:fld id="{0750DA0D-C991-4CAA-B66F-F848CC27A32C}" type="slidenum">
              <a:rPr lang="es-ES" sz="1000" smtClean="0">
                <a:solidFill>
                  <a:schemeClr val="bg1">
                    <a:lumMod val="65000"/>
                  </a:schemeClr>
                </a:solidFill>
              </a:rPr>
              <a:pPr algn="r"/>
              <a:t>‹#›</a:t>
            </a:fld>
            <a:endParaRPr lang="es-ES" sz="1000">
              <a:solidFill>
                <a:schemeClr val="bg1">
                  <a:lumMod val="65000"/>
                </a:schemeClr>
              </a:solidFill>
            </a:endParaRPr>
          </a:p>
        </p:txBody>
      </p:sp>
    </p:spTree>
    <p:extLst>
      <p:ext uri="{BB962C8B-B14F-4D97-AF65-F5344CB8AC3E}">
        <p14:creationId xmlns:p14="http://schemas.microsoft.com/office/powerpoint/2010/main" val="24240450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parador blanco">
    <p:spTree>
      <p:nvGrpSpPr>
        <p:cNvPr id="1" name=""/>
        <p:cNvGrpSpPr/>
        <p:nvPr/>
      </p:nvGrpSpPr>
      <p:grpSpPr>
        <a:xfrm>
          <a:off x="0" y="0"/>
          <a:ext cx="0" cy="0"/>
          <a:chOff x="0" y="0"/>
          <a:chExt cx="0" cy="0"/>
        </a:xfrm>
      </p:grpSpPr>
      <p:sp>
        <p:nvSpPr>
          <p:cNvPr id="7" name="Forma libre: forma 6">
            <a:extLst>
              <a:ext uri="{FF2B5EF4-FFF2-40B4-BE49-F238E27FC236}">
                <a16:creationId xmlns:a16="http://schemas.microsoft.com/office/drawing/2014/main" id="{49C540BB-A189-4361-ABD8-4DA84C6612C3}"/>
              </a:ext>
            </a:extLst>
          </p:cNvPr>
          <p:cNvSpPr/>
          <p:nvPr userDrawn="1"/>
        </p:nvSpPr>
        <p:spPr>
          <a:xfrm>
            <a:off x="8925340" y="0"/>
            <a:ext cx="3266660" cy="6858000"/>
          </a:xfrm>
          <a:custGeom>
            <a:avLst/>
            <a:gdLst>
              <a:gd name="connsiteX0" fmla="*/ 1630018 w 3266660"/>
              <a:gd name="connsiteY0" fmla="*/ 0 h 6858000"/>
              <a:gd name="connsiteX1" fmla="*/ 3266660 w 3266660"/>
              <a:gd name="connsiteY1" fmla="*/ 0 h 6858000"/>
              <a:gd name="connsiteX2" fmla="*/ 3266660 w 3266660"/>
              <a:gd name="connsiteY2" fmla="*/ 6858000 h 6858000"/>
              <a:gd name="connsiteX3" fmla="*/ 0 w 3266660"/>
              <a:gd name="connsiteY3" fmla="*/ 6858000 h 6858000"/>
              <a:gd name="connsiteX4" fmla="*/ 0 w 3266660"/>
              <a:gd name="connsiteY4" fmla="*/ 2822713 h 6858000"/>
              <a:gd name="connsiteX5" fmla="*/ 1630018 w 3266660"/>
              <a:gd name="connsiteY5" fmla="*/ 28227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6660" h="6858000">
                <a:moveTo>
                  <a:pt x="1630018" y="0"/>
                </a:moveTo>
                <a:lnTo>
                  <a:pt x="3266660" y="0"/>
                </a:lnTo>
                <a:lnTo>
                  <a:pt x="3266660" y="6858000"/>
                </a:lnTo>
                <a:lnTo>
                  <a:pt x="0" y="6858000"/>
                </a:lnTo>
                <a:lnTo>
                  <a:pt x="0" y="2822713"/>
                </a:lnTo>
                <a:lnTo>
                  <a:pt x="1630018" y="282271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p>
        </p:txBody>
      </p:sp>
      <p:sp>
        <p:nvSpPr>
          <p:cNvPr id="2" name="Título 1">
            <a:extLst>
              <a:ext uri="{FF2B5EF4-FFF2-40B4-BE49-F238E27FC236}">
                <a16:creationId xmlns:a16="http://schemas.microsoft.com/office/drawing/2014/main" id="{B045CB15-1F44-40E1-909E-6233010BC133}"/>
              </a:ext>
            </a:extLst>
          </p:cNvPr>
          <p:cNvSpPr>
            <a:spLocks noGrp="1"/>
          </p:cNvSpPr>
          <p:nvPr>
            <p:ph type="title"/>
          </p:nvPr>
        </p:nvSpPr>
        <p:spPr>
          <a:xfrm>
            <a:off x="722519" y="626373"/>
            <a:ext cx="4386194" cy="2852737"/>
          </a:xfrm>
        </p:spPr>
        <p:txBody>
          <a:bodyPr anchor="t">
            <a:noAutofit/>
          </a:bodyPr>
          <a:lstStyle>
            <a:lvl1pPr>
              <a:lnSpc>
                <a:spcPct val="100000"/>
              </a:lnSpc>
              <a:defRPr lang="es-ES" sz="5000" kern="1200" dirty="0">
                <a:solidFill>
                  <a:schemeClr val="accent1"/>
                </a:solidFill>
                <a:latin typeface="Santander Headline" panose="020B0504020201020104" pitchFamily="34" charset="0"/>
                <a:ea typeface="+mj-ea"/>
                <a:cs typeface="+mj-cs"/>
              </a:defRPr>
            </a:lvl1pPr>
          </a:lstStyle>
          <a:p>
            <a:r>
              <a:rPr lang="es-ES"/>
              <a:t>Haga clic para modificar el estilo de título del patrón</a:t>
            </a:r>
          </a:p>
        </p:txBody>
      </p:sp>
      <p:sp>
        <p:nvSpPr>
          <p:cNvPr id="14" name="Marcador de texto 13">
            <a:extLst>
              <a:ext uri="{FF2B5EF4-FFF2-40B4-BE49-F238E27FC236}">
                <a16:creationId xmlns:a16="http://schemas.microsoft.com/office/drawing/2014/main" id="{6E38BAEA-EEE9-4346-9DB7-91D26BC942D7}"/>
              </a:ext>
            </a:extLst>
          </p:cNvPr>
          <p:cNvSpPr>
            <a:spLocks noGrp="1"/>
          </p:cNvSpPr>
          <p:nvPr>
            <p:ph type="body" sz="quarter" idx="14" hasCustomPrompt="1"/>
          </p:nvPr>
        </p:nvSpPr>
        <p:spPr>
          <a:xfrm>
            <a:off x="8945217" y="3270526"/>
            <a:ext cx="2958754" cy="2364961"/>
          </a:xfrm>
        </p:spPr>
        <p:txBody>
          <a:bodyPr>
            <a:noAutofit/>
          </a:bodyPr>
          <a:lstStyle>
            <a:lvl1pPr marL="0" indent="0" algn="r">
              <a:buFontTx/>
              <a:buNone/>
              <a:defRPr lang="es-ES" sz="16600" kern="1200" dirty="0">
                <a:solidFill>
                  <a:schemeClr val="bg1"/>
                </a:solidFill>
                <a:latin typeface="Santander Text" panose="020B0504020201020104" pitchFamily="34" charset="0"/>
                <a:ea typeface="+mn-ea"/>
                <a:cs typeface="+mn-cs"/>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spTree>
    <p:extLst>
      <p:ext uri="{BB962C8B-B14F-4D97-AF65-F5344CB8AC3E}">
        <p14:creationId xmlns:p14="http://schemas.microsoft.com/office/powerpoint/2010/main" val="2772906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Header &amp; Content ">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B5AEF2-F43E-4C92-A186-61C1E43CE82B}"/>
              </a:ext>
            </a:extLst>
          </p:cNvPr>
          <p:cNvSpPr>
            <a:spLocks noGrp="1"/>
          </p:cNvSpPr>
          <p:nvPr>
            <p:ph type="title"/>
          </p:nvPr>
        </p:nvSpPr>
        <p:spPr>
          <a:xfrm>
            <a:off x="711024" y="1087457"/>
            <a:ext cx="5297557" cy="1606047"/>
          </a:xfrm>
        </p:spPr>
        <p:txBody>
          <a:bodyPr anchor="t">
            <a:noAutofit/>
          </a:bodyPr>
          <a:lstStyle>
            <a:lvl1pPr>
              <a:defRPr lang="en-US" sz="3800" kern="1200" dirty="0">
                <a:solidFill>
                  <a:schemeClr val="accent1"/>
                </a:solidFill>
                <a:latin typeface="Santander Headline" panose="020B0504020201020104" pitchFamily="34" charset="0"/>
                <a:ea typeface="+mj-ea"/>
                <a:cs typeface="+mj-cs"/>
              </a:defRPr>
            </a:lvl1pPr>
          </a:lstStyle>
          <a:p>
            <a:r>
              <a:rPr lang="en-US" err="1"/>
              <a:t>Haga</a:t>
            </a:r>
            <a:r>
              <a:rPr lang="en-US"/>
              <a:t> </a:t>
            </a:r>
            <a:r>
              <a:rPr lang="en-US" err="1"/>
              <a:t>clic</a:t>
            </a:r>
            <a:r>
              <a:rPr lang="en-US"/>
              <a:t> para </a:t>
            </a:r>
            <a:r>
              <a:rPr lang="en-US" err="1"/>
              <a:t>modificar</a:t>
            </a:r>
            <a:r>
              <a:rPr lang="en-US"/>
              <a:t> el </a:t>
            </a:r>
            <a:r>
              <a:rPr lang="en-US" err="1"/>
              <a:t>estilo</a:t>
            </a:r>
            <a:r>
              <a:rPr lang="en-US"/>
              <a:t> de </a:t>
            </a:r>
            <a:r>
              <a:rPr lang="en-US" err="1"/>
              <a:t>título</a:t>
            </a:r>
            <a:r>
              <a:rPr lang="en-US"/>
              <a:t> del </a:t>
            </a:r>
            <a:r>
              <a:rPr lang="en-US" err="1"/>
              <a:t>patrón</a:t>
            </a:r>
            <a:endParaRPr lang="es-ES"/>
          </a:p>
        </p:txBody>
      </p:sp>
      <p:sp>
        <p:nvSpPr>
          <p:cNvPr id="18" name="Marcador de texto 16">
            <a:extLst>
              <a:ext uri="{FF2B5EF4-FFF2-40B4-BE49-F238E27FC236}">
                <a16:creationId xmlns:a16="http://schemas.microsoft.com/office/drawing/2014/main" id="{07C8BA77-3119-41AC-B33B-745A751CC066}"/>
              </a:ext>
            </a:extLst>
          </p:cNvPr>
          <p:cNvSpPr>
            <a:spLocks noGrp="1"/>
          </p:cNvSpPr>
          <p:nvPr>
            <p:ph type="body" sz="quarter" idx="15" hasCustomPrompt="1"/>
          </p:nvPr>
        </p:nvSpPr>
        <p:spPr>
          <a:xfrm>
            <a:off x="711024" y="2944750"/>
            <a:ext cx="5308776" cy="3083401"/>
          </a:xfrm>
        </p:spPr>
        <p:txBody>
          <a:bodyPr>
            <a:noAutofit/>
          </a:bodyPr>
          <a:lstStyle>
            <a:lvl1pPr marL="0" indent="0">
              <a:spcBef>
                <a:spcPts val="0"/>
              </a:spcBef>
              <a:spcAft>
                <a:spcPts val="2200"/>
              </a:spcAft>
              <a:buFontTx/>
              <a:buNone/>
              <a:defRPr lang="en-U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err="1"/>
              <a:t>Editar</a:t>
            </a:r>
            <a:r>
              <a:rPr lang="en-US"/>
              <a:t> los </a:t>
            </a:r>
            <a:r>
              <a:rPr lang="en-US" err="1"/>
              <a:t>estilos</a:t>
            </a:r>
            <a:r>
              <a:rPr lang="en-US"/>
              <a:t> de </a:t>
            </a:r>
            <a:r>
              <a:rPr lang="en-US" err="1"/>
              <a:t>texto</a:t>
            </a:r>
            <a:r>
              <a:rPr lang="en-US"/>
              <a:t> del </a:t>
            </a:r>
            <a:r>
              <a:rPr lang="en-US" err="1"/>
              <a:t>patrón</a:t>
            </a:r>
            <a:endParaRPr lang="en-US"/>
          </a:p>
        </p:txBody>
      </p:sp>
      <p:sp>
        <p:nvSpPr>
          <p:cNvPr id="20" name="Marcador de texto 16">
            <a:extLst>
              <a:ext uri="{FF2B5EF4-FFF2-40B4-BE49-F238E27FC236}">
                <a16:creationId xmlns:a16="http://schemas.microsoft.com/office/drawing/2014/main" id="{81AA2FC0-CE4E-483D-AF92-BEA6CD796B9C}"/>
              </a:ext>
            </a:extLst>
          </p:cNvPr>
          <p:cNvSpPr>
            <a:spLocks noGrp="1"/>
          </p:cNvSpPr>
          <p:nvPr>
            <p:ph type="body" sz="quarter" idx="16" hasCustomPrompt="1"/>
          </p:nvPr>
        </p:nvSpPr>
        <p:spPr>
          <a:xfrm>
            <a:off x="6399971" y="1087458"/>
            <a:ext cx="5081004" cy="4940693"/>
          </a:xfrm>
        </p:spPr>
        <p:txBody>
          <a:bodyPr>
            <a:noAutofit/>
          </a:bodyPr>
          <a:lstStyle>
            <a:lvl1pPr marL="0" indent="0">
              <a:spcBef>
                <a:spcPts val="0"/>
              </a:spcBef>
              <a:spcAft>
                <a:spcPts val="2200"/>
              </a:spcAft>
              <a:buFontTx/>
              <a:buNone/>
              <a:defRPr lang="en-U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err="1"/>
              <a:t>Editar</a:t>
            </a:r>
            <a:r>
              <a:rPr lang="en-US"/>
              <a:t> los </a:t>
            </a:r>
            <a:r>
              <a:rPr lang="en-US" err="1"/>
              <a:t>estilos</a:t>
            </a:r>
            <a:r>
              <a:rPr lang="en-US"/>
              <a:t> de </a:t>
            </a:r>
            <a:r>
              <a:rPr lang="en-US" err="1"/>
              <a:t>texto</a:t>
            </a:r>
            <a:r>
              <a:rPr lang="en-US"/>
              <a:t> del </a:t>
            </a:r>
            <a:r>
              <a:rPr lang="en-US" err="1"/>
              <a:t>patrón</a:t>
            </a:r>
            <a:endParaRPr lang="en-US"/>
          </a:p>
        </p:txBody>
      </p:sp>
      <p:sp>
        <p:nvSpPr>
          <p:cNvPr id="14" name="Marcador de texto 14">
            <a:extLst>
              <a:ext uri="{FF2B5EF4-FFF2-40B4-BE49-F238E27FC236}">
                <a16:creationId xmlns:a16="http://schemas.microsoft.com/office/drawing/2014/main" id="{20D6169B-7727-478C-9F79-E3312A448FEC}"/>
              </a:ext>
            </a:extLst>
          </p:cNvPr>
          <p:cNvSpPr>
            <a:spLocks noGrp="1"/>
          </p:cNvSpPr>
          <p:nvPr>
            <p:ph type="body" sz="quarter" idx="17"/>
          </p:nvPr>
        </p:nvSpPr>
        <p:spPr>
          <a:xfrm>
            <a:off x="711024" y="337100"/>
            <a:ext cx="10758734" cy="304800"/>
          </a:xfrm>
        </p:spPr>
        <p:txBody>
          <a:bodyPr>
            <a:noAutofit/>
          </a:bodyPr>
          <a:lstStyle>
            <a:lvl1pPr marL="0" indent="0">
              <a:buFontTx/>
              <a:buNone/>
              <a:defRPr lang="es-E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11" name="Freeform 5">
            <a:extLst>
              <a:ext uri="{FF2B5EF4-FFF2-40B4-BE49-F238E27FC236}">
                <a16:creationId xmlns:a16="http://schemas.microsoft.com/office/drawing/2014/main" id="{8C223F00-ADFD-45B5-AB42-E3946CD7E5BA}"/>
              </a:ext>
            </a:extLst>
          </p:cNvPr>
          <p:cNvSpPr>
            <a:spLocks noEditPoints="1"/>
          </p:cNvSpPr>
          <p:nvPr userDrawn="1"/>
        </p:nvSpPr>
        <p:spPr bwMode="auto">
          <a:xfrm>
            <a:off x="832642" y="6262326"/>
            <a:ext cx="1171705" cy="206714"/>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3" name="CuadroTexto 2">
            <a:extLst>
              <a:ext uri="{FF2B5EF4-FFF2-40B4-BE49-F238E27FC236}">
                <a16:creationId xmlns:a16="http://schemas.microsoft.com/office/drawing/2014/main" id="{EB2463C0-124B-81D9-FD0C-AACF876B70DC}"/>
              </a:ext>
            </a:extLst>
          </p:cNvPr>
          <p:cNvSpPr txBox="1"/>
          <p:nvPr userDrawn="1"/>
        </p:nvSpPr>
        <p:spPr>
          <a:xfrm>
            <a:off x="10790567" y="6297497"/>
            <a:ext cx="677918" cy="246221"/>
          </a:xfrm>
          <a:prstGeom prst="rect">
            <a:avLst/>
          </a:prstGeom>
          <a:noFill/>
        </p:spPr>
        <p:txBody>
          <a:bodyPr wrap="square" rtlCol="0">
            <a:spAutoFit/>
          </a:bodyPr>
          <a:lstStyle/>
          <a:p>
            <a:pPr algn="r"/>
            <a:fld id="{0750DA0D-C991-4CAA-B66F-F848CC27A32C}" type="slidenum">
              <a:rPr lang="es-ES" sz="1000" smtClean="0">
                <a:solidFill>
                  <a:schemeClr val="bg1">
                    <a:lumMod val="65000"/>
                  </a:schemeClr>
                </a:solidFill>
              </a:rPr>
              <a:pPr algn="r"/>
              <a:t>‹#›</a:t>
            </a:fld>
            <a:endParaRPr lang="es-ES" sz="1000">
              <a:solidFill>
                <a:schemeClr val="bg1">
                  <a:lumMod val="65000"/>
                </a:schemeClr>
              </a:solidFill>
            </a:endParaRPr>
          </a:p>
        </p:txBody>
      </p:sp>
    </p:spTree>
    <p:extLst>
      <p:ext uri="{BB962C8B-B14F-4D97-AF65-F5344CB8AC3E}">
        <p14:creationId xmlns:p14="http://schemas.microsoft.com/office/powerpoint/2010/main" val="3642868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ulo y contenido 2">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B5AEF2-F43E-4C92-A186-61C1E43CE82B}"/>
              </a:ext>
            </a:extLst>
          </p:cNvPr>
          <p:cNvSpPr>
            <a:spLocks noGrp="1"/>
          </p:cNvSpPr>
          <p:nvPr>
            <p:ph type="title"/>
          </p:nvPr>
        </p:nvSpPr>
        <p:spPr>
          <a:xfrm>
            <a:off x="711024" y="1087457"/>
            <a:ext cx="10758733" cy="1123937"/>
          </a:xfrm>
        </p:spPr>
        <p:txBody>
          <a:bodyPr anchor="t">
            <a:noAutofit/>
          </a:bodyPr>
          <a:lstStyle>
            <a:lvl1pPr>
              <a:defRPr lang="es-ES" sz="3800" kern="1200" dirty="0">
                <a:solidFill>
                  <a:schemeClr val="accent1"/>
                </a:solidFill>
                <a:latin typeface="Santander Headline" panose="020B0504020201020104" pitchFamily="34" charset="0"/>
                <a:ea typeface="+mj-ea"/>
                <a:cs typeface="+mj-cs"/>
              </a:defRPr>
            </a:lvl1pPr>
          </a:lstStyle>
          <a:p>
            <a:r>
              <a:rPr lang="es-ES"/>
              <a:t>Haga clic para modificar el estilo de título del patrón</a:t>
            </a:r>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lang="es-E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12" name="Marcador de texto 16">
            <a:extLst>
              <a:ext uri="{FF2B5EF4-FFF2-40B4-BE49-F238E27FC236}">
                <a16:creationId xmlns:a16="http://schemas.microsoft.com/office/drawing/2014/main" id="{87DF9564-216B-4533-A626-FE222DEB917D}"/>
              </a:ext>
            </a:extLst>
          </p:cNvPr>
          <p:cNvSpPr>
            <a:spLocks noGrp="1"/>
          </p:cNvSpPr>
          <p:nvPr>
            <p:ph type="body" sz="quarter" idx="15"/>
          </p:nvPr>
        </p:nvSpPr>
        <p:spPr>
          <a:xfrm>
            <a:off x="711024" y="2626797"/>
            <a:ext cx="10758733" cy="3393003"/>
          </a:xfrm>
        </p:spPr>
        <p:txBody>
          <a:bodyPr numCol="2" spcCol="720000">
            <a:noAutofit/>
          </a:bodyPr>
          <a:lstStyle>
            <a:lvl1pPr marL="0" indent="0">
              <a:spcBef>
                <a:spcPts val="0"/>
              </a:spcBef>
              <a:spcAft>
                <a:spcPts val="2200"/>
              </a:spcAft>
              <a:buFontTx/>
              <a:buNone/>
              <a:defRPr lang="es-E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11" name="Freeform 5">
            <a:extLst>
              <a:ext uri="{FF2B5EF4-FFF2-40B4-BE49-F238E27FC236}">
                <a16:creationId xmlns:a16="http://schemas.microsoft.com/office/drawing/2014/main" id="{10CD5C40-9C2B-4740-BB85-4793D380FBF5}"/>
              </a:ext>
            </a:extLst>
          </p:cNvPr>
          <p:cNvSpPr>
            <a:spLocks noEditPoints="1"/>
          </p:cNvSpPr>
          <p:nvPr userDrawn="1"/>
        </p:nvSpPr>
        <p:spPr bwMode="auto">
          <a:xfrm>
            <a:off x="832642" y="6262326"/>
            <a:ext cx="1171705" cy="206714"/>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3" name="CuadroTexto 2">
            <a:extLst>
              <a:ext uri="{FF2B5EF4-FFF2-40B4-BE49-F238E27FC236}">
                <a16:creationId xmlns:a16="http://schemas.microsoft.com/office/drawing/2014/main" id="{BE189902-4CF4-644C-46DE-056B87325498}"/>
              </a:ext>
            </a:extLst>
          </p:cNvPr>
          <p:cNvSpPr txBox="1"/>
          <p:nvPr userDrawn="1"/>
        </p:nvSpPr>
        <p:spPr>
          <a:xfrm>
            <a:off x="10790567" y="6297497"/>
            <a:ext cx="677918" cy="246221"/>
          </a:xfrm>
          <a:prstGeom prst="rect">
            <a:avLst/>
          </a:prstGeom>
          <a:noFill/>
        </p:spPr>
        <p:txBody>
          <a:bodyPr wrap="square" rtlCol="0">
            <a:spAutoFit/>
          </a:bodyPr>
          <a:lstStyle/>
          <a:p>
            <a:pPr algn="r"/>
            <a:fld id="{0750DA0D-C991-4CAA-B66F-F848CC27A32C}" type="slidenum">
              <a:rPr lang="es-ES" sz="1000" smtClean="0">
                <a:solidFill>
                  <a:schemeClr val="bg1">
                    <a:lumMod val="65000"/>
                  </a:schemeClr>
                </a:solidFill>
              </a:rPr>
              <a:pPr algn="r"/>
              <a:t>‹#›</a:t>
            </a:fld>
            <a:endParaRPr lang="es-ES" sz="1000">
              <a:solidFill>
                <a:schemeClr val="bg1">
                  <a:lumMod val="65000"/>
                </a:schemeClr>
              </a:solidFill>
            </a:endParaRPr>
          </a:p>
        </p:txBody>
      </p:sp>
    </p:spTree>
    <p:extLst>
      <p:ext uri="{BB962C8B-B14F-4D97-AF65-F5344CB8AC3E}">
        <p14:creationId xmlns:p14="http://schemas.microsoft.com/office/powerpoint/2010/main" val="37275652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Destac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B5AEF2-F43E-4C92-A186-61C1E43CE82B}"/>
              </a:ext>
            </a:extLst>
          </p:cNvPr>
          <p:cNvSpPr>
            <a:spLocks noGrp="1"/>
          </p:cNvSpPr>
          <p:nvPr>
            <p:ph type="title"/>
          </p:nvPr>
        </p:nvSpPr>
        <p:spPr>
          <a:xfrm>
            <a:off x="711024" y="1087458"/>
            <a:ext cx="3801119" cy="4933929"/>
          </a:xfrm>
        </p:spPr>
        <p:txBody>
          <a:bodyPr anchor="t">
            <a:noAutofit/>
          </a:bodyPr>
          <a:lstStyle>
            <a:lvl1pPr>
              <a:defRPr lang="es-ES" sz="2600" b="0" kern="1200" dirty="0" err="1">
                <a:solidFill>
                  <a:schemeClr val="accent3"/>
                </a:solidFill>
                <a:latin typeface="Santander Text" panose="020B0504020201020104" pitchFamily="34" charset="0"/>
                <a:ea typeface="+mj-ea"/>
                <a:cs typeface="+mj-cs"/>
              </a:defRPr>
            </a:lvl1pPr>
          </a:lstStyle>
          <a:p>
            <a:r>
              <a:rPr lang="es-ES"/>
              <a:t>Haga clic para modificar el estilo de título del patrón</a:t>
            </a:r>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lang="es-E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12" name="Marcador de texto 16">
            <a:extLst>
              <a:ext uri="{FF2B5EF4-FFF2-40B4-BE49-F238E27FC236}">
                <a16:creationId xmlns:a16="http://schemas.microsoft.com/office/drawing/2014/main" id="{87DF9564-216B-4533-A626-FE222DEB917D}"/>
              </a:ext>
            </a:extLst>
          </p:cNvPr>
          <p:cNvSpPr>
            <a:spLocks noGrp="1"/>
          </p:cNvSpPr>
          <p:nvPr>
            <p:ph type="body" sz="quarter" idx="15"/>
          </p:nvPr>
        </p:nvSpPr>
        <p:spPr>
          <a:xfrm>
            <a:off x="4772722" y="1087458"/>
            <a:ext cx="6697035" cy="4933928"/>
          </a:xfrm>
        </p:spPr>
        <p:txBody>
          <a:bodyPr numCol="1" spcCol="0">
            <a:noAutofit/>
          </a:bodyPr>
          <a:lstStyle>
            <a:lvl1pPr marL="0" indent="0">
              <a:spcBef>
                <a:spcPts val="0"/>
              </a:spcBef>
              <a:spcAft>
                <a:spcPts val="2200"/>
              </a:spcAft>
              <a:buFont typeface="Arial" panose="020B0604020202020204" pitchFamily="34" charset="0"/>
              <a:buNone/>
              <a:defRPr lang="es-E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11" name="Freeform 5">
            <a:extLst>
              <a:ext uri="{FF2B5EF4-FFF2-40B4-BE49-F238E27FC236}">
                <a16:creationId xmlns:a16="http://schemas.microsoft.com/office/drawing/2014/main" id="{2ACA880E-0A64-47E3-A2A7-9510B186C13A}"/>
              </a:ext>
            </a:extLst>
          </p:cNvPr>
          <p:cNvSpPr>
            <a:spLocks noEditPoints="1"/>
          </p:cNvSpPr>
          <p:nvPr userDrawn="1"/>
        </p:nvSpPr>
        <p:spPr bwMode="auto">
          <a:xfrm>
            <a:off x="832642" y="6262326"/>
            <a:ext cx="1171705" cy="206714"/>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3" name="CuadroTexto 2">
            <a:extLst>
              <a:ext uri="{FF2B5EF4-FFF2-40B4-BE49-F238E27FC236}">
                <a16:creationId xmlns:a16="http://schemas.microsoft.com/office/drawing/2014/main" id="{76BC7F7C-8EE2-0604-97F8-68907E0E14AE}"/>
              </a:ext>
            </a:extLst>
          </p:cNvPr>
          <p:cNvSpPr txBox="1"/>
          <p:nvPr userDrawn="1"/>
        </p:nvSpPr>
        <p:spPr>
          <a:xfrm>
            <a:off x="10790567" y="6297497"/>
            <a:ext cx="677918" cy="246221"/>
          </a:xfrm>
          <a:prstGeom prst="rect">
            <a:avLst/>
          </a:prstGeom>
          <a:noFill/>
        </p:spPr>
        <p:txBody>
          <a:bodyPr wrap="square" rtlCol="0">
            <a:spAutoFit/>
          </a:bodyPr>
          <a:lstStyle/>
          <a:p>
            <a:pPr algn="r"/>
            <a:fld id="{0750DA0D-C991-4CAA-B66F-F848CC27A32C}" type="slidenum">
              <a:rPr lang="es-ES" sz="1000" smtClean="0">
                <a:solidFill>
                  <a:schemeClr val="bg1">
                    <a:lumMod val="65000"/>
                  </a:schemeClr>
                </a:solidFill>
              </a:rPr>
              <a:pPr algn="r"/>
              <a:t>‹#›</a:t>
            </a:fld>
            <a:endParaRPr lang="es-ES" sz="1000">
              <a:solidFill>
                <a:schemeClr val="bg1">
                  <a:lumMod val="65000"/>
                </a:schemeClr>
              </a:solidFill>
            </a:endParaRPr>
          </a:p>
        </p:txBody>
      </p:sp>
    </p:spTree>
    <p:extLst>
      <p:ext uri="{BB962C8B-B14F-4D97-AF65-F5344CB8AC3E}">
        <p14:creationId xmlns:p14="http://schemas.microsoft.com/office/powerpoint/2010/main" val="31073123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spTree>
    <p:extLst>
      <p:ext uri="{BB962C8B-B14F-4D97-AF65-F5344CB8AC3E}">
        <p14:creationId xmlns:p14="http://schemas.microsoft.com/office/powerpoint/2010/main" val="91778987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Contenido y gráfico ">
    <p:spTree>
      <p:nvGrpSpPr>
        <p:cNvPr id="1" name=""/>
        <p:cNvGrpSpPr/>
        <p:nvPr/>
      </p:nvGrpSpPr>
      <p:grpSpPr>
        <a:xfrm>
          <a:off x="0" y="0"/>
          <a:ext cx="0" cy="0"/>
          <a:chOff x="0" y="0"/>
          <a:chExt cx="0" cy="0"/>
        </a:xfrm>
      </p:grpSpPr>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lang="es-E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9" name="Título 1">
            <a:extLst>
              <a:ext uri="{FF2B5EF4-FFF2-40B4-BE49-F238E27FC236}">
                <a16:creationId xmlns:a16="http://schemas.microsoft.com/office/drawing/2014/main" id="{3AABE934-895B-422A-B16D-773558A762E3}"/>
              </a:ext>
            </a:extLst>
          </p:cNvPr>
          <p:cNvSpPr>
            <a:spLocks noGrp="1"/>
          </p:cNvSpPr>
          <p:nvPr>
            <p:ph type="title" hasCustomPrompt="1"/>
          </p:nvPr>
        </p:nvSpPr>
        <p:spPr>
          <a:xfrm>
            <a:off x="711024" y="1087458"/>
            <a:ext cx="3911401" cy="1183132"/>
          </a:xfrm>
        </p:spPr>
        <p:txBody>
          <a:bodyPr anchor="t">
            <a:noAutofit/>
          </a:bodyPr>
          <a:lstStyle>
            <a:lvl1pPr>
              <a:defRPr lang="es-ES" sz="3800" kern="1200" dirty="0">
                <a:solidFill>
                  <a:schemeClr val="accent1"/>
                </a:solidFill>
                <a:latin typeface="Santander Headline" panose="020B0504020201020104" pitchFamily="34" charset="0"/>
                <a:ea typeface="+mj-ea"/>
                <a:cs typeface="+mj-cs"/>
              </a:defRPr>
            </a:lvl1pPr>
          </a:lstStyle>
          <a:p>
            <a:r>
              <a:rPr lang="es-ES"/>
              <a:t>Título del patrón</a:t>
            </a:r>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24" y="2517170"/>
            <a:ext cx="3911401" cy="3504218"/>
          </a:xfrm>
        </p:spPr>
        <p:txBody>
          <a:bodyPr>
            <a:noAutofit/>
          </a:bodyPr>
          <a:lstStyle>
            <a:lvl1pPr marL="0" indent="0">
              <a:spcBef>
                <a:spcPts val="0"/>
              </a:spcBef>
              <a:spcAft>
                <a:spcPts val="2200"/>
              </a:spcAft>
              <a:buFontTx/>
              <a:buNone/>
              <a:defRPr lang="es-E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6" name="Marcador de gráfico 5">
            <a:extLst>
              <a:ext uri="{FF2B5EF4-FFF2-40B4-BE49-F238E27FC236}">
                <a16:creationId xmlns:a16="http://schemas.microsoft.com/office/drawing/2014/main" id="{2444BFBF-CC97-48FB-BE66-A28460A7384B}"/>
              </a:ext>
            </a:extLst>
          </p:cNvPr>
          <p:cNvSpPr>
            <a:spLocks noGrp="1"/>
          </p:cNvSpPr>
          <p:nvPr>
            <p:ph type="chart" sz="quarter" idx="17" hasCustomPrompt="1"/>
          </p:nvPr>
        </p:nvSpPr>
        <p:spPr>
          <a:xfrm>
            <a:off x="4797425" y="1087438"/>
            <a:ext cx="6683550" cy="4933950"/>
          </a:xfrm>
        </p:spPr>
        <p:txBody>
          <a:bodyPr>
            <a:normAutofit/>
          </a:bodyPr>
          <a:lstStyle>
            <a:lvl1pPr marL="0" indent="0" algn="ctr">
              <a:buNone/>
              <a:defRPr lang="es-MX" sz="1600" kern="1200" dirty="0">
                <a:solidFill>
                  <a:schemeClr val="tx2"/>
                </a:solidFill>
                <a:latin typeface="Santander Text" panose="020B0504020201020104" pitchFamily="34" charset="0"/>
                <a:ea typeface="+mn-ea"/>
                <a:cs typeface="+mn-cs"/>
              </a:defRPr>
            </a:lvl1pPr>
          </a:lstStyle>
          <a:p>
            <a:r>
              <a:rPr lang="es-MX"/>
              <a:t>Inserte </a:t>
            </a:r>
            <a:r>
              <a:rPr lang="es-MX" err="1"/>
              <a:t>aqu</a:t>
            </a:r>
            <a:r>
              <a:rPr lang="es-ES"/>
              <a:t>í su gráfico</a:t>
            </a:r>
          </a:p>
        </p:txBody>
      </p:sp>
      <p:sp>
        <p:nvSpPr>
          <p:cNvPr id="11" name="Freeform 5">
            <a:extLst>
              <a:ext uri="{FF2B5EF4-FFF2-40B4-BE49-F238E27FC236}">
                <a16:creationId xmlns:a16="http://schemas.microsoft.com/office/drawing/2014/main" id="{7A720A69-A401-44C4-A44F-11858CED5D46}"/>
              </a:ext>
            </a:extLst>
          </p:cNvPr>
          <p:cNvSpPr>
            <a:spLocks noEditPoints="1"/>
          </p:cNvSpPr>
          <p:nvPr userDrawn="1"/>
        </p:nvSpPr>
        <p:spPr bwMode="auto">
          <a:xfrm>
            <a:off x="832642" y="6262326"/>
            <a:ext cx="1171705" cy="206714"/>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2" name="CuadroTexto 1">
            <a:extLst>
              <a:ext uri="{FF2B5EF4-FFF2-40B4-BE49-F238E27FC236}">
                <a16:creationId xmlns:a16="http://schemas.microsoft.com/office/drawing/2014/main" id="{8DD50858-C7EA-C8F4-EFFD-2BA794543DB3}"/>
              </a:ext>
            </a:extLst>
          </p:cNvPr>
          <p:cNvSpPr txBox="1"/>
          <p:nvPr userDrawn="1"/>
        </p:nvSpPr>
        <p:spPr>
          <a:xfrm>
            <a:off x="10790567" y="6297497"/>
            <a:ext cx="677918" cy="246221"/>
          </a:xfrm>
          <a:prstGeom prst="rect">
            <a:avLst/>
          </a:prstGeom>
          <a:noFill/>
        </p:spPr>
        <p:txBody>
          <a:bodyPr wrap="square" rtlCol="0">
            <a:spAutoFit/>
          </a:bodyPr>
          <a:lstStyle/>
          <a:p>
            <a:pPr algn="r"/>
            <a:fld id="{0750DA0D-C991-4CAA-B66F-F848CC27A32C}" type="slidenum">
              <a:rPr lang="es-ES" sz="1000" smtClean="0">
                <a:solidFill>
                  <a:schemeClr val="bg1">
                    <a:lumMod val="65000"/>
                  </a:schemeClr>
                </a:solidFill>
              </a:rPr>
              <a:pPr algn="r"/>
              <a:t>‹#›</a:t>
            </a:fld>
            <a:endParaRPr lang="es-ES" sz="1000">
              <a:solidFill>
                <a:schemeClr val="bg1">
                  <a:lumMod val="65000"/>
                </a:schemeClr>
              </a:solidFill>
            </a:endParaRPr>
          </a:p>
        </p:txBody>
      </p:sp>
    </p:spTree>
    <p:extLst>
      <p:ext uri="{BB962C8B-B14F-4D97-AF65-F5344CB8AC3E}">
        <p14:creationId xmlns:p14="http://schemas.microsoft.com/office/powerpoint/2010/main" val="41833863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Contenido y gráfico 2">
    <p:spTree>
      <p:nvGrpSpPr>
        <p:cNvPr id="1" name=""/>
        <p:cNvGrpSpPr/>
        <p:nvPr/>
      </p:nvGrpSpPr>
      <p:grpSpPr>
        <a:xfrm>
          <a:off x="0" y="0"/>
          <a:ext cx="0" cy="0"/>
          <a:chOff x="0" y="0"/>
          <a:chExt cx="0" cy="0"/>
        </a:xfrm>
      </p:grpSpPr>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3" y="337100"/>
            <a:ext cx="10758734" cy="304800"/>
          </a:xfrm>
        </p:spPr>
        <p:txBody>
          <a:bodyPr>
            <a:noAutofit/>
          </a:bodyPr>
          <a:lstStyle>
            <a:lvl1pPr marL="0" indent="0">
              <a:buFontTx/>
              <a:buNone/>
              <a:defRPr lang="es-E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24" y="1087459"/>
            <a:ext cx="3911401" cy="4933929"/>
          </a:xfrm>
        </p:spPr>
        <p:txBody>
          <a:bodyPr>
            <a:noAutofit/>
          </a:bodyPr>
          <a:lstStyle>
            <a:lvl1pPr marL="0" indent="0">
              <a:spcBef>
                <a:spcPts val="0"/>
              </a:spcBef>
              <a:spcAft>
                <a:spcPts val="2200"/>
              </a:spcAft>
              <a:buFontTx/>
              <a:buNone/>
              <a:defRPr lang="es-E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12" name="Marcador de tabla 4">
            <a:extLst>
              <a:ext uri="{FF2B5EF4-FFF2-40B4-BE49-F238E27FC236}">
                <a16:creationId xmlns:a16="http://schemas.microsoft.com/office/drawing/2014/main" id="{DF826A4E-1A0C-46D7-8327-402D7A34DE68}"/>
              </a:ext>
            </a:extLst>
          </p:cNvPr>
          <p:cNvSpPr>
            <a:spLocks noGrp="1"/>
          </p:cNvSpPr>
          <p:nvPr>
            <p:ph type="tbl" sz="quarter" idx="18" hasCustomPrompt="1"/>
          </p:nvPr>
        </p:nvSpPr>
        <p:spPr>
          <a:xfrm>
            <a:off x="4867835" y="1581149"/>
            <a:ext cx="6612965" cy="4440239"/>
          </a:xfrm>
        </p:spPr>
        <p:txBody>
          <a:bodyPr>
            <a:normAutofit/>
          </a:bodyPr>
          <a:lstStyle>
            <a:lvl1pPr marL="0" indent="0" algn="ctr">
              <a:buFontTx/>
              <a:buNone/>
              <a:defRPr kumimoji="0" lang="es-ES" sz="1200" b="0" i="0" u="none" strike="noStrike" kern="1200" cap="none" spc="0" normalizeH="0" baseline="0" dirty="0">
                <a:ln>
                  <a:noFill/>
                </a:ln>
                <a:solidFill>
                  <a:schemeClr val="tx2"/>
                </a:solidFill>
                <a:effectLst/>
                <a:uLnTx/>
                <a:uFillTx/>
                <a:latin typeface="Santander Text Light" panose="020B0304020201020104" pitchFamily="34" charset="0"/>
                <a:ea typeface="+mn-ea"/>
                <a:cs typeface="+mn-cs"/>
              </a:defRPr>
            </a:lvl1pPr>
          </a:lstStyle>
          <a:p>
            <a:r>
              <a:rPr lang="es-ES"/>
              <a:t>Inserte aquí su tabla</a:t>
            </a:r>
          </a:p>
        </p:txBody>
      </p:sp>
      <p:sp>
        <p:nvSpPr>
          <p:cNvPr id="14" name="Marcador de texto 16">
            <a:extLst>
              <a:ext uri="{FF2B5EF4-FFF2-40B4-BE49-F238E27FC236}">
                <a16:creationId xmlns:a16="http://schemas.microsoft.com/office/drawing/2014/main" id="{C96F8991-1F66-478E-8C12-FB0275A2F299}"/>
              </a:ext>
            </a:extLst>
          </p:cNvPr>
          <p:cNvSpPr>
            <a:spLocks noGrp="1"/>
          </p:cNvSpPr>
          <p:nvPr>
            <p:ph type="body" sz="quarter" idx="19"/>
          </p:nvPr>
        </p:nvSpPr>
        <p:spPr>
          <a:xfrm>
            <a:off x="4867834" y="1087458"/>
            <a:ext cx="6587576" cy="381504"/>
          </a:xfrm>
        </p:spPr>
        <p:txBody>
          <a:bodyPr>
            <a:noAutofit/>
          </a:bodyPr>
          <a:lstStyle>
            <a:lvl1pPr marL="0" indent="0">
              <a:spcBef>
                <a:spcPts val="0"/>
              </a:spcBef>
              <a:spcAft>
                <a:spcPts val="2200"/>
              </a:spcAft>
              <a:buFontTx/>
              <a:buNone/>
              <a:defRPr lang="es-ES" sz="1200" b="1"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11" name="Freeform 5">
            <a:extLst>
              <a:ext uri="{FF2B5EF4-FFF2-40B4-BE49-F238E27FC236}">
                <a16:creationId xmlns:a16="http://schemas.microsoft.com/office/drawing/2014/main" id="{4FF6CD27-D37B-4983-AEF9-0169EB032F74}"/>
              </a:ext>
            </a:extLst>
          </p:cNvPr>
          <p:cNvSpPr>
            <a:spLocks noEditPoints="1"/>
          </p:cNvSpPr>
          <p:nvPr userDrawn="1"/>
        </p:nvSpPr>
        <p:spPr bwMode="auto">
          <a:xfrm>
            <a:off x="832642" y="6262326"/>
            <a:ext cx="1171705" cy="206714"/>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2" name="CuadroTexto 1">
            <a:extLst>
              <a:ext uri="{FF2B5EF4-FFF2-40B4-BE49-F238E27FC236}">
                <a16:creationId xmlns:a16="http://schemas.microsoft.com/office/drawing/2014/main" id="{F1C4D543-2103-1451-2D01-BAC6B7F69B21}"/>
              </a:ext>
            </a:extLst>
          </p:cNvPr>
          <p:cNvSpPr txBox="1"/>
          <p:nvPr userDrawn="1"/>
        </p:nvSpPr>
        <p:spPr>
          <a:xfrm>
            <a:off x="10790567" y="6297497"/>
            <a:ext cx="677918" cy="246221"/>
          </a:xfrm>
          <a:prstGeom prst="rect">
            <a:avLst/>
          </a:prstGeom>
          <a:noFill/>
        </p:spPr>
        <p:txBody>
          <a:bodyPr wrap="square" rtlCol="0">
            <a:spAutoFit/>
          </a:bodyPr>
          <a:lstStyle/>
          <a:p>
            <a:pPr algn="r"/>
            <a:fld id="{0750DA0D-C991-4CAA-B66F-F848CC27A32C}" type="slidenum">
              <a:rPr lang="es-ES" sz="1000" smtClean="0">
                <a:solidFill>
                  <a:schemeClr val="bg1">
                    <a:lumMod val="65000"/>
                  </a:schemeClr>
                </a:solidFill>
              </a:rPr>
              <a:pPr algn="r"/>
              <a:t>‹#›</a:t>
            </a:fld>
            <a:endParaRPr lang="es-ES" sz="1000">
              <a:solidFill>
                <a:schemeClr val="bg1">
                  <a:lumMod val="65000"/>
                </a:schemeClr>
              </a:solidFill>
            </a:endParaRPr>
          </a:p>
        </p:txBody>
      </p:sp>
    </p:spTree>
    <p:extLst>
      <p:ext uri="{BB962C8B-B14F-4D97-AF65-F5344CB8AC3E}">
        <p14:creationId xmlns:p14="http://schemas.microsoft.com/office/powerpoint/2010/main" val="4675245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Contenido y gráfico 3 ">
    <p:spTree>
      <p:nvGrpSpPr>
        <p:cNvPr id="1" name=""/>
        <p:cNvGrpSpPr/>
        <p:nvPr/>
      </p:nvGrpSpPr>
      <p:grpSpPr>
        <a:xfrm>
          <a:off x="0" y="0"/>
          <a:ext cx="0" cy="0"/>
          <a:chOff x="0" y="0"/>
          <a:chExt cx="0" cy="0"/>
        </a:xfrm>
      </p:grpSpPr>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3" y="337100"/>
            <a:ext cx="10758663" cy="304800"/>
          </a:xfrm>
        </p:spPr>
        <p:txBody>
          <a:bodyPr>
            <a:noAutofit/>
          </a:bodyPr>
          <a:lstStyle>
            <a:lvl1pPr marL="0" indent="0">
              <a:buFontTx/>
              <a:buNone/>
              <a:defRPr lang="es-E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24" y="1087459"/>
            <a:ext cx="3911401" cy="657546"/>
          </a:xfrm>
        </p:spPr>
        <p:txBody>
          <a:bodyPr>
            <a:noAutofit/>
          </a:bodyPr>
          <a:lstStyle>
            <a:lvl1pPr marL="0" indent="0">
              <a:spcBef>
                <a:spcPts val="0"/>
              </a:spcBef>
              <a:spcAft>
                <a:spcPts val="2200"/>
              </a:spcAft>
              <a:buFontTx/>
              <a:buNone/>
              <a:defRPr lang="es-E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9" name="Marcador de texto 16">
            <a:extLst>
              <a:ext uri="{FF2B5EF4-FFF2-40B4-BE49-F238E27FC236}">
                <a16:creationId xmlns:a16="http://schemas.microsoft.com/office/drawing/2014/main" id="{714DD14E-5956-4FB9-8BE1-1064DD293193}"/>
              </a:ext>
            </a:extLst>
          </p:cNvPr>
          <p:cNvSpPr>
            <a:spLocks noGrp="1"/>
          </p:cNvSpPr>
          <p:nvPr>
            <p:ph type="body" sz="quarter" idx="19"/>
          </p:nvPr>
        </p:nvSpPr>
        <p:spPr>
          <a:xfrm>
            <a:off x="5024063" y="1087459"/>
            <a:ext cx="6445624" cy="657546"/>
          </a:xfrm>
        </p:spPr>
        <p:txBody>
          <a:bodyPr>
            <a:noAutofit/>
          </a:bodyPr>
          <a:lstStyle>
            <a:lvl1pPr marL="0" indent="0">
              <a:spcBef>
                <a:spcPts val="0"/>
              </a:spcBef>
              <a:spcAft>
                <a:spcPts val="2200"/>
              </a:spcAft>
              <a:buFontTx/>
              <a:buNone/>
              <a:defRPr lang="es-E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16" name="Marcador de gráfico 4">
            <a:extLst>
              <a:ext uri="{FF2B5EF4-FFF2-40B4-BE49-F238E27FC236}">
                <a16:creationId xmlns:a16="http://schemas.microsoft.com/office/drawing/2014/main" id="{9BA63F5F-FC37-4202-A6A3-A0F3EFAC9EB6}"/>
              </a:ext>
            </a:extLst>
          </p:cNvPr>
          <p:cNvSpPr>
            <a:spLocks noGrp="1"/>
          </p:cNvSpPr>
          <p:nvPr>
            <p:ph type="chart" sz="quarter" idx="20" hasCustomPrompt="1"/>
          </p:nvPr>
        </p:nvSpPr>
        <p:spPr>
          <a:xfrm>
            <a:off x="711024" y="1838324"/>
            <a:ext cx="3911600" cy="4183063"/>
          </a:xfrm>
        </p:spPr>
        <p:txBody>
          <a:bodyPr>
            <a:normAutofit/>
          </a:bodyPr>
          <a:lstStyle>
            <a:lvl1pPr marL="0" indent="0" algn="ctr">
              <a:buFontTx/>
              <a:buNone/>
              <a:defRPr lang="es-ES" sz="1400" kern="1200" dirty="0">
                <a:solidFill>
                  <a:schemeClr val="tx2"/>
                </a:solidFill>
                <a:latin typeface="Santander Text" panose="020B0504020201020104" pitchFamily="34" charset="0"/>
                <a:ea typeface="+mn-ea"/>
                <a:cs typeface="+mn-cs"/>
              </a:defRPr>
            </a:lvl1pPr>
          </a:lstStyle>
          <a:p>
            <a:r>
              <a:rPr lang="es-ES"/>
              <a:t>Inserte aquí su gráfico</a:t>
            </a:r>
          </a:p>
        </p:txBody>
      </p:sp>
      <p:sp>
        <p:nvSpPr>
          <p:cNvPr id="17" name="Marcador de gráfico 4">
            <a:extLst>
              <a:ext uri="{FF2B5EF4-FFF2-40B4-BE49-F238E27FC236}">
                <a16:creationId xmlns:a16="http://schemas.microsoft.com/office/drawing/2014/main" id="{0CABFB2C-905F-4A94-BBC0-7C32FA7695A4}"/>
              </a:ext>
            </a:extLst>
          </p:cNvPr>
          <p:cNvSpPr>
            <a:spLocks noGrp="1"/>
          </p:cNvSpPr>
          <p:nvPr>
            <p:ph type="chart" sz="quarter" idx="21" hasCustomPrompt="1"/>
          </p:nvPr>
        </p:nvSpPr>
        <p:spPr>
          <a:xfrm>
            <a:off x="5024062" y="1838324"/>
            <a:ext cx="6445625" cy="4181475"/>
          </a:xfrm>
        </p:spPr>
        <p:txBody>
          <a:bodyPr>
            <a:normAutofit/>
          </a:bodyPr>
          <a:lstStyle>
            <a:lvl1pPr marL="0" indent="0" algn="ctr">
              <a:buFontTx/>
              <a:buNone/>
              <a:defRPr lang="es-ES" sz="1400" kern="1200" dirty="0">
                <a:solidFill>
                  <a:schemeClr val="tx2"/>
                </a:solidFill>
                <a:latin typeface="Santander Text" panose="020B0504020201020104" pitchFamily="34" charset="0"/>
                <a:ea typeface="+mn-ea"/>
                <a:cs typeface="+mn-cs"/>
              </a:defRPr>
            </a:lvl1pPr>
          </a:lstStyle>
          <a:p>
            <a:r>
              <a:rPr lang="es-ES"/>
              <a:t>Inserte aquí su gráfico</a:t>
            </a:r>
          </a:p>
        </p:txBody>
      </p:sp>
      <p:sp>
        <p:nvSpPr>
          <p:cNvPr id="18" name="Freeform 5">
            <a:extLst>
              <a:ext uri="{FF2B5EF4-FFF2-40B4-BE49-F238E27FC236}">
                <a16:creationId xmlns:a16="http://schemas.microsoft.com/office/drawing/2014/main" id="{E8454A0C-553D-4F88-AC19-948A030E5489}"/>
              </a:ext>
            </a:extLst>
          </p:cNvPr>
          <p:cNvSpPr>
            <a:spLocks noEditPoints="1"/>
          </p:cNvSpPr>
          <p:nvPr userDrawn="1"/>
        </p:nvSpPr>
        <p:spPr bwMode="auto">
          <a:xfrm>
            <a:off x="832642" y="6262326"/>
            <a:ext cx="1171705" cy="206714"/>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2" name="CuadroTexto 1">
            <a:extLst>
              <a:ext uri="{FF2B5EF4-FFF2-40B4-BE49-F238E27FC236}">
                <a16:creationId xmlns:a16="http://schemas.microsoft.com/office/drawing/2014/main" id="{2B783107-2EA9-4866-BBCA-ADDE40007390}"/>
              </a:ext>
            </a:extLst>
          </p:cNvPr>
          <p:cNvSpPr txBox="1"/>
          <p:nvPr userDrawn="1"/>
        </p:nvSpPr>
        <p:spPr>
          <a:xfrm>
            <a:off x="10790567" y="6297497"/>
            <a:ext cx="677918" cy="246221"/>
          </a:xfrm>
          <a:prstGeom prst="rect">
            <a:avLst/>
          </a:prstGeom>
          <a:noFill/>
        </p:spPr>
        <p:txBody>
          <a:bodyPr wrap="square" rtlCol="0">
            <a:spAutoFit/>
          </a:bodyPr>
          <a:lstStyle/>
          <a:p>
            <a:pPr algn="r"/>
            <a:fld id="{0750DA0D-C991-4CAA-B66F-F848CC27A32C}" type="slidenum">
              <a:rPr lang="es-ES" sz="1000" smtClean="0">
                <a:solidFill>
                  <a:schemeClr val="bg1">
                    <a:lumMod val="65000"/>
                  </a:schemeClr>
                </a:solidFill>
              </a:rPr>
              <a:pPr algn="r"/>
              <a:t>‹#›</a:t>
            </a:fld>
            <a:endParaRPr lang="es-ES" sz="1000">
              <a:solidFill>
                <a:schemeClr val="bg1">
                  <a:lumMod val="65000"/>
                </a:schemeClr>
              </a:solidFill>
            </a:endParaRPr>
          </a:p>
        </p:txBody>
      </p:sp>
    </p:spTree>
    <p:extLst>
      <p:ext uri="{BB962C8B-B14F-4D97-AF65-F5344CB8AC3E}">
        <p14:creationId xmlns:p14="http://schemas.microsoft.com/office/powerpoint/2010/main" val="27532025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Cierre y contacto">
    <p:spTree>
      <p:nvGrpSpPr>
        <p:cNvPr id="1" name=""/>
        <p:cNvGrpSpPr/>
        <p:nvPr/>
      </p:nvGrpSpPr>
      <p:grpSpPr>
        <a:xfrm>
          <a:off x="0" y="0"/>
          <a:ext cx="0" cy="0"/>
          <a:chOff x="0" y="0"/>
          <a:chExt cx="0" cy="0"/>
        </a:xfrm>
      </p:grpSpPr>
      <p:sp>
        <p:nvSpPr>
          <p:cNvPr id="19" name="Forma libre: forma 18">
            <a:extLst>
              <a:ext uri="{FF2B5EF4-FFF2-40B4-BE49-F238E27FC236}">
                <a16:creationId xmlns:a16="http://schemas.microsoft.com/office/drawing/2014/main" id="{B61CF4CC-ED27-4967-A11A-B838DFD4D9A3}"/>
              </a:ext>
            </a:extLst>
          </p:cNvPr>
          <p:cNvSpPr/>
          <p:nvPr userDrawn="1"/>
        </p:nvSpPr>
        <p:spPr>
          <a:xfrm>
            <a:off x="0" y="5229922"/>
            <a:ext cx="12192000" cy="1628078"/>
          </a:xfrm>
          <a:custGeom>
            <a:avLst/>
            <a:gdLst>
              <a:gd name="connsiteX0" fmla="*/ 8943278 w 12192000"/>
              <a:gd name="connsiteY0" fmla="*/ 0 h 1628078"/>
              <a:gd name="connsiteX1" fmla="*/ 12192000 w 12192000"/>
              <a:gd name="connsiteY1" fmla="*/ 0 h 1628078"/>
              <a:gd name="connsiteX2" fmla="*/ 12192000 w 12192000"/>
              <a:gd name="connsiteY2" fmla="*/ 1628078 h 1628078"/>
              <a:gd name="connsiteX3" fmla="*/ 0 w 12192000"/>
              <a:gd name="connsiteY3" fmla="*/ 1628078 h 1628078"/>
              <a:gd name="connsiteX4" fmla="*/ 0 w 12192000"/>
              <a:gd name="connsiteY4" fmla="*/ 1226634 h 1628078"/>
              <a:gd name="connsiteX5" fmla="*/ 8943278 w 12192000"/>
              <a:gd name="connsiteY5" fmla="*/ 1226634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628078">
                <a:moveTo>
                  <a:pt x="8943278" y="0"/>
                </a:moveTo>
                <a:lnTo>
                  <a:pt x="12192000" y="0"/>
                </a:lnTo>
                <a:lnTo>
                  <a:pt x="12192000" y="1628078"/>
                </a:lnTo>
                <a:lnTo>
                  <a:pt x="0" y="1628078"/>
                </a:lnTo>
                <a:lnTo>
                  <a:pt x="0" y="1226634"/>
                </a:lnTo>
                <a:lnTo>
                  <a:pt x="8943278" y="1226634"/>
                </a:lnTo>
                <a:close/>
              </a:path>
            </a:pathLst>
          </a:cu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3" name="CuadroTexto 22">
            <a:extLst>
              <a:ext uri="{FF2B5EF4-FFF2-40B4-BE49-F238E27FC236}">
                <a16:creationId xmlns:a16="http://schemas.microsoft.com/office/drawing/2014/main" id="{B163354C-97AE-4FC8-BF01-B7FCA9B2C7C0}"/>
              </a:ext>
            </a:extLst>
          </p:cNvPr>
          <p:cNvSpPr txBox="1"/>
          <p:nvPr userDrawn="1"/>
        </p:nvSpPr>
        <p:spPr>
          <a:xfrm>
            <a:off x="719288" y="1945649"/>
            <a:ext cx="3365478" cy="1169551"/>
          </a:xfrm>
          <a:prstGeom prst="rect">
            <a:avLst/>
          </a:prstGeom>
          <a:noFill/>
        </p:spPr>
        <p:txBody>
          <a:bodyPr wrap="square" rtlCol="0">
            <a:spAutoFit/>
          </a:bodyPr>
          <a:lstStyle/>
          <a:p>
            <a:r>
              <a:rPr lang="es-ES" sz="1400" kern="1200">
                <a:solidFill>
                  <a:schemeClr val="tx2"/>
                </a:solidFill>
                <a:latin typeface="Santander Text" panose="020B0504020201020104" pitchFamily="34" charset="0"/>
                <a:ea typeface="+mn-ea"/>
                <a:cs typeface="+mn-cs"/>
              </a:rPr>
              <a:t>Nuestra misión es contribuir al progreso de las personas y de las empresas.</a:t>
            </a:r>
          </a:p>
          <a:p>
            <a:endParaRPr lang="es-ES" sz="1400" kern="1200">
              <a:solidFill>
                <a:schemeClr val="tx2"/>
              </a:solidFill>
              <a:latin typeface="Santander Text" panose="020B0504020201020104" pitchFamily="34" charset="0"/>
              <a:ea typeface="+mn-ea"/>
              <a:cs typeface="+mn-cs"/>
            </a:endParaRPr>
          </a:p>
          <a:p>
            <a:r>
              <a:rPr lang="es-ES" sz="1400" kern="1200">
                <a:solidFill>
                  <a:schemeClr val="tx2"/>
                </a:solidFill>
                <a:latin typeface="Santander Text" panose="020B0504020201020104" pitchFamily="34" charset="0"/>
                <a:ea typeface="+mn-ea"/>
                <a:cs typeface="+mn-cs"/>
              </a:rPr>
              <a:t>Nuestra cultura se basa en la creencia de que todo lo que hacemos debe ser:</a:t>
            </a:r>
          </a:p>
        </p:txBody>
      </p:sp>
      <p:pic>
        <p:nvPicPr>
          <p:cNvPr id="25" name="Gráfico 24">
            <a:extLst>
              <a:ext uri="{FF2B5EF4-FFF2-40B4-BE49-F238E27FC236}">
                <a16:creationId xmlns:a16="http://schemas.microsoft.com/office/drawing/2014/main" id="{B0E05CB1-1BF0-48C0-9240-26433BD0868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9150" y="3461863"/>
            <a:ext cx="2790825" cy="202298"/>
          </a:xfrm>
          <a:prstGeom prst="rect">
            <a:avLst/>
          </a:prstGeom>
        </p:spPr>
      </p:pic>
      <p:sp>
        <p:nvSpPr>
          <p:cNvPr id="28" name="CuadroTexto 27">
            <a:extLst>
              <a:ext uri="{FF2B5EF4-FFF2-40B4-BE49-F238E27FC236}">
                <a16:creationId xmlns:a16="http://schemas.microsoft.com/office/drawing/2014/main" id="{68E35268-345F-47C7-ADB2-CE92421E8EED}"/>
              </a:ext>
            </a:extLst>
          </p:cNvPr>
          <p:cNvSpPr txBox="1"/>
          <p:nvPr userDrawn="1"/>
        </p:nvSpPr>
        <p:spPr>
          <a:xfrm>
            <a:off x="721506" y="628193"/>
            <a:ext cx="3365478" cy="769441"/>
          </a:xfrm>
          <a:prstGeom prst="rect">
            <a:avLst/>
          </a:prstGeom>
          <a:noFill/>
        </p:spPr>
        <p:txBody>
          <a:bodyPr wrap="square" rtlCol="0">
            <a:spAutoFit/>
          </a:bodyPr>
          <a:lstStyle/>
          <a:p>
            <a:r>
              <a:rPr lang="es-ES" sz="4400" kern="1200">
                <a:solidFill>
                  <a:schemeClr val="accent1"/>
                </a:solidFill>
                <a:latin typeface="Santander Headline" panose="020B0504020201020104" pitchFamily="34" charset="0"/>
                <a:ea typeface="+mn-ea"/>
                <a:cs typeface="+mn-cs"/>
              </a:rPr>
              <a:t>Gracias.</a:t>
            </a:r>
          </a:p>
        </p:txBody>
      </p:sp>
      <p:sp>
        <p:nvSpPr>
          <p:cNvPr id="31" name="Forma libre: forma 30">
            <a:extLst>
              <a:ext uri="{FF2B5EF4-FFF2-40B4-BE49-F238E27FC236}">
                <a16:creationId xmlns:a16="http://schemas.microsoft.com/office/drawing/2014/main" id="{073BDF73-2FC7-4E8C-B95B-B68B9F5D3BE9}"/>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p>
        </p:txBody>
      </p:sp>
      <p:sp>
        <p:nvSpPr>
          <p:cNvPr id="27" name="Freeform 5">
            <a:extLst>
              <a:ext uri="{FF2B5EF4-FFF2-40B4-BE49-F238E27FC236}">
                <a16:creationId xmlns:a16="http://schemas.microsoft.com/office/drawing/2014/main" id="{E9E46F4D-C8A9-422F-BD4D-29C8BEED3017}"/>
              </a:ext>
            </a:extLst>
          </p:cNvPr>
          <p:cNvSpPr>
            <a:spLocks noEditPoints="1"/>
          </p:cNvSpPr>
          <p:nvPr userDrawn="1"/>
        </p:nvSpPr>
        <p:spPr bwMode="auto">
          <a:xfrm>
            <a:off x="822325" y="5727700"/>
            <a:ext cx="1898650" cy="334963"/>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Tree>
    <p:extLst>
      <p:ext uri="{BB962C8B-B14F-4D97-AF65-F5344CB8AC3E}">
        <p14:creationId xmlns:p14="http://schemas.microsoft.com/office/powerpoint/2010/main" val="28984469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1283">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78D3721-D813-5FA5-3A94-A041F0992906}"/>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PE"/>
          </a:p>
        </p:txBody>
      </p:sp>
      <p:sp>
        <p:nvSpPr>
          <p:cNvPr id="3" name="Subtítulo 2">
            <a:extLst>
              <a:ext uri="{FF2B5EF4-FFF2-40B4-BE49-F238E27FC236}">
                <a16:creationId xmlns:a16="http://schemas.microsoft.com/office/drawing/2014/main" id="{4D09083D-B37B-2A0E-B57D-20AB446FCCA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PE"/>
          </a:p>
        </p:txBody>
      </p:sp>
      <p:sp>
        <p:nvSpPr>
          <p:cNvPr id="4" name="Marcador de fecha 3">
            <a:extLst>
              <a:ext uri="{FF2B5EF4-FFF2-40B4-BE49-F238E27FC236}">
                <a16:creationId xmlns:a16="http://schemas.microsoft.com/office/drawing/2014/main" id="{D1F9A169-70D1-E366-6AD2-BB1A59CCE219}"/>
              </a:ext>
            </a:extLst>
          </p:cNvPr>
          <p:cNvSpPr>
            <a:spLocks noGrp="1"/>
          </p:cNvSpPr>
          <p:nvPr>
            <p:ph type="dt" sz="half" idx="10"/>
          </p:nvPr>
        </p:nvSpPr>
        <p:spPr/>
        <p:txBody>
          <a:bodyPr/>
          <a:lstStyle/>
          <a:p>
            <a:fld id="{C695F5F3-0EE6-479F-88F9-8A2F0FA95D6A}" type="datetimeFigureOut">
              <a:rPr lang="es-PE" smtClean="0"/>
              <a:t>29/01/2026</a:t>
            </a:fld>
            <a:endParaRPr lang="es-PE"/>
          </a:p>
        </p:txBody>
      </p:sp>
      <p:sp>
        <p:nvSpPr>
          <p:cNvPr id="5" name="Marcador de pie de página 4">
            <a:extLst>
              <a:ext uri="{FF2B5EF4-FFF2-40B4-BE49-F238E27FC236}">
                <a16:creationId xmlns:a16="http://schemas.microsoft.com/office/drawing/2014/main" id="{E3F6B986-173D-E92B-E290-B5844E2088AD}"/>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1BEF0F08-E78B-7E06-6E04-7A859560498F}"/>
              </a:ext>
            </a:extLst>
          </p:cNvPr>
          <p:cNvSpPr>
            <a:spLocks noGrp="1"/>
          </p:cNvSpPr>
          <p:nvPr>
            <p:ph type="sldNum" sz="quarter" idx="12"/>
          </p:nvPr>
        </p:nvSpPr>
        <p:spPr/>
        <p:txBody>
          <a:bodyPr/>
          <a:lstStyle/>
          <a:p>
            <a:fld id="{E4B1BF1D-F9C7-4B0A-84BE-F8CBD47D4C31}" type="slidenum">
              <a:rPr lang="es-PE" smtClean="0"/>
              <a:t>‹#›</a:t>
            </a:fld>
            <a:endParaRPr lang="es-PE"/>
          </a:p>
        </p:txBody>
      </p:sp>
    </p:spTree>
    <p:extLst>
      <p:ext uri="{BB962C8B-B14F-4D97-AF65-F5344CB8AC3E}">
        <p14:creationId xmlns:p14="http://schemas.microsoft.com/office/powerpoint/2010/main" val="3986054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4_Cover 1">
    <p:spTree>
      <p:nvGrpSpPr>
        <p:cNvPr id="1" name=""/>
        <p:cNvGrpSpPr/>
        <p:nvPr/>
      </p:nvGrpSpPr>
      <p:grpSpPr>
        <a:xfrm>
          <a:off x="0" y="0"/>
          <a:ext cx="0" cy="0"/>
          <a:chOff x="0" y="0"/>
          <a:chExt cx="0" cy="0"/>
        </a:xfrm>
      </p:grpSpPr>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pic>
        <p:nvPicPr>
          <p:cNvPr id="10" name="Imagem 9">
            <a:extLst>
              <a:ext uri="{FF2B5EF4-FFF2-40B4-BE49-F238E27FC236}">
                <a16:creationId xmlns:a16="http://schemas.microsoft.com/office/drawing/2014/main" id="{2E675306-838F-254D-8AED-906FC51B4184}"/>
              </a:ext>
            </a:extLst>
          </p:cNvPr>
          <p:cNvPicPr>
            <a:picLocks noChangeAspect="1"/>
          </p:cNvPicPr>
          <p:nvPr userDrawn="1"/>
        </p:nvPicPr>
        <p:blipFill>
          <a:blip r:embed="rId4" cstate="email">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rcRect/>
          <a:stretch/>
        </p:blipFill>
        <p:spPr>
          <a:xfrm>
            <a:off x="3622" y="-1"/>
            <a:ext cx="12184757" cy="6858001"/>
          </a:xfrm>
          <a:prstGeom prst="rect">
            <a:avLst/>
          </a:prstGeom>
        </p:spPr>
      </p:pic>
      <p:sp>
        <p:nvSpPr>
          <p:cNvPr id="6" name="Retângulo 5">
            <a:extLst>
              <a:ext uri="{FF2B5EF4-FFF2-40B4-BE49-F238E27FC236}">
                <a16:creationId xmlns:a16="http://schemas.microsoft.com/office/drawing/2014/main" id="{F4592669-34F5-0148-A320-7F224AA80E3B}"/>
              </a:ext>
            </a:extLst>
          </p:cNvPr>
          <p:cNvSpPr/>
          <p:nvPr userDrawn="1"/>
        </p:nvSpPr>
        <p:spPr>
          <a:xfrm>
            <a:off x="0" y="0"/>
            <a:ext cx="12192000" cy="6856045"/>
          </a:xfrm>
          <a:prstGeom prst="rect">
            <a:avLst/>
          </a:prstGeom>
          <a:gradFill flip="none" rotWithShape="1">
            <a:gsLst>
              <a:gs pos="0">
                <a:schemeClr val="bg1"/>
              </a:gs>
              <a:gs pos="100000">
                <a:schemeClr val="accent4">
                  <a:lumMod val="60000"/>
                  <a:lumOff val="40000"/>
                  <a:alpha val="36608"/>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76546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6_Index">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spTree>
    <p:extLst>
      <p:ext uri="{BB962C8B-B14F-4D97-AF65-F5344CB8AC3E}">
        <p14:creationId xmlns:p14="http://schemas.microsoft.com/office/powerpoint/2010/main" val="12217909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Layout w/ subtitle">
    <p:spTree>
      <p:nvGrpSpPr>
        <p:cNvPr id="1" name=""/>
        <p:cNvGrpSpPr/>
        <p:nvPr/>
      </p:nvGrpSpPr>
      <p:grpSpPr>
        <a:xfrm>
          <a:off x="0" y="0"/>
          <a:ext cx="0" cy="0"/>
          <a:chOff x="0" y="0"/>
          <a:chExt cx="0" cy="0"/>
        </a:xfrm>
      </p:grpSpPr>
      <p:sp>
        <p:nvSpPr>
          <p:cNvPr id="13"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2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9"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sp>
        <p:nvSpPr>
          <p:cNvPr id="11" name="Content Placeholder 3"/>
          <p:cNvSpPr>
            <a:spLocks noGrp="1"/>
          </p:cNvSpPr>
          <p:nvPr>
            <p:ph sz="quarter" idx="15" hasCustomPrompt="1"/>
          </p:nvPr>
        </p:nvSpPr>
        <p:spPr>
          <a:xfrm>
            <a:off x="550862" y="1240519"/>
            <a:ext cx="11090275"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table title</a:t>
            </a:r>
          </a:p>
        </p:txBody>
      </p:sp>
    </p:spTree>
    <p:extLst>
      <p:ext uri="{BB962C8B-B14F-4D97-AF65-F5344CB8AC3E}">
        <p14:creationId xmlns:p14="http://schemas.microsoft.com/office/powerpoint/2010/main" val="39028537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Layout wo/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72C7637-E198-4E44-B59C-3194989054AC}"/>
              </a:ext>
            </a:extLst>
          </p:cNvPr>
          <p:cNvSpPr>
            <a:spLocks noGrp="1"/>
          </p:cNvSpPr>
          <p:nvPr>
            <p:ph type="body" sz="quarter" idx="13"/>
          </p:nvPr>
        </p:nvSpPr>
        <p:spPr>
          <a:xfrm>
            <a:off x="550863" y="1628774"/>
            <a:ext cx="11090275" cy="4500564"/>
          </a:xfrm>
        </p:spPr>
        <p:txBody>
          <a:bodyPr tIns="0"/>
          <a:lstStyle>
            <a:lvl1pPr>
              <a:lnSpc>
                <a:spcPct val="100000"/>
              </a:lnSpc>
              <a:spcAft>
                <a:spcPts val="600"/>
              </a:spcAft>
              <a:defRPr sz="1600"/>
            </a:lvl1pPr>
            <a:lvl2pPr>
              <a:lnSpc>
                <a:spcPct val="100000"/>
              </a:lnSpc>
              <a:spcAft>
                <a:spcPts val="600"/>
              </a:spcAft>
              <a:defRPr sz="1600"/>
            </a:lvl2pPr>
            <a:lvl3pPr>
              <a:lnSpc>
                <a:spcPct val="100000"/>
              </a:lnSpc>
              <a:spcAft>
                <a:spcPts val="600"/>
              </a:spcAft>
              <a:defRPr sz="1600"/>
            </a:lvl3pPr>
            <a:lvl4pPr>
              <a:lnSpc>
                <a:spcPct val="100000"/>
              </a:lnSpc>
              <a:spcAft>
                <a:spcPts val="600"/>
              </a:spcAft>
              <a:defRPr sz="1600"/>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3"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14"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p:spPr>
        <p:txBody>
          <a:bodyPr anchor="b" anchorCtr="0"/>
          <a:lstStyle>
            <a:lvl1pPr>
              <a:defRPr sz="1000"/>
            </a:lvl1pPr>
          </a:lstStyle>
          <a:p>
            <a:pPr lvl="0"/>
            <a:r>
              <a:rPr lang="en-US" noProof="0"/>
              <a:t>Click to add footnotes</a:t>
            </a:r>
          </a:p>
        </p:txBody>
      </p:sp>
      <p:sp>
        <p:nvSpPr>
          <p:cNvPr id="2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8"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p:spPr>
        <p:txBody>
          <a:bodyPr tIns="36000" anchor="t" anchorCtr="0"/>
          <a:lstStyle>
            <a:lvl1pPr>
              <a:defRPr sz="1000"/>
            </a:lvl1pPr>
          </a:lstStyle>
          <a:p>
            <a:pPr lvl="0"/>
            <a:r>
              <a:rPr lang="en-US" noProof="0"/>
              <a:t>Click to add source</a:t>
            </a:r>
          </a:p>
        </p:txBody>
      </p:sp>
      <p:sp>
        <p:nvSpPr>
          <p:cNvPr id="9"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spTree>
    <p:extLst>
      <p:ext uri="{BB962C8B-B14F-4D97-AF65-F5344CB8AC3E}">
        <p14:creationId xmlns:p14="http://schemas.microsoft.com/office/powerpoint/2010/main" val="16552436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0_1/2">
    <p:spTree>
      <p:nvGrpSpPr>
        <p:cNvPr id="1" name=""/>
        <p:cNvGrpSpPr/>
        <p:nvPr/>
      </p:nvGrpSpPr>
      <p:grpSpPr>
        <a:xfrm>
          <a:off x="0" y="0"/>
          <a:ext cx="0" cy="0"/>
          <a:chOff x="0" y="0"/>
          <a:chExt cx="0" cy="0"/>
        </a:xfrm>
      </p:grpSpPr>
      <p:sp>
        <p:nvSpPr>
          <p:cNvPr id="2"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3" name="CuadroTexto 5">
            <a:extLst>
              <a:ext uri="{FF2B5EF4-FFF2-40B4-BE49-F238E27FC236}">
                <a16:creationId xmlns:a16="http://schemas.microsoft.com/office/drawing/2014/main" id="{222FF7D7-7B77-4EEC-8205-A031C02EC565}"/>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pic>
        <p:nvPicPr>
          <p:cNvPr id="4"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5" y="6467037"/>
            <a:ext cx="1223683" cy="214585"/>
          </a:xfrm>
          <a:prstGeom prst="rect">
            <a:avLst/>
          </a:prstGeom>
        </p:spPr>
      </p:pic>
      <p:sp>
        <p:nvSpPr>
          <p:cNvPr id="5"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p:spPr>
        <p:txBody>
          <a:bodyPr anchor="b" anchorCtr="0"/>
          <a:lstStyle>
            <a:lvl1pPr>
              <a:defRPr sz="1000"/>
            </a:lvl1pPr>
          </a:lstStyle>
          <a:p>
            <a:pPr lvl="0"/>
            <a:r>
              <a:rPr lang="en-US" noProof="0"/>
              <a:t>Click to add footnotes</a:t>
            </a:r>
          </a:p>
        </p:txBody>
      </p:sp>
      <p:sp>
        <p:nvSpPr>
          <p:cNvPr id="7" name="Rectangle 6">
            <a:extLst>
              <a:ext uri="{FF2B5EF4-FFF2-40B4-BE49-F238E27FC236}">
                <a16:creationId xmlns:a16="http://schemas.microsoft.com/office/drawing/2014/main" id="{974A453A-D419-44F6-8B0F-84C43FCFA567}"/>
              </a:ext>
            </a:extLst>
          </p:cNvPr>
          <p:cNvSpPr/>
          <p:nvPr userDrawn="1"/>
        </p:nvSpPr>
        <p:spPr>
          <a:xfrm>
            <a:off x="6098960" y="1196974"/>
            <a:ext cx="5555824" cy="486092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3"/>
          <p:cNvSpPr>
            <a:spLocks noGrp="1"/>
          </p:cNvSpPr>
          <p:nvPr>
            <p:ph sz="quarter" idx="15" hasCustomPrompt="1"/>
          </p:nvPr>
        </p:nvSpPr>
        <p:spPr>
          <a:xfrm>
            <a:off x="550862" y="1240519"/>
            <a:ext cx="5221219"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9" name="Content Placeholder 3"/>
          <p:cNvSpPr>
            <a:spLocks noGrp="1"/>
          </p:cNvSpPr>
          <p:nvPr>
            <p:ph sz="quarter" idx="16" hasCustomPrompt="1"/>
          </p:nvPr>
        </p:nvSpPr>
        <p:spPr>
          <a:xfrm>
            <a:off x="6381750" y="1240518"/>
            <a:ext cx="5101410"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10" name="Content Placeholder 2"/>
          <p:cNvSpPr>
            <a:spLocks noGrp="1"/>
          </p:cNvSpPr>
          <p:nvPr>
            <p:ph sz="quarter" idx="17"/>
          </p:nvPr>
        </p:nvSpPr>
        <p:spPr>
          <a:xfrm>
            <a:off x="6381532" y="1628775"/>
            <a:ext cx="5115144" cy="4176713"/>
          </a:xfrm>
        </p:spPr>
        <p:txBody>
          <a:bodyPr anchor="ctr"/>
          <a:lstStyle>
            <a:lvl1pPr>
              <a:lnSpc>
                <a:spcPct val="100000"/>
              </a:lnSpc>
              <a:spcAft>
                <a:spcPts val="600"/>
              </a:spcAft>
              <a:defRPr/>
            </a:lvl1pPr>
            <a:lvl2pPr>
              <a:lnSpc>
                <a:spcPct val="100000"/>
              </a:lnSpc>
              <a:spcAft>
                <a:spcPts val="600"/>
              </a:spcAft>
              <a:defRPr/>
            </a:lvl2pPr>
            <a:lvl3pPr>
              <a:lnSpc>
                <a:spcPct val="100000"/>
              </a:lnSpc>
              <a:spcAft>
                <a:spcPts val="600"/>
              </a:spcAft>
              <a:defRPr/>
            </a:lvl3pPr>
            <a:lvl4pPr>
              <a:lnSpc>
                <a:spcPct val="100000"/>
              </a:lnSpc>
              <a:spcAft>
                <a:spcPts val="600"/>
              </a:spcAft>
              <a:defRPr/>
            </a:lvl4pPr>
            <a:lvl5pPr>
              <a:lnSpc>
                <a:spcPct val="100000"/>
              </a:lnSpc>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1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1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cxnSp>
        <p:nvCxnSpPr>
          <p:cNvPr id="13" name="Straight Connector 12">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7BA9BCE-A3E8-411D-907B-B79FCB4A37A3}"/>
              </a:ext>
            </a:extLst>
          </p:cNvPr>
          <p:cNvCxnSpPr/>
          <p:nvPr userDrawn="1"/>
        </p:nvCxnSpPr>
        <p:spPr>
          <a:xfrm>
            <a:off x="550863" y="642140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p:spPr>
        <p:txBody>
          <a:bodyPr tIns="36000" anchor="t" anchorCtr="0"/>
          <a:lstStyle>
            <a:lvl1pPr>
              <a:defRPr sz="1000"/>
            </a:lvl1pPr>
          </a:lstStyle>
          <a:p>
            <a:pPr lvl="0"/>
            <a:r>
              <a:rPr lang="en-US" noProof="0"/>
              <a:t>Click to add source</a:t>
            </a:r>
          </a:p>
        </p:txBody>
      </p:sp>
    </p:spTree>
    <p:extLst>
      <p:ext uri="{BB962C8B-B14F-4D97-AF65-F5344CB8AC3E}">
        <p14:creationId xmlns:p14="http://schemas.microsoft.com/office/powerpoint/2010/main" val="6166157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1_1/3">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74A453A-D419-44F6-8B0F-84C43FCFA567}"/>
              </a:ext>
            </a:extLst>
          </p:cNvPr>
          <p:cNvSpPr/>
          <p:nvPr userDrawn="1"/>
        </p:nvSpPr>
        <p:spPr>
          <a:xfrm>
            <a:off x="7396692" y="1196974"/>
            <a:ext cx="4258091" cy="486092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3" name="CuadroTexto 5">
            <a:extLst>
              <a:ext uri="{FF2B5EF4-FFF2-40B4-BE49-F238E27FC236}">
                <a16:creationId xmlns:a16="http://schemas.microsoft.com/office/drawing/2014/main" id="{222FF7D7-7B77-4EEC-8205-A031C02EC565}"/>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pic>
        <p:nvPicPr>
          <p:cNvPr id="4"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5" y="6467037"/>
            <a:ext cx="1223683" cy="214585"/>
          </a:xfrm>
          <a:prstGeom prst="rect">
            <a:avLst/>
          </a:prstGeom>
        </p:spPr>
      </p:pic>
      <p:sp>
        <p:nvSpPr>
          <p:cNvPr id="5"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p:spPr>
        <p:txBody>
          <a:bodyPr anchor="b" anchorCtr="0"/>
          <a:lstStyle>
            <a:lvl1pPr>
              <a:defRPr sz="1000"/>
            </a:lvl1pPr>
          </a:lstStyle>
          <a:p>
            <a:pPr lvl="0"/>
            <a:r>
              <a:rPr lang="en-US" noProof="0"/>
              <a:t>Click to add footnotes</a:t>
            </a:r>
          </a:p>
        </p:txBody>
      </p:sp>
      <p:sp>
        <p:nvSpPr>
          <p:cNvPr id="1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1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cxnSp>
        <p:nvCxnSpPr>
          <p:cNvPr id="13" name="Straight Connector 12">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7BA9BCE-A3E8-411D-907B-B79FCB4A37A3}"/>
              </a:ext>
            </a:extLst>
          </p:cNvPr>
          <p:cNvCxnSpPr/>
          <p:nvPr userDrawn="1"/>
        </p:nvCxnSpPr>
        <p:spPr>
          <a:xfrm>
            <a:off x="550863" y="642140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p:spPr>
        <p:txBody>
          <a:bodyPr tIns="36000" anchor="t" anchorCtr="0"/>
          <a:lstStyle>
            <a:lvl1pPr>
              <a:defRPr sz="1000"/>
            </a:lvl1pPr>
          </a:lstStyle>
          <a:p>
            <a:pPr lvl="0"/>
            <a:r>
              <a:rPr lang="en-US" noProof="0"/>
              <a:t>Click to add source</a:t>
            </a:r>
          </a:p>
        </p:txBody>
      </p:sp>
      <p:sp>
        <p:nvSpPr>
          <p:cNvPr id="17" name="Content Placeholder 3"/>
          <p:cNvSpPr>
            <a:spLocks noGrp="1"/>
          </p:cNvSpPr>
          <p:nvPr>
            <p:ph sz="quarter" idx="15" hasCustomPrompt="1"/>
          </p:nvPr>
        </p:nvSpPr>
        <p:spPr>
          <a:xfrm>
            <a:off x="550862" y="1240519"/>
            <a:ext cx="6453620"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18" name="Content Placeholder 3"/>
          <p:cNvSpPr>
            <a:spLocks noGrp="1"/>
          </p:cNvSpPr>
          <p:nvPr>
            <p:ph sz="quarter" idx="16" hasCustomPrompt="1"/>
          </p:nvPr>
        </p:nvSpPr>
        <p:spPr>
          <a:xfrm>
            <a:off x="7639050" y="1240518"/>
            <a:ext cx="3766088"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19" name="Content Placeholder 2"/>
          <p:cNvSpPr>
            <a:spLocks noGrp="1"/>
          </p:cNvSpPr>
          <p:nvPr>
            <p:ph sz="quarter" idx="17"/>
          </p:nvPr>
        </p:nvSpPr>
        <p:spPr>
          <a:xfrm>
            <a:off x="7642218" y="1628775"/>
            <a:ext cx="3762920" cy="4176713"/>
          </a:xfrm>
        </p:spPr>
        <p:txBody>
          <a:bodyPr anchor="ctr"/>
          <a:lstStyle>
            <a:lvl1pPr>
              <a:lnSpc>
                <a:spcPct val="100000"/>
              </a:lnSpc>
              <a:spcAft>
                <a:spcPts val="600"/>
              </a:spcAft>
              <a:defRPr/>
            </a:lvl1pPr>
            <a:lvl2pPr>
              <a:lnSpc>
                <a:spcPct val="100000"/>
              </a:lnSpc>
              <a:spcAft>
                <a:spcPts val="600"/>
              </a:spcAft>
              <a:defRPr/>
            </a:lvl2pPr>
            <a:lvl3pPr>
              <a:lnSpc>
                <a:spcPct val="100000"/>
              </a:lnSpc>
              <a:spcAft>
                <a:spcPts val="600"/>
              </a:spcAft>
              <a:defRPr/>
            </a:lvl3pPr>
            <a:lvl4pPr>
              <a:lnSpc>
                <a:spcPct val="100000"/>
              </a:lnSpc>
              <a:spcAft>
                <a:spcPts val="600"/>
              </a:spcAft>
              <a:defRPr/>
            </a:lvl4pPr>
            <a:lvl5pPr>
              <a:lnSpc>
                <a:spcPct val="100000"/>
              </a:lnSpc>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Tree>
    <p:extLst>
      <p:ext uri="{BB962C8B-B14F-4D97-AF65-F5344CB8AC3E}">
        <p14:creationId xmlns:p14="http://schemas.microsoft.com/office/powerpoint/2010/main" val="1799802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4_Cover 1">
    <p:spTree>
      <p:nvGrpSpPr>
        <p:cNvPr id="1" name=""/>
        <p:cNvGrpSpPr/>
        <p:nvPr/>
      </p:nvGrpSpPr>
      <p:grpSpPr>
        <a:xfrm>
          <a:off x="0" y="0"/>
          <a:ext cx="0" cy="0"/>
          <a:chOff x="0" y="0"/>
          <a:chExt cx="0" cy="0"/>
        </a:xfrm>
      </p:grpSpPr>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pic>
        <p:nvPicPr>
          <p:cNvPr id="10" name="Imagem 9">
            <a:extLst>
              <a:ext uri="{FF2B5EF4-FFF2-40B4-BE49-F238E27FC236}">
                <a16:creationId xmlns:a16="http://schemas.microsoft.com/office/drawing/2014/main" id="{2E675306-838F-254D-8AED-906FC51B4184}"/>
              </a:ext>
            </a:extLst>
          </p:cNvPr>
          <p:cNvPicPr>
            <a:picLocks noChangeAspect="1"/>
          </p:cNvPicPr>
          <p:nvPr userDrawn="1"/>
        </p:nvPicPr>
        <p:blipFill>
          <a:blip r:embed="rId4" cstate="email">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rcRect/>
          <a:stretch/>
        </p:blipFill>
        <p:spPr>
          <a:xfrm>
            <a:off x="3622" y="-1"/>
            <a:ext cx="12184757" cy="6858001"/>
          </a:xfrm>
          <a:prstGeom prst="rect">
            <a:avLst/>
          </a:prstGeom>
        </p:spPr>
      </p:pic>
      <p:sp>
        <p:nvSpPr>
          <p:cNvPr id="6" name="Retângulo 5">
            <a:extLst>
              <a:ext uri="{FF2B5EF4-FFF2-40B4-BE49-F238E27FC236}">
                <a16:creationId xmlns:a16="http://schemas.microsoft.com/office/drawing/2014/main" id="{F4592669-34F5-0148-A320-7F224AA80E3B}"/>
              </a:ext>
            </a:extLst>
          </p:cNvPr>
          <p:cNvSpPr/>
          <p:nvPr userDrawn="1"/>
        </p:nvSpPr>
        <p:spPr>
          <a:xfrm>
            <a:off x="0" y="0"/>
            <a:ext cx="12192000" cy="6856045"/>
          </a:xfrm>
          <a:prstGeom prst="rect">
            <a:avLst/>
          </a:prstGeom>
          <a:gradFill flip="none" rotWithShape="1">
            <a:gsLst>
              <a:gs pos="0">
                <a:schemeClr val="bg1"/>
              </a:gs>
              <a:gs pos="100000">
                <a:schemeClr val="accent4">
                  <a:lumMod val="60000"/>
                  <a:lumOff val="40000"/>
                  <a:alpha val="36608"/>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4697334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2_1/4">
    <p:spTree>
      <p:nvGrpSpPr>
        <p:cNvPr id="1" name=""/>
        <p:cNvGrpSpPr/>
        <p:nvPr/>
      </p:nvGrpSpPr>
      <p:grpSpPr>
        <a:xfrm>
          <a:off x="0" y="0"/>
          <a:ext cx="0" cy="0"/>
          <a:chOff x="0" y="0"/>
          <a:chExt cx="0" cy="0"/>
        </a:xfrm>
      </p:grpSpPr>
      <p:sp>
        <p:nvSpPr>
          <p:cNvPr id="2"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3" name="CuadroTexto 5">
            <a:extLst>
              <a:ext uri="{FF2B5EF4-FFF2-40B4-BE49-F238E27FC236}">
                <a16:creationId xmlns:a16="http://schemas.microsoft.com/office/drawing/2014/main" id="{222FF7D7-7B77-4EEC-8205-A031C02EC565}"/>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pic>
        <p:nvPicPr>
          <p:cNvPr id="4"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5" y="6467037"/>
            <a:ext cx="1223683" cy="214585"/>
          </a:xfrm>
          <a:prstGeom prst="rect">
            <a:avLst/>
          </a:prstGeom>
        </p:spPr>
      </p:pic>
      <p:sp>
        <p:nvSpPr>
          <p:cNvPr id="5"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p:spPr>
        <p:txBody>
          <a:bodyPr anchor="b" anchorCtr="0"/>
          <a:lstStyle>
            <a:lvl1pPr>
              <a:defRPr sz="1000"/>
            </a:lvl1pPr>
          </a:lstStyle>
          <a:p>
            <a:pPr lvl="0"/>
            <a:r>
              <a:rPr lang="en-US" noProof="0"/>
              <a:t>Click to add footnotes</a:t>
            </a:r>
          </a:p>
        </p:txBody>
      </p:sp>
      <p:sp>
        <p:nvSpPr>
          <p:cNvPr id="1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1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cxnSp>
        <p:nvCxnSpPr>
          <p:cNvPr id="13" name="Straight Connector 12">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7BA9BCE-A3E8-411D-907B-B79FCB4A37A3}"/>
              </a:ext>
            </a:extLst>
          </p:cNvPr>
          <p:cNvCxnSpPr/>
          <p:nvPr userDrawn="1"/>
        </p:nvCxnSpPr>
        <p:spPr>
          <a:xfrm>
            <a:off x="550863" y="6421143"/>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p:spPr>
        <p:txBody>
          <a:bodyPr tIns="36000" anchor="t" anchorCtr="0"/>
          <a:lstStyle>
            <a:lvl1pPr>
              <a:defRPr sz="1000"/>
            </a:lvl1pPr>
          </a:lstStyle>
          <a:p>
            <a:pPr lvl="0"/>
            <a:r>
              <a:rPr lang="en-US" noProof="0"/>
              <a:t>Click to add source</a:t>
            </a:r>
          </a:p>
        </p:txBody>
      </p:sp>
      <p:sp>
        <p:nvSpPr>
          <p:cNvPr id="20" name="Rectangle 19">
            <a:extLst>
              <a:ext uri="{FF2B5EF4-FFF2-40B4-BE49-F238E27FC236}">
                <a16:creationId xmlns:a16="http://schemas.microsoft.com/office/drawing/2014/main" id="{974A453A-D419-44F6-8B0F-84C43FCFA567}"/>
              </a:ext>
            </a:extLst>
          </p:cNvPr>
          <p:cNvSpPr/>
          <p:nvPr userDrawn="1"/>
        </p:nvSpPr>
        <p:spPr>
          <a:xfrm>
            <a:off x="8780016" y="1196974"/>
            <a:ext cx="2857012" cy="486092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Content Placeholder 3"/>
          <p:cNvSpPr>
            <a:spLocks noGrp="1"/>
          </p:cNvSpPr>
          <p:nvPr>
            <p:ph sz="quarter" idx="15" hasCustomPrompt="1"/>
          </p:nvPr>
        </p:nvSpPr>
        <p:spPr>
          <a:xfrm>
            <a:off x="550862" y="1240519"/>
            <a:ext cx="7937786"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22" name="Content Placeholder 3"/>
          <p:cNvSpPr>
            <a:spLocks noGrp="1"/>
          </p:cNvSpPr>
          <p:nvPr>
            <p:ph sz="quarter" idx="16" hasCustomPrompt="1"/>
          </p:nvPr>
        </p:nvSpPr>
        <p:spPr>
          <a:xfrm>
            <a:off x="9039225" y="1240518"/>
            <a:ext cx="2438400"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23" name="Content Placeholder 2"/>
          <p:cNvSpPr>
            <a:spLocks noGrp="1"/>
          </p:cNvSpPr>
          <p:nvPr>
            <p:ph sz="quarter" idx="17"/>
          </p:nvPr>
        </p:nvSpPr>
        <p:spPr>
          <a:xfrm>
            <a:off x="9038484" y="1628775"/>
            <a:ext cx="2439141" cy="4176713"/>
          </a:xfrm>
        </p:spPr>
        <p:txBody>
          <a:bodyPr anchor="ctr"/>
          <a:lstStyle>
            <a:lvl1pPr>
              <a:lnSpc>
                <a:spcPct val="100000"/>
              </a:lnSpc>
              <a:spcAft>
                <a:spcPts val="600"/>
              </a:spcAft>
              <a:defRPr/>
            </a:lvl1pPr>
            <a:lvl2pPr>
              <a:lnSpc>
                <a:spcPct val="100000"/>
              </a:lnSpc>
              <a:spcAft>
                <a:spcPts val="600"/>
              </a:spcAft>
              <a:defRPr/>
            </a:lvl2pPr>
            <a:lvl3pPr>
              <a:lnSpc>
                <a:spcPct val="100000"/>
              </a:lnSpc>
              <a:spcAft>
                <a:spcPts val="600"/>
              </a:spcAft>
              <a:defRPr/>
            </a:lvl3pPr>
            <a:lvl4pPr>
              <a:lnSpc>
                <a:spcPct val="100000"/>
              </a:lnSpc>
              <a:spcAft>
                <a:spcPts val="600"/>
              </a:spcAft>
              <a:defRPr/>
            </a:lvl4pPr>
            <a:lvl5pPr>
              <a:lnSpc>
                <a:spcPct val="100000"/>
              </a:lnSpc>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Tree>
    <p:extLst>
      <p:ext uri="{BB962C8B-B14F-4D97-AF65-F5344CB8AC3E}">
        <p14:creationId xmlns:p14="http://schemas.microsoft.com/office/powerpoint/2010/main" val="11777722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3_Takeaway Layout">
    <p:spTree>
      <p:nvGrpSpPr>
        <p:cNvPr id="1" name=""/>
        <p:cNvGrpSpPr/>
        <p:nvPr/>
      </p:nvGrpSpPr>
      <p:grpSpPr>
        <a:xfrm>
          <a:off x="0" y="0"/>
          <a:ext cx="0" cy="0"/>
          <a:chOff x="0" y="0"/>
          <a:chExt cx="0" cy="0"/>
        </a:xfrm>
      </p:grpSpPr>
      <p:sp>
        <p:nvSpPr>
          <p:cNvPr id="25"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28" name="CuadroTexto 5">
            <a:extLst>
              <a:ext uri="{FF2B5EF4-FFF2-40B4-BE49-F238E27FC236}">
                <a16:creationId xmlns:a16="http://schemas.microsoft.com/office/drawing/2014/main" id="{222FF7D7-7B77-4EEC-8205-A031C02EC565}"/>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pic>
        <p:nvPicPr>
          <p:cNvPr id="29"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5" y="6467037"/>
            <a:ext cx="1223683" cy="214585"/>
          </a:xfrm>
          <a:prstGeom prst="rect">
            <a:avLst/>
          </a:prstGeom>
        </p:spPr>
      </p:pic>
      <p:sp>
        <p:nvSpPr>
          <p:cNvPr id="30"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p:spPr>
        <p:txBody>
          <a:bodyPr anchor="b" anchorCtr="0"/>
          <a:lstStyle>
            <a:lvl1pPr>
              <a:defRPr sz="1000"/>
            </a:lvl1pPr>
          </a:lstStyle>
          <a:p>
            <a:pPr lvl="0"/>
            <a:r>
              <a:rPr lang="en-US" noProof="0"/>
              <a:t>Click to add footnotes</a:t>
            </a:r>
          </a:p>
        </p:txBody>
      </p:sp>
      <p:sp>
        <p:nvSpPr>
          <p:cNvPr id="35" name="Content Placeholder 2"/>
          <p:cNvSpPr>
            <a:spLocks noGrp="1"/>
          </p:cNvSpPr>
          <p:nvPr>
            <p:ph sz="quarter" idx="17"/>
          </p:nvPr>
        </p:nvSpPr>
        <p:spPr>
          <a:xfrm>
            <a:off x="770022" y="5443538"/>
            <a:ext cx="10621846" cy="568988"/>
          </a:xfrm>
        </p:spPr>
        <p:txBody>
          <a:bodyPr tIns="0" rIns="0" anchor="ctr"/>
          <a:lstStyle>
            <a:lvl1pPr>
              <a:lnSpc>
                <a:spcPct val="100000"/>
              </a:lnSpc>
              <a:defRPr/>
            </a:lvl1pPr>
            <a:lvl2pPr>
              <a:buNone/>
              <a:defRPr/>
            </a:lvl2pPr>
          </a:lstStyle>
          <a:p>
            <a:pPr lvl="0"/>
            <a:r>
              <a:rPr lang="en-US"/>
              <a:t>Edit Master text styles</a:t>
            </a:r>
          </a:p>
        </p:txBody>
      </p:sp>
      <p:sp>
        <p:nvSpPr>
          <p:cNvPr id="36"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37"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cxnSp>
        <p:nvCxnSpPr>
          <p:cNvPr id="38" name="Straight Connector 37">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BA9BCE-A3E8-411D-907B-B79FCB4A37A3}"/>
              </a:ext>
            </a:extLst>
          </p:cNvPr>
          <p:cNvCxnSpPr/>
          <p:nvPr userDrawn="1"/>
        </p:nvCxnSpPr>
        <p:spPr>
          <a:xfrm>
            <a:off x="550863" y="6421143"/>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p:spPr>
        <p:txBody>
          <a:bodyPr tIns="36000" anchor="t" anchorCtr="0"/>
          <a:lstStyle>
            <a:lvl1pPr>
              <a:defRPr sz="1000"/>
            </a:lvl1pPr>
          </a:lstStyle>
          <a:p>
            <a:pPr lvl="0"/>
            <a:r>
              <a:rPr lang="en-US" noProof="0"/>
              <a:t>Click to add source</a:t>
            </a:r>
          </a:p>
        </p:txBody>
      </p:sp>
      <p:sp>
        <p:nvSpPr>
          <p:cNvPr id="14" name="Content Placeholder 3"/>
          <p:cNvSpPr>
            <a:spLocks noGrp="1"/>
          </p:cNvSpPr>
          <p:nvPr>
            <p:ph sz="quarter" idx="15" hasCustomPrompt="1"/>
          </p:nvPr>
        </p:nvSpPr>
        <p:spPr>
          <a:xfrm>
            <a:off x="550861" y="1240519"/>
            <a:ext cx="11090275"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Tree>
    <p:extLst>
      <p:ext uri="{BB962C8B-B14F-4D97-AF65-F5344CB8AC3E}">
        <p14:creationId xmlns:p14="http://schemas.microsoft.com/office/powerpoint/2010/main" val="22610110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6_Gracias">
    <p:spTree>
      <p:nvGrpSpPr>
        <p:cNvPr id="1" name=""/>
        <p:cNvGrpSpPr/>
        <p:nvPr/>
      </p:nvGrpSpPr>
      <p:grpSpPr>
        <a:xfrm>
          <a:off x="0" y="0"/>
          <a:ext cx="0" cy="0"/>
          <a:chOff x="0" y="0"/>
          <a:chExt cx="0" cy="0"/>
        </a:xfrm>
      </p:grpSpPr>
      <p:pic>
        <p:nvPicPr>
          <p:cNvPr id="11" name="Imagem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 y="5117"/>
            <a:ext cx="12190560" cy="6856620"/>
          </a:xfrm>
          <a:prstGeom prst="rect">
            <a:avLst/>
          </a:prstGeom>
        </p:spPr>
      </p:pic>
      <p:pic>
        <p:nvPicPr>
          <p:cNvPr id="5"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7297514" y="5858102"/>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upo 19">
            <a:extLst>
              <a:ext uri="{FF2B5EF4-FFF2-40B4-BE49-F238E27FC236}">
                <a16:creationId xmlns:a16="http://schemas.microsoft.com/office/drawing/2014/main" id="{246620ED-93B0-4966-8E36-4B883B49E634}"/>
              </a:ext>
            </a:extLst>
          </p:cNvPr>
          <p:cNvGrpSpPr/>
          <p:nvPr userDrawn="1"/>
        </p:nvGrpSpPr>
        <p:grpSpPr>
          <a:xfrm>
            <a:off x="9184030" y="5858534"/>
            <a:ext cx="578707" cy="455017"/>
            <a:chOff x="2203451" y="-4230356"/>
            <a:chExt cx="6896100" cy="5422158"/>
          </a:xfrm>
        </p:grpSpPr>
        <p:pic>
          <p:nvPicPr>
            <p:cNvPr id="7"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8"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5" cstate="screen">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9" name="CuadroTexto 22">
            <a:extLst>
              <a:ext uri="{FF2B5EF4-FFF2-40B4-BE49-F238E27FC236}">
                <a16:creationId xmlns:a16="http://schemas.microsoft.com/office/drawing/2014/main" id="{B163354C-97AE-4FC8-BF01-B7FCA9B2C7C0}"/>
              </a:ext>
            </a:extLst>
          </p:cNvPr>
          <p:cNvSpPr txBox="1"/>
          <p:nvPr userDrawn="1"/>
        </p:nvSpPr>
        <p:spPr>
          <a:xfrm>
            <a:off x="7160628" y="657789"/>
            <a:ext cx="3365478" cy="1167948"/>
          </a:xfrm>
          <a:prstGeom prst="rect">
            <a:avLst/>
          </a:prstGeom>
          <a:noFill/>
        </p:spPr>
        <p:txBody>
          <a:bodyPr wrap="square" rtlCol="0">
            <a:spAutoFit/>
          </a:bodyPr>
          <a:lstStyle/>
          <a:p>
            <a:pPr marL="0" marR="0" lvl="0" indent="0" algn="l" defTabSz="913600" rtl="0" eaLnBrk="1" fontAlgn="auto" latinLnBrk="0" hangingPunct="1">
              <a:lnSpc>
                <a:spcPct val="100000"/>
              </a:lnSpc>
              <a:spcBef>
                <a:spcPts val="0"/>
              </a:spcBef>
              <a:spcAft>
                <a:spcPts val="0"/>
              </a:spcAft>
              <a:buClrTx/>
              <a:buSzTx/>
              <a:buFontTx/>
              <a:buNone/>
              <a:tabLst/>
              <a:defRPr/>
            </a:pPr>
            <a:r>
              <a:rPr kumimoji="0" lang="es-E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Nuestro propósito es ayudar a personas</a:t>
            </a:r>
          </a:p>
          <a:p>
            <a:pPr marL="0" marR="0" lvl="0" indent="0" algn="l" defTabSz="913600" rtl="0" eaLnBrk="1" fontAlgn="auto" latinLnBrk="0" hangingPunct="1">
              <a:lnSpc>
                <a:spcPct val="100000"/>
              </a:lnSpc>
              <a:spcBef>
                <a:spcPts val="0"/>
              </a:spcBef>
              <a:spcAft>
                <a:spcPts val="0"/>
              </a:spcAft>
              <a:buClrTx/>
              <a:buSzTx/>
              <a:buFontTx/>
              <a:buNone/>
              <a:tabLst/>
              <a:defRPr/>
            </a:pPr>
            <a:r>
              <a:rPr kumimoji="0" lang="es-E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y empresas a prosperar.</a:t>
            </a:r>
          </a:p>
          <a:p>
            <a:pPr marL="0" marR="0" lvl="0" indent="0" algn="l" defTabSz="913600" rtl="0" eaLnBrk="1" fontAlgn="auto" latinLnBrk="0" hangingPunct="1">
              <a:lnSpc>
                <a:spcPct val="100000"/>
              </a:lnSpc>
              <a:spcBef>
                <a:spcPts val="0"/>
              </a:spcBef>
              <a:spcAft>
                <a:spcPts val="0"/>
              </a:spcAft>
              <a:buClrTx/>
              <a:buSzTx/>
              <a:buFontTx/>
              <a:buNone/>
              <a:tabLst/>
              <a:defRPr/>
            </a:pPr>
            <a:endParaRPr kumimoji="0" lang="pt-BR"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endParaRPr>
          </a:p>
          <a:p>
            <a:pPr marL="0" marR="0" lvl="0" indent="0" algn="l" defTabSz="913600" rtl="0" eaLnBrk="1" fontAlgn="auto" latinLnBrk="0" hangingPunct="1">
              <a:lnSpc>
                <a:spcPct val="100000"/>
              </a:lnSpc>
              <a:spcBef>
                <a:spcPts val="0"/>
              </a:spcBef>
              <a:spcAft>
                <a:spcPts val="0"/>
              </a:spcAft>
              <a:buClrTx/>
              <a:buSzTx/>
              <a:buFontTx/>
              <a:buNone/>
              <a:tabLst/>
              <a:defRPr/>
            </a:pPr>
            <a:r>
              <a:rPr kumimoji="0" lang="es-E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Nuestra cultura se basa en la creencia</a:t>
            </a:r>
          </a:p>
          <a:p>
            <a:pPr marL="0" marR="0" lvl="0" indent="0" algn="l" defTabSz="913600" rtl="0" eaLnBrk="1" fontAlgn="auto" latinLnBrk="0" hangingPunct="1">
              <a:lnSpc>
                <a:spcPct val="100000"/>
              </a:lnSpc>
              <a:spcBef>
                <a:spcPts val="0"/>
              </a:spcBef>
              <a:spcAft>
                <a:spcPts val="0"/>
              </a:spcAft>
              <a:buClrTx/>
              <a:buSzTx/>
              <a:buFontTx/>
              <a:buNone/>
              <a:tabLst/>
              <a:defRPr/>
            </a:pPr>
            <a:r>
              <a:rPr kumimoji="0" lang="es-E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de que todo lo que hacemos debe ser</a:t>
            </a:r>
            <a:endParaRPr kumimoji="0" lang="pt-BR"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endParaRPr>
          </a:p>
        </p:txBody>
      </p:sp>
      <p:sp>
        <p:nvSpPr>
          <p:cNvPr id="13" name="Espaço Reservado para Texto 12"/>
          <p:cNvSpPr>
            <a:spLocks noGrp="1"/>
          </p:cNvSpPr>
          <p:nvPr>
            <p:ph type="body" sz="quarter" idx="10" hasCustomPrompt="1"/>
          </p:nvPr>
        </p:nvSpPr>
        <p:spPr>
          <a:xfrm>
            <a:off x="7218684" y="3799800"/>
            <a:ext cx="4430713" cy="1495794"/>
          </a:xfrm>
          <a:prstGeom prst="rect">
            <a:avLst/>
          </a:prstGeom>
        </p:spPr>
        <p:txBody>
          <a:bodyPr wrap="square" lIns="0" rIns="0">
            <a:spAutoFit/>
          </a:bodyPr>
          <a:lstStyle>
            <a:lvl1pPr marL="0" indent="0">
              <a:buFontTx/>
              <a:buNone/>
              <a:defRPr lang="pt-BR" sz="5400" b="1" spc="-96" baseline="0" smtClean="0">
                <a:solidFill>
                  <a:schemeClr val="accent1"/>
                </a:solidFill>
                <a:latin typeface="Santander Headline" panose="020B0504020201020104" pitchFamily="34" charset="0"/>
                <a:ea typeface="+mj-ea"/>
                <a:cs typeface="Segoe UI Semibold" panose="020B0702040204020203" pitchFamily="34" charset="0"/>
              </a:defRPr>
            </a:lvl1pPr>
            <a:lvl2pPr>
              <a:defRPr lang="pt-BR" smtClean="0"/>
            </a:lvl2pPr>
            <a:lvl3pPr>
              <a:defRPr lang="pt-BR" smtClean="0"/>
            </a:lvl3pPr>
            <a:lvl4pPr>
              <a:defRPr lang="pt-BR" smtClean="0"/>
            </a:lvl4pPr>
            <a:lvl5pPr>
              <a:defRPr lang="en-US"/>
            </a:lvl5pPr>
          </a:lstStyle>
          <a:p>
            <a:pPr lvl="0" algn="l"/>
            <a:r>
              <a:rPr lang="pt-BR"/>
              <a:t>Editar estilos </a:t>
            </a:r>
            <a:br>
              <a:rPr lang="pt-BR"/>
            </a:br>
            <a:r>
              <a:rPr lang="pt-BR"/>
              <a:t>de texto mestre</a:t>
            </a:r>
          </a:p>
        </p:txBody>
      </p:sp>
      <p:pic>
        <p:nvPicPr>
          <p:cNvPr id="4" name="Picture 3"/>
          <p:cNvPicPr>
            <a:picLocks noChangeAspect="1"/>
          </p:cNvPicPr>
          <p:nvPr userDrawn="1"/>
        </p:nvPicPr>
        <p:blipFill>
          <a:blip r:embed="rId6"/>
          <a:stretch>
            <a:fillRect/>
          </a:stretch>
        </p:blipFill>
        <p:spPr>
          <a:xfrm>
            <a:off x="7158738" y="2124075"/>
            <a:ext cx="2725148" cy="347502"/>
          </a:xfrm>
          <a:prstGeom prst="rect">
            <a:avLst/>
          </a:prstGeom>
        </p:spPr>
      </p:pic>
    </p:spTree>
    <p:extLst>
      <p:ext uri="{BB962C8B-B14F-4D97-AF65-F5344CB8AC3E}">
        <p14:creationId xmlns:p14="http://schemas.microsoft.com/office/powerpoint/2010/main" val="39549797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_Índice">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C60B320C-F93D-45A7-B5CC-5C18ED1F85FB}"/>
              </a:ext>
            </a:extLst>
          </p:cNvPr>
          <p:cNvSpPr>
            <a:spLocks noGrp="1"/>
          </p:cNvSpPr>
          <p:nvPr>
            <p:ph type="sldNum" sz="quarter" idx="12"/>
          </p:nvPr>
        </p:nvSpPr>
        <p:spPr>
          <a:xfrm>
            <a:off x="8730845" y="6209600"/>
            <a:ext cx="2743200" cy="365125"/>
          </a:xfrm>
          <a:prstGeom prst="rect">
            <a:avLst/>
          </a:prstGeom>
        </p:spPr>
        <p:txBody>
          <a:bodyPr/>
          <a:lstStyle>
            <a:lvl1pPr>
              <a:defRPr lang="es-ES" sz="1300" kern="1200" smtClean="0">
                <a:solidFill>
                  <a:schemeClr val="accent1"/>
                </a:solidFill>
                <a:latin typeface="Santander Text" panose="020B0504020201020104" pitchFamily="34" charset="0"/>
                <a:ea typeface="+mn-ea"/>
                <a:cs typeface="+mn-cs"/>
              </a:defRPr>
            </a:lvl1pPr>
          </a:lstStyle>
          <a:p>
            <a:fld id="{CF84DE6A-7F12-4611-BB3A-C7385FA036E5}" type="slidenum">
              <a:rPr lang="en-GB">
                <a:solidFill>
                  <a:srgbClr val="EC0000"/>
                </a:solidFill>
              </a:rPr>
              <a:pPr/>
              <a:t>‹#›</a:t>
            </a:fld>
            <a:endParaRPr lang="en-GB">
              <a:solidFill>
                <a:srgbClr val="EC0000"/>
              </a:solidFill>
            </a:endParaRPr>
          </a:p>
        </p:txBody>
      </p:sp>
      <p:sp>
        <p:nvSpPr>
          <p:cNvPr id="10" name="CuadroTexto 9">
            <a:extLst>
              <a:ext uri="{FF2B5EF4-FFF2-40B4-BE49-F238E27FC236}">
                <a16:creationId xmlns:a16="http://schemas.microsoft.com/office/drawing/2014/main" id="{B3950534-FF56-4FD6-A098-D625BC54F0FA}"/>
              </a:ext>
            </a:extLst>
          </p:cNvPr>
          <p:cNvSpPr txBox="1"/>
          <p:nvPr/>
        </p:nvSpPr>
        <p:spPr>
          <a:xfrm>
            <a:off x="722533" y="312269"/>
            <a:ext cx="1849821" cy="338554"/>
          </a:xfrm>
          <a:prstGeom prst="rect">
            <a:avLst/>
          </a:prstGeom>
          <a:noFill/>
        </p:spPr>
        <p:txBody>
          <a:bodyPr wrap="square" rtlCol="0">
            <a:spAutoFit/>
          </a:bodyPr>
          <a:lstStyle/>
          <a:p>
            <a:r>
              <a:rPr lang="en-GB" sz="1600" err="1">
                <a:solidFill>
                  <a:srgbClr val="EC0000"/>
                </a:solidFill>
              </a:rPr>
              <a:t>Índice</a:t>
            </a:r>
            <a:endParaRPr lang="en-GB" sz="1600">
              <a:solidFill>
                <a:srgbClr val="EC0000"/>
              </a:solidFill>
            </a:endParaRPr>
          </a:p>
        </p:txBody>
      </p:sp>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hasCustomPrompt="1"/>
          </p:nvPr>
        </p:nvSpPr>
        <p:spPr>
          <a:xfrm>
            <a:off x="832641" y="1100239"/>
            <a:ext cx="10635843" cy="4906665"/>
          </a:xfrm>
        </p:spPr>
        <p:txBody>
          <a:bodyPr>
            <a:normAutofit/>
          </a:bodyPr>
          <a:lstStyle>
            <a:lvl1pPr marL="432000" indent="-396000">
              <a:buClr>
                <a:schemeClr val="accent1"/>
              </a:buClr>
              <a:buSzPct val="45000"/>
              <a:buFont typeface="+mj-lt"/>
              <a:buAutoNum type="arabicPeriod"/>
              <a:defRPr lang="es-ES" sz="3800" b="0" kern="1200" dirty="0">
                <a:solidFill>
                  <a:schemeClr val="tx2"/>
                </a:solidFill>
                <a:latin typeface="Santander Text" panose="020B0504020201020104" pitchFamily="34" charset="0"/>
                <a:ea typeface="+mn-ea"/>
                <a:cs typeface="+mn-cs"/>
              </a:defRPr>
            </a:lvl1pPr>
            <a:lvl2pPr marL="457200" indent="0">
              <a:buNone/>
              <a:defRPr/>
            </a:lvl2pPr>
          </a:lstStyle>
          <a:p>
            <a:pPr lvl="0"/>
            <a:r>
              <a:rPr lang="en-GB" err="1"/>
              <a:t>Editar</a:t>
            </a:r>
            <a:r>
              <a:rPr lang="en-GB"/>
              <a:t> los </a:t>
            </a:r>
            <a:r>
              <a:rPr lang="en-GB" err="1"/>
              <a:t>estilos</a:t>
            </a:r>
            <a:r>
              <a:rPr lang="en-GB"/>
              <a:t> de </a:t>
            </a:r>
            <a:r>
              <a:rPr lang="en-GB" err="1"/>
              <a:t>texto</a:t>
            </a:r>
            <a:r>
              <a:rPr lang="en-GB"/>
              <a:t> del </a:t>
            </a:r>
            <a:r>
              <a:rPr lang="en-GB" err="1"/>
              <a:t>patrón</a:t>
            </a:r>
            <a:endParaRPr lang="en-GB"/>
          </a:p>
        </p:txBody>
      </p:sp>
      <p:sp>
        <p:nvSpPr>
          <p:cNvPr id="9" name="Freeform 5">
            <a:extLst>
              <a:ext uri="{FF2B5EF4-FFF2-40B4-BE49-F238E27FC236}">
                <a16:creationId xmlns:a16="http://schemas.microsoft.com/office/drawing/2014/main" id="{758F344F-4D40-4193-89B9-BE8205554972}"/>
              </a:ext>
            </a:extLst>
          </p:cNvPr>
          <p:cNvSpPr>
            <a:spLocks noEditPoints="1"/>
          </p:cNvSpPr>
          <p:nvPr/>
        </p:nvSpPr>
        <p:spPr bwMode="auto">
          <a:xfrm>
            <a:off x="832642" y="6262326"/>
            <a:ext cx="1171705" cy="206714"/>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Tree>
    <p:extLst>
      <p:ext uri="{BB962C8B-B14F-4D97-AF65-F5344CB8AC3E}">
        <p14:creationId xmlns:p14="http://schemas.microsoft.com/office/powerpoint/2010/main" val="31595476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pic>
        <p:nvPicPr>
          <p:cNvPr id="13" name="fondo sin G" descr="Texto, Patrón de fondo&#10;&#10;Descripción generada automáticamente">
            <a:extLst>
              <a:ext uri="{FF2B5EF4-FFF2-40B4-BE49-F238E27FC236}">
                <a16:creationId xmlns:a16="http://schemas.microsoft.com/office/drawing/2014/main" id="{DD938777-0826-4434-9E94-14814A4C88A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679" r="68098"/>
          <a:stretch/>
        </p:blipFill>
        <p:spPr>
          <a:xfrm>
            <a:off x="0" y="0"/>
            <a:ext cx="12191999" cy="6876000"/>
          </a:xfrm>
          <a:prstGeom prst="rect">
            <a:avLst/>
          </a:prstGeom>
        </p:spPr>
      </p:pic>
    </p:spTree>
    <p:extLst>
      <p:ext uri="{BB962C8B-B14F-4D97-AF65-F5344CB8AC3E}">
        <p14:creationId xmlns:p14="http://schemas.microsoft.com/office/powerpoint/2010/main" val="19107321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ontrast Title">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pic>
        <p:nvPicPr>
          <p:cNvPr id="11" name="Partnership">
            <a:extLst>
              <a:ext uri="{FF2B5EF4-FFF2-40B4-BE49-F238E27FC236}">
                <a16:creationId xmlns:a16="http://schemas.microsoft.com/office/drawing/2014/main" id="{93A279FD-F954-407E-8068-C22694CA7780}"/>
              </a:ext>
            </a:extLst>
          </p:cNvPr>
          <p:cNvPicPr>
            <a:picLocks noChangeAspect="1"/>
          </p:cNvPicPr>
          <p:nvPr/>
        </p:nvPicPr>
        <p:blipFill>
          <a:blip r:embed="rId11"/>
          <a:stretch>
            <a:fillRect/>
          </a:stretch>
        </p:blipFill>
        <p:spPr>
          <a:xfrm>
            <a:off x="0" y="0"/>
            <a:ext cx="12192000" cy="6858000"/>
          </a:xfrm>
          <a:prstGeom prst="rect">
            <a:avLst/>
          </a:prstGeom>
        </p:spPr>
      </p:pic>
      <p:pic>
        <p:nvPicPr>
          <p:cNvPr id="7" name="CustomTitleImage">
            <a:extLst>
              <a:ext uri="{FF2B5EF4-FFF2-40B4-BE49-F238E27FC236}">
                <a16:creationId xmlns:a16="http://schemas.microsoft.com/office/drawing/2014/main" id="{577035C3-5516-44A2-8945-63AFD4A58AAF}"/>
              </a:ext>
            </a:extLst>
          </p:cNvPr>
          <p:cNvPicPr>
            <a:picLocks noChangeAspect="1"/>
          </p:cNvPicPr>
          <p:nvPr userDrawn="1"/>
        </p:nvPicPr>
        <p:blipFill>
          <a:blip r:embed="rId12"/>
          <a:stretch>
            <a:fillRect/>
          </a:stretch>
        </p:blipFill>
        <p:spPr>
          <a:xfrm>
            <a:off x="0" y="0"/>
            <a:ext cx="12187263" cy="6858000"/>
          </a:xfrm>
          <a:prstGeom prst="rect">
            <a:avLst/>
          </a:prstGeom>
        </p:spPr>
      </p:pic>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4400" b="1" err="1">
              <a:solidFill>
                <a:srgbClr val="051C2C"/>
              </a:solidFill>
              <a:latin typeface="Georgia" panose="02040502050405020303" pitchFamily="18" charset="0"/>
              <a:sym typeface="Georgia" panose="02040502050405020303" pitchFamily="18" charset="0"/>
            </a:endParaRPr>
          </a:p>
        </p:txBody>
      </p:sp>
      <p:grpSp>
        <p:nvGrpSpPr>
          <p:cNvPr id="16" name="LogoImage" hidden="1">
            <a:extLst>
              <a:ext uri="{FF2B5EF4-FFF2-40B4-BE49-F238E27FC236}">
                <a16:creationId xmlns:a16="http://schemas.microsoft.com/office/drawing/2014/main" id="{417D7FAF-35B8-4173-88FB-739B21C6DEBE}"/>
              </a:ext>
            </a:extLst>
          </p:cNvPr>
          <p:cNvGrpSpPr>
            <a:grpSpLocks noChangeAspect="1"/>
          </p:cNvGrpSpPr>
          <p:nvPr>
            <p:custDataLst>
              <p:tags r:id="rId3"/>
            </p:custDataLst>
          </p:nvPr>
        </p:nvGrpSpPr>
        <p:grpSpPr bwMode="black">
          <a:xfrm>
            <a:off x="551942" y="481161"/>
            <a:ext cx="1893202" cy="585216"/>
            <a:chOff x="0" y="973"/>
            <a:chExt cx="7680" cy="2374"/>
          </a:xfrm>
        </p:grpSpPr>
        <p:sp>
          <p:nvSpPr>
            <p:cNvPr id="19" name="AutoShape 3" hidden="1">
              <a:extLst>
                <a:ext uri="{FF2B5EF4-FFF2-40B4-BE49-F238E27FC236}">
                  <a16:creationId xmlns:a16="http://schemas.microsoft.com/office/drawing/2014/main" id="{03DD3F3B-2548-4AA0-A5B1-E54401FEE8FF}"/>
                </a:ext>
              </a:extLst>
            </p:cNvPr>
            <p:cNvSpPr>
              <a:spLocks noChangeAspect="1" noChangeArrowheads="1" noTextEdit="1"/>
            </p:cNvSpPr>
            <p:nvPr/>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5" hidden="1">
              <a:extLst>
                <a:ext uri="{FF2B5EF4-FFF2-40B4-BE49-F238E27FC236}">
                  <a16:creationId xmlns:a16="http://schemas.microsoft.com/office/drawing/2014/main" id="{A5CEE8F7-DC61-4907-AA21-C799D61ED268}"/>
                </a:ext>
              </a:extLst>
            </p:cNvPr>
            <p:cNvSpPr>
              <a:spLocks noEditPoints="1"/>
            </p:cNvSpPr>
            <p:nvPr/>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rgbClr val="FFFFFF"/>
                </a:solidFill>
              </a:rPr>
              <a:t>CONFIDENTIAL AND PROPRIETARY</a:t>
            </a:r>
          </a:p>
          <a:p>
            <a:pPr defTabSz="804863" eaLnBrk="0" hangingPunct="0"/>
            <a:r>
              <a:rPr lang="en-US" sz="800">
                <a:solidFill>
                  <a:srgbClr val="FFFFFF"/>
                </a:solidFill>
              </a:rPr>
              <a:t>Any use of this material without specific permission is strictly prohibited</a:t>
            </a:r>
          </a:p>
        </p:txBody>
      </p:sp>
    </p:spTree>
    <p:extLst>
      <p:ext uri="{BB962C8B-B14F-4D97-AF65-F5344CB8AC3E}">
        <p14:creationId xmlns:p14="http://schemas.microsoft.com/office/powerpoint/2010/main" val="660631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err="1">
              <a:solidFill>
                <a:srgbClr val="051C2C"/>
              </a:solidFill>
              <a:latin typeface="Georgia" panose="02040502050405020303" pitchFamily="18" charset="0"/>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a:solidFill>
                <a:srgbClr val="FFFFFF"/>
              </a:solidFill>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sz="800">
                <a:solidFill>
                  <a:srgbClr val="FFFFFF"/>
                </a:solidFill>
              </a:rPr>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9821823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a:solidFill>
                <a:srgbClr val="FFFFFF"/>
              </a:solidFill>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sz="800">
                <a:solidFill>
                  <a:srgbClr val="FFFFFF"/>
                </a:solidFill>
              </a:rPr>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8714083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a:solidFill>
                <a:srgbClr val="FFFFFF"/>
              </a:solidFill>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sz="800">
                <a:solidFill>
                  <a:srgbClr val="FFFFFF"/>
                </a:solidFill>
              </a:rPr>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6406287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a:solidFill>
                <a:srgbClr val="FFFFFF"/>
              </a:solidFill>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sz="800">
                <a:solidFill>
                  <a:srgbClr val="FFFFFF"/>
                </a:solidFill>
              </a:rPr>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8809561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6_Index">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spTree>
    <p:extLst>
      <p:ext uri="{BB962C8B-B14F-4D97-AF65-F5344CB8AC3E}">
        <p14:creationId xmlns:p14="http://schemas.microsoft.com/office/powerpoint/2010/main" val="36984322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a:solidFill>
                <a:srgbClr val="FFFFFF"/>
              </a:solidFill>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sz="800">
                <a:solidFill>
                  <a:srgbClr val="FFFFFF"/>
                </a:solidFill>
              </a:rPr>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4366828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err="1">
              <a:solidFill>
                <a:srgbClr val="051C2C"/>
              </a:solidFill>
              <a:latin typeface="Georgia" panose="02040502050405020303" pitchFamily="18" charset="0"/>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000000"/>
              </a:solidFill>
            </a:endParaRPr>
          </a:p>
        </p:txBody>
      </p:sp>
      <p:sp>
        <p:nvSpPr>
          <p:cNvPr id="16" name="SlideLogoText" hidden="1">
            <a:extLst>
              <a:ext uri="{FF2B5EF4-FFF2-40B4-BE49-F238E27FC236}">
                <a16:creationId xmlns:a16="http://schemas.microsoft.com/office/drawing/2014/main" id="{7D03BAA3-96F1-4B7C-895E-B9B8CFDDA50B}"/>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algn="ctr">
              <a:defRPr/>
            </a:pPr>
            <a:r>
              <a:rPr lang="en-US" sz="900">
                <a:solidFill>
                  <a:srgbClr val="FFFFFF"/>
                </a:solidFill>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a:solidFill>
                <a:srgbClr val="FFFFFF"/>
              </a:solidFill>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p:custDataLst>
              <p:tags r:id="rId6"/>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9"/>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0"/>
            </p:custDataLst>
          </p:nvPr>
        </p:nvSpPr>
        <p:spPr>
          <a:xfrm>
            <a:off x="554736" y="2744369"/>
            <a:ext cx="2514600" cy="769441"/>
          </a:xfrm>
        </p:spPr>
        <p:txBody>
          <a:bodyPr anchor="b">
            <a:noAutofit/>
          </a:bodyPr>
          <a:lstStyle>
            <a:lvl1pPr>
              <a:defRPr>
                <a:solidFill>
                  <a:schemeClr val="bg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1"/>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sz="800">
                <a:solidFill>
                  <a:srgbClr val="000000"/>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3"/>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0347446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err="1">
              <a:solidFill>
                <a:srgbClr val="051C2C"/>
              </a:solidFill>
              <a:latin typeface="Georgia" panose="02040502050405020303" pitchFamily="18" charset="0"/>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000000"/>
              </a:solidFill>
            </a:endParaRPr>
          </a:p>
        </p:txBody>
      </p:sp>
      <p:sp>
        <p:nvSpPr>
          <p:cNvPr id="16" name="SlideLogoText" hidden="1">
            <a:extLst>
              <a:ext uri="{FF2B5EF4-FFF2-40B4-BE49-F238E27FC236}">
                <a16:creationId xmlns:a16="http://schemas.microsoft.com/office/drawing/2014/main" id="{2D4C39DE-34D3-430B-A68C-3662DBF9F427}"/>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algn="ctr">
              <a:defRPr/>
            </a:pPr>
            <a:r>
              <a:rPr lang="en-US" sz="900">
                <a:solidFill>
                  <a:srgbClr val="FFFFFF"/>
                </a:solidFill>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a:solidFill>
                <a:srgbClr val="FFFFFF"/>
              </a:solidFill>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6"/>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7"/>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8"/>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9"/>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0"/>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1"/>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sz="800">
                <a:solidFill>
                  <a:srgbClr val="000000"/>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3"/>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0475788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endParaRPr>
          </a:p>
        </p:txBody>
      </p:sp>
      <p:sp>
        <p:nvSpPr>
          <p:cNvPr id="17" name="SlideLogoText" hidden="1">
            <a:extLst>
              <a:ext uri="{FF2B5EF4-FFF2-40B4-BE49-F238E27FC236}">
                <a16:creationId xmlns:a16="http://schemas.microsoft.com/office/drawing/2014/main" id="{609F85FD-B74A-4A4E-BFA9-7668DD6BCB90}"/>
              </a:ext>
            </a:extLst>
          </p:cNvPr>
          <p:cNvSpPr txBox="1"/>
          <p:nvPr>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algn="ctr">
              <a:defRPr/>
            </a:pPr>
            <a:r>
              <a:rPr lang="en-US" sz="900">
                <a:solidFill>
                  <a:srgbClr val="FFFFFF"/>
                </a:solidFill>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a:solidFill>
                <a:srgbClr val="FFFFFF"/>
              </a:solidFill>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sz="800">
                <a:solidFill>
                  <a:srgbClr val="000000"/>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6856237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err="1">
              <a:solidFill>
                <a:srgbClr val="051C2C"/>
              </a:solidFill>
              <a:latin typeface="Georgia" panose="02040502050405020303" pitchFamily="18" charset="0"/>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a:lstStyle>
            <a:lvl1pPr>
              <a:defRPr>
                <a:solidFill>
                  <a:sysClr val="windowText" lastClr="000000"/>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endParaRPr>
          </a:p>
        </p:txBody>
      </p:sp>
      <p:sp>
        <p:nvSpPr>
          <p:cNvPr id="16" name="SlideLogoText" hidden="1">
            <a:extLst>
              <a:ext uri="{FF2B5EF4-FFF2-40B4-BE49-F238E27FC236}">
                <a16:creationId xmlns:a16="http://schemas.microsoft.com/office/drawing/2014/main" id="{AEC46ACE-42CD-4304-9E51-86DBC38CA4EB}"/>
              </a:ext>
            </a:extLst>
          </p:cNvPr>
          <p:cNvSpPr txBox="1"/>
          <p:nvPr>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algn="ctr">
              <a:defRPr/>
            </a:pPr>
            <a:r>
              <a:rPr lang="en-US" sz="900">
                <a:solidFill>
                  <a:srgbClr val="FFFFFF"/>
                </a:solidFill>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a:solidFill>
                <a:srgbClr val="FFFFFF"/>
              </a:solidFill>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1"/>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sz="800">
                <a:solidFill>
                  <a:srgbClr val="000000"/>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3"/>
            </p:custDataLst>
          </p:nvPr>
        </p:nvSpPr>
        <p:spPr>
          <a:xfrm>
            <a:off x="8174736" y="89319"/>
            <a:ext cx="3465576"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42893604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defRPr/>
            </a:pPr>
            <a:endParaRPr lang="en-US" sz="2500" b="1" err="1">
              <a:solidFill>
                <a:srgbClr val="051C2C"/>
              </a:solidFill>
              <a:latin typeface="Georgia" panose="02040502050405020303" pitchFamily="18" charset="0"/>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endParaRPr lang="en-US">
              <a:solidFill>
                <a:srgbClr val="F0F0F0"/>
              </a:solidFill>
            </a:endParaRPr>
          </a:p>
        </p:txBody>
      </p:sp>
      <p:sp>
        <p:nvSpPr>
          <p:cNvPr id="17" name="SlideLogoText" hidden="1">
            <a:extLst>
              <a:ext uri="{FF2B5EF4-FFF2-40B4-BE49-F238E27FC236}">
                <a16:creationId xmlns:a16="http://schemas.microsoft.com/office/drawing/2014/main" id="{609F85FD-B74A-4A4E-BFA9-7668DD6BCB90}"/>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algn="ctr">
              <a:defRPr/>
            </a:pPr>
            <a:r>
              <a:rPr lang="en-US" sz="900">
                <a:solidFill>
                  <a:srgbClr val="FFFFFF"/>
                </a:solidFill>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a:solidFill>
                <a:srgbClr val="FFFFFF"/>
              </a:solidFill>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p:custDataLst>
              <p:tags r:id="rId7"/>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p:custDataLst>
              <p:tags r:id="rId9"/>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0"/>
            </p:custDataLst>
          </p:nvPr>
        </p:nvSpPr>
        <p:spPr>
          <a:xfrm>
            <a:off x="554736" y="172212"/>
            <a:ext cx="7918704" cy="731520"/>
          </a:xfrm>
        </p:spPr>
        <p:txBody>
          <a:bodyPr/>
          <a:lstStyle>
            <a:lvl1pPr>
              <a:defRPr>
                <a:solidFill>
                  <a:sysClr val="windowText" lastClr="000000"/>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1"/>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sz="800">
                <a:solidFill>
                  <a:srgbClr val="000000"/>
                </a:solidFill>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3"/>
            </p:custDataLst>
          </p:nvPr>
        </p:nvSpPr>
        <p:spPr>
          <a:xfrm>
            <a:off x="9116568" y="89319"/>
            <a:ext cx="2523744"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7215858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hidden="1">
            <a:extLst>
              <a:ext uri="{FF2B5EF4-FFF2-40B4-BE49-F238E27FC236}">
                <a16:creationId xmlns:a16="http://schemas.microsoft.com/office/drawing/2014/main" id="{B789CE62-716F-47B1-B8FE-60436A1FA5A7}"/>
              </a:ext>
            </a:extLst>
          </p:cNvPr>
          <p:cNvSpPr txBox="1"/>
          <p:nvPr>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algn="ctr">
              <a:defRPr/>
            </a:pPr>
            <a:r>
              <a:rPr lang="en-US" sz="900">
                <a:solidFill>
                  <a:srgbClr val="FFFFFF"/>
                </a:solidFill>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a:solidFill>
                <a:srgbClr val="FFFFFF"/>
              </a:solidFill>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sz="800">
                <a:solidFill>
                  <a:srgbClr val="FFFFFF"/>
                </a:solidFill>
              </a:rPr>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40652836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Contrast Custom">
    <p:spTree>
      <p:nvGrpSpPr>
        <p:cNvPr id="1" name=""/>
        <p:cNvGrpSpPr/>
        <p:nvPr/>
      </p:nvGrpSpPr>
      <p:grpSpPr>
        <a:xfrm>
          <a:off x="0" y="0"/>
          <a:ext cx="0" cy="0"/>
          <a:chOff x="0" y="0"/>
          <a:chExt cx="0" cy="0"/>
        </a:xfrm>
      </p:grpSpPr>
      <p:sp>
        <p:nvSpPr>
          <p:cNvPr id="4" name="SlideLogoText" hidden="1">
            <a:extLst>
              <a:ext uri="{FF2B5EF4-FFF2-40B4-BE49-F238E27FC236}">
                <a16:creationId xmlns:a16="http://schemas.microsoft.com/office/drawing/2014/main" id="{2F705A80-1DB0-43C3-A71A-9587E6BCC3AD}"/>
              </a:ext>
            </a:extLst>
          </p:cNvPr>
          <p:cNvSpPr txBox="1"/>
          <p:nvPr>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algn="ctr">
              <a:defRPr/>
            </a:pPr>
            <a:r>
              <a:rPr lang="en-US" sz="900">
                <a:solidFill>
                  <a:srgbClr val="FFFFFF"/>
                </a:solidFill>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a:solidFill>
                <a:srgbClr val="FFFFFF"/>
              </a:solidFill>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sz="800">
                <a:solidFill>
                  <a:srgbClr val="FFFFFF"/>
                </a:solidFill>
              </a:rPr>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41666960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Contrast En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p:nvPicPr>
        <p:blipFill>
          <a:blip r:embed="rId8"/>
          <a:stretch>
            <a:fillRect/>
          </a:stretch>
        </p:blipFill>
        <p:spPr>
          <a:xfrm>
            <a:off x="0" y="0"/>
            <a:ext cx="12192000" cy="6858000"/>
          </a:xfrm>
          <a:prstGeom prst="rect">
            <a:avLst/>
          </a:prstGeom>
        </p:spPr>
      </p:pic>
      <p:grpSp>
        <p:nvGrpSpPr>
          <p:cNvPr id="6" name="LogoImage" hidden="1">
            <a:extLst>
              <a:ext uri="{FF2B5EF4-FFF2-40B4-BE49-F238E27FC236}">
                <a16:creationId xmlns:a16="http://schemas.microsoft.com/office/drawing/2014/main" id="{280FE25E-C8A9-4A63-9254-D200989A2E09}"/>
              </a:ext>
            </a:extLst>
          </p:cNvPr>
          <p:cNvGrpSpPr>
            <a:grpSpLocks noChangeAspect="1"/>
          </p:cNvGrpSpPr>
          <p:nvPr>
            <p:custDataLst>
              <p:tags r:id="rId2"/>
            </p:custDataLst>
          </p:nvPr>
        </p:nvGrpSpPr>
        <p:grpSpPr bwMode="black">
          <a:xfrm>
            <a:off x="549271" y="481161"/>
            <a:ext cx="1893202" cy="585216"/>
            <a:chOff x="0" y="973"/>
            <a:chExt cx="7680" cy="2374"/>
          </a:xfrm>
        </p:grpSpPr>
        <p:sp>
          <p:nvSpPr>
            <p:cNvPr id="8" name="AutoShape 3" hidden="1">
              <a:extLst>
                <a:ext uri="{FF2B5EF4-FFF2-40B4-BE49-F238E27FC236}">
                  <a16:creationId xmlns:a16="http://schemas.microsoft.com/office/drawing/2014/main" id="{FD120780-E7D0-42EA-AB5A-363335299EBE}"/>
                </a:ext>
              </a:extLst>
            </p:cNvPr>
            <p:cNvSpPr>
              <a:spLocks noChangeAspect="1" noChangeArrowheads="1" noTextEdit="1"/>
            </p:cNvSpPr>
            <p:nvPr/>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 name="Freeform 5" hidden="1">
              <a:extLst>
                <a:ext uri="{FF2B5EF4-FFF2-40B4-BE49-F238E27FC236}">
                  <a16:creationId xmlns:a16="http://schemas.microsoft.com/office/drawing/2014/main" id="{A9C60168-96E8-4CC3-91EC-B2F7F57959D9}"/>
                </a:ext>
              </a:extLst>
            </p:cNvPr>
            <p:cNvSpPr>
              <a:spLocks noEditPoints="1"/>
            </p:cNvSpPr>
            <p:nvPr/>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0" name="5. Source" hidden="1">
            <a:extLst>
              <a:ext uri="{FF2B5EF4-FFF2-40B4-BE49-F238E27FC236}">
                <a16:creationId xmlns:a16="http://schemas.microsoft.com/office/drawing/2014/main" id="{EED9D83D-9CC3-45F3-876D-CC42BC0B70E0}"/>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sz="800">
                <a:solidFill>
                  <a:srgbClr val="FFFFFF"/>
                </a:solidFill>
              </a:rPr>
              <a:t>Source: …</a:t>
            </a:r>
          </a:p>
        </p:txBody>
      </p:sp>
    </p:spTree>
    <p:extLst>
      <p:ext uri="{BB962C8B-B14F-4D97-AF65-F5344CB8AC3E}">
        <p14:creationId xmlns:p14="http://schemas.microsoft.com/office/powerpoint/2010/main" val="26441517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ontrast Title">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artnership">
            <a:extLst>
              <a:ext uri="{FF2B5EF4-FFF2-40B4-BE49-F238E27FC236}">
                <a16:creationId xmlns:a16="http://schemas.microsoft.com/office/drawing/2014/main" id="{93A279FD-F954-407E-8068-C22694CA778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CustomTitleImage">
            <a:extLst>
              <a:ext uri="{FF2B5EF4-FFF2-40B4-BE49-F238E27FC236}">
                <a16:creationId xmlns:a16="http://schemas.microsoft.com/office/drawing/2014/main" id="{577035C3-5516-44A2-8945-63AFD4A58AAF}"/>
              </a:ext>
            </a:extLst>
          </p:cNvPr>
          <p:cNvPicPr>
            <a:picLocks noChangeAspect="1"/>
          </p:cNvPicPr>
          <p:nvPr userDrawn="1"/>
        </p:nvPicPr>
        <p:blipFill>
          <a:blip r:embed="rId12"/>
          <a:stretch>
            <a:fillRect/>
          </a:stretch>
        </p:blipFill>
        <p:spPr>
          <a:xfrm>
            <a:off x="0" y="0"/>
            <a:ext cx="12187263" cy="6858000"/>
          </a:xfrm>
          <a:prstGeom prst="rect">
            <a:avLst/>
          </a:prstGeom>
        </p:spPr>
      </p:pic>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p:custDataLst>
              <p:tags r:id="rId1"/>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grpSp>
        <p:nvGrpSpPr>
          <p:cNvPr id="16" name="LogoImage" hidden="1">
            <a:extLst>
              <a:ext uri="{FF2B5EF4-FFF2-40B4-BE49-F238E27FC236}">
                <a16:creationId xmlns:a16="http://schemas.microsoft.com/office/drawing/2014/main" id="{417D7FAF-35B8-4173-88FB-739B21C6DEBE}"/>
              </a:ext>
            </a:extLst>
          </p:cNvPr>
          <p:cNvGrpSpPr>
            <a:grpSpLocks noChangeAspect="1"/>
          </p:cNvGrpSpPr>
          <p:nvPr>
            <p:custDataLst>
              <p:tags r:id="rId3"/>
            </p:custDataLst>
          </p:nvPr>
        </p:nvGrpSpPr>
        <p:grpSpPr bwMode="black">
          <a:xfrm>
            <a:off x="551942" y="481161"/>
            <a:ext cx="1893202" cy="585216"/>
            <a:chOff x="0" y="973"/>
            <a:chExt cx="7680" cy="2374"/>
          </a:xfrm>
        </p:grpSpPr>
        <p:sp>
          <p:nvSpPr>
            <p:cNvPr id="19" name="AutoShape 3" hidden="1">
              <a:extLst>
                <a:ext uri="{FF2B5EF4-FFF2-40B4-BE49-F238E27FC236}">
                  <a16:creationId xmlns:a16="http://schemas.microsoft.com/office/drawing/2014/main" id="{03DD3F3B-2548-4AA0-A5B1-E54401FEE8FF}"/>
                </a:ext>
              </a:extLst>
            </p:cNvPr>
            <p:cNvSpPr>
              <a:spLocks noChangeAspect="1" noChangeArrowheads="1" noTextEdit="1"/>
            </p:cNvSpPr>
            <p:nvPr/>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0" name="Freeform 5" hidden="1">
              <a:extLst>
                <a:ext uri="{FF2B5EF4-FFF2-40B4-BE49-F238E27FC236}">
                  <a16:creationId xmlns:a16="http://schemas.microsoft.com/office/drawing/2014/main" id="{A5CEE8F7-DC61-4907-AA21-C799D61ED268}"/>
                </a:ext>
              </a:extLst>
            </p:cNvPr>
            <p:cNvSpPr>
              <a:spLocks noEditPoints="1"/>
            </p:cNvSpPr>
            <p:nvPr/>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is strictly prohibited</a:t>
            </a:r>
          </a:p>
        </p:txBody>
      </p:sp>
    </p:spTree>
    <p:extLst>
      <p:ext uri="{BB962C8B-B14F-4D97-AF65-F5344CB8AC3E}">
        <p14:creationId xmlns:p14="http://schemas.microsoft.com/office/powerpoint/2010/main" val="21453253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Layout w/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72C7637-E198-4E44-B59C-3194989054AC}"/>
              </a:ext>
            </a:extLst>
          </p:cNvPr>
          <p:cNvSpPr>
            <a:spLocks noGrp="1"/>
          </p:cNvSpPr>
          <p:nvPr>
            <p:ph type="body" sz="quarter" idx="13"/>
          </p:nvPr>
        </p:nvSpPr>
        <p:spPr>
          <a:xfrm>
            <a:off x="550863" y="1628774"/>
            <a:ext cx="11090275" cy="4500564"/>
          </a:xfrm>
        </p:spPr>
        <p:txBody>
          <a:bodyPr tIns="180000"/>
          <a:lstStyle>
            <a:lvl1pPr>
              <a:lnSpc>
                <a:spcPct val="100000"/>
              </a:lnSpc>
              <a:spcAft>
                <a:spcPts val="600"/>
              </a:spcAft>
              <a:defRPr sz="1600"/>
            </a:lvl1pPr>
            <a:lvl2pPr>
              <a:lnSpc>
                <a:spcPct val="100000"/>
              </a:lnSpc>
              <a:spcAft>
                <a:spcPts val="600"/>
              </a:spcAft>
              <a:defRPr sz="1600"/>
            </a:lvl2pPr>
            <a:lvl3pPr>
              <a:lnSpc>
                <a:spcPct val="100000"/>
              </a:lnSpc>
              <a:spcAft>
                <a:spcPts val="600"/>
              </a:spcAft>
              <a:defRPr sz="1600"/>
            </a:lvl3pPr>
            <a:lvl4pPr>
              <a:lnSpc>
                <a:spcPct val="100000"/>
              </a:lnSpc>
              <a:spcAft>
                <a:spcPts val="600"/>
              </a:spcAft>
              <a:defRPr sz="1600"/>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3"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14"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p:spPr>
        <p:txBody>
          <a:bodyPr anchor="b" anchorCtr="0"/>
          <a:lstStyle>
            <a:lvl1pPr>
              <a:defRPr sz="1000"/>
            </a:lvl1pPr>
          </a:lstStyle>
          <a:p>
            <a:pPr lvl="0"/>
            <a:r>
              <a:rPr lang="en-US" noProof="0"/>
              <a:t>Click to add footnotes</a:t>
            </a:r>
          </a:p>
        </p:txBody>
      </p:sp>
      <p:sp>
        <p:nvSpPr>
          <p:cNvPr id="2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8"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p:spPr>
        <p:txBody>
          <a:bodyPr tIns="36000" anchor="t" anchorCtr="0"/>
          <a:lstStyle>
            <a:lvl1pPr>
              <a:defRPr sz="1000"/>
            </a:lvl1pPr>
          </a:lstStyle>
          <a:p>
            <a:pPr lvl="0"/>
            <a:r>
              <a:rPr lang="en-US" noProof="0"/>
              <a:t>Click to add source</a:t>
            </a:r>
          </a:p>
        </p:txBody>
      </p:sp>
      <p:sp>
        <p:nvSpPr>
          <p:cNvPr id="9"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sp>
        <p:nvSpPr>
          <p:cNvPr id="11" name="Content Placeholder 3"/>
          <p:cNvSpPr>
            <a:spLocks noGrp="1"/>
          </p:cNvSpPr>
          <p:nvPr>
            <p:ph sz="quarter" idx="15" hasCustomPrompt="1"/>
          </p:nvPr>
        </p:nvSpPr>
        <p:spPr>
          <a:xfrm>
            <a:off x="550862" y="1240519"/>
            <a:ext cx="11090275"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table title</a:t>
            </a:r>
          </a:p>
        </p:txBody>
      </p:sp>
    </p:spTree>
    <p:extLst>
      <p:ext uri="{BB962C8B-B14F-4D97-AF65-F5344CB8AC3E}">
        <p14:creationId xmlns:p14="http://schemas.microsoft.com/office/powerpoint/2010/main" val="33546854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p:custDataLst>
              <p:tags r:id="rId1"/>
            </p:custDataLst>
            <p:extLst>
              <p:ext uri="{D42A27DB-BD31-4B8C-83A1-F6EECF244321}">
                <p14:modId xmlns:p14="http://schemas.microsoft.com/office/powerpoint/2010/main" val="241449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239010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67483092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2303011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3895159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2432268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p:custDataLst>
              <p:tags r:id="rId1"/>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hidden="1">
            <a:extLst>
              <a:ext uri="{FF2B5EF4-FFF2-40B4-BE49-F238E27FC236}">
                <a16:creationId xmlns:a16="http://schemas.microsoft.com/office/drawing/2014/main" id="{7D03BAA3-96F1-4B7C-895E-B9B8CFDDA50B}"/>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p:custDataLst>
              <p:tags r:id="rId6"/>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9"/>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0"/>
            </p:custDataLst>
          </p:nvPr>
        </p:nvSpPr>
        <p:spPr>
          <a:xfrm>
            <a:off x="554736" y="2744369"/>
            <a:ext cx="2514600" cy="769441"/>
          </a:xfrm>
        </p:spPr>
        <p:txBody>
          <a:bodyPr anchor="b">
            <a:noAutofit/>
          </a:bodyPr>
          <a:lstStyle>
            <a:lvl1pPr>
              <a:defRPr>
                <a:solidFill>
                  <a:schemeClr val="bg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1"/>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3"/>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3483449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p:custDataLst>
              <p:tags r:id="rId1"/>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hidden="1">
            <a:extLst>
              <a:ext uri="{FF2B5EF4-FFF2-40B4-BE49-F238E27FC236}">
                <a16:creationId xmlns:a16="http://schemas.microsoft.com/office/drawing/2014/main" id="{2D4C39DE-34D3-430B-A68C-3662DBF9F427}"/>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6"/>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7"/>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8"/>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9"/>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0"/>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1"/>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3"/>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43598678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9539724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p:custDataLst>
              <p:tags r:id="rId1"/>
            </p:custDataLst>
            <p:extLst>
              <p:ext uri="{D42A27DB-BD31-4B8C-83A1-F6EECF244321}">
                <p14:modId xmlns:p14="http://schemas.microsoft.com/office/powerpoint/2010/main" val="181932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a:lstStyle>
            <a:lvl1pPr>
              <a:defRPr>
                <a:solidFill>
                  <a:sysClr val="windowText" lastClr="000000"/>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1"/>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3"/>
            </p:custDataLst>
          </p:nvPr>
        </p:nvSpPr>
        <p:spPr>
          <a:xfrm>
            <a:off x="8174736" y="89319"/>
            <a:ext cx="3465576"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9119522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hidden="1">
            <a:extLst>
              <a:ext uri="{FF2B5EF4-FFF2-40B4-BE49-F238E27FC236}">
                <a16:creationId xmlns:a16="http://schemas.microsoft.com/office/drawing/2014/main" id="{609F85FD-B74A-4A4E-BFA9-7668DD6BCB90}"/>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p:custDataLst>
              <p:tags r:id="rId7"/>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p:custDataLst>
              <p:tags r:id="rId9"/>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0"/>
            </p:custDataLst>
          </p:nvPr>
        </p:nvSpPr>
        <p:spPr>
          <a:xfrm>
            <a:off x="554736" y="172212"/>
            <a:ext cx="7918704" cy="731520"/>
          </a:xfrm>
        </p:spPr>
        <p:txBody>
          <a:bodyPr/>
          <a:lstStyle>
            <a:lvl1pPr>
              <a:defRPr>
                <a:solidFill>
                  <a:sysClr val="windowText" lastClr="000000"/>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1"/>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3"/>
            </p:custDataLst>
          </p:nvPr>
        </p:nvSpPr>
        <p:spPr>
          <a:xfrm>
            <a:off x="9116568" y="89319"/>
            <a:ext cx="2523744"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698189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Layout wo/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72C7637-E198-4E44-B59C-3194989054AC}"/>
              </a:ext>
            </a:extLst>
          </p:cNvPr>
          <p:cNvSpPr>
            <a:spLocks noGrp="1"/>
          </p:cNvSpPr>
          <p:nvPr>
            <p:ph type="body" sz="quarter" idx="13"/>
          </p:nvPr>
        </p:nvSpPr>
        <p:spPr>
          <a:xfrm>
            <a:off x="550863" y="1628774"/>
            <a:ext cx="11090275" cy="4500564"/>
          </a:xfrm>
        </p:spPr>
        <p:txBody>
          <a:bodyPr tIns="0"/>
          <a:lstStyle>
            <a:lvl1pPr>
              <a:lnSpc>
                <a:spcPct val="100000"/>
              </a:lnSpc>
              <a:spcAft>
                <a:spcPts val="600"/>
              </a:spcAft>
              <a:defRPr sz="1600"/>
            </a:lvl1pPr>
            <a:lvl2pPr>
              <a:lnSpc>
                <a:spcPct val="100000"/>
              </a:lnSpc>
              <a:spcAft>
                <a:spcPts val="600"/>
              </a:spcAft>
              <a:defRPr sz="1600"/>
            </a:lvl2pPr>
            <a:lvl3pPr>
              <a:lnSpc>
                <a:spcPct val="100000"/>
              </a:lnSpc>
              <a:spcAft>
                <a:spcPts val="600"/>
              </a:spcAft>
              <a:defRPr sz="1600"/>
            </a:lvl3pPr>
            <a:lvl4pPr>
              <a:lnSpc>
                <a:spcPct val="100000"/>
              </a:lnSpc>
              <a:spcAft>
                <a:spcPts val="600"/>
              </a:spcAft>
              <a:defRPr sz="1600"/>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3"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14"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p:spPr>
        <p:txBody>
          <a:bodyPr anchor="b" anchorCtr="0"/>
          <a:lstStyle>
            <a:lvl1pPr>
              <a:defRPr sz="1000"/>
            </a:lvl1pPr>
          </a:lstStyle>
          <a:p>
            <a:pPr lvl="0"/>
            <a:r>
              <a:rPr lang="en-US" noProof="0"/>
              <a:t>Click to add footnotes</a:t>
            </a:r>
          </a:p>
        </p:txBody>
      </p:sp>
      <p:sp>
        <p:nvSpPr>
          <p:cNvPr id="2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8"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p:spPr>
        <p:txBody>
          <a:bodyPr tIns="36000" anchor="t" anchorCtr="0"/>
          <a:lstStyle>
            <a:lvl1pPr>
              <a:defRPr sz="1000"/>
            </a:lvl1pPr>
          </a:lstStyle>
          <a:p>
            <a:pPr lvl="0"/>
            <a:r>
              <a:rPr lang="en-US" noProof="0"/>
              <a:t>Click to add source</a:t>
            </a:r>
          </a:p>
        </p:txBody>
      </p:sp>
      <p:sp>
        <p:nvSpPr>
          <p:cNvPr id="9"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spTree>
    <p:extLst>
      <p:ext uri="{BB962C8B-B14F-4D97-AF65-F5344CB8AC3E}">
        <p14:creationId xmlns:p14="http://schemas.microsoft.com/office/powerpoint/2010/main" val="6496750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hidden="1">
            <a:extLst>
              <a:ext uri="{FF2B5EF4-FFF2-40B4-BE49-F238E27FC236}">
                <a16:creationId xmlns:a16="http://schemas.microsoft.com/office/drawing/2014/main" id="{B789CE62-716F-47B1-B8FE-60436A1FA5A7}"/>
              </a:ext>
            </a:extLst>
          </p:cNvPr>
          <p:cNvSpPr txBox="1"/>
          <p:nvPr>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7499679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Contrast Custom">
    <p:spTree>
      <p:nvGrpSpPr>
        <p:cNvPr id="1" name=""/>
        <p:cNvGrpSpPr/>
        <p:nvPr/>
      </p:nvGrpSpPr>
      <p:grpSpPr>
        <a:xfrm>
          <a:off x="0" y="0"/>
          <a:ext cx="0" cy="0"/>
          <a:chOff x="0" y="0"/>
          <a:chExt cx="0" cy="0"/>
        </a:xfrm>
      </p:grpSpPr>
      <p:sp>
        <p:nvSpPr>
          <p:cNvPr id="4" name="SlideLogoText" hidden="1">
            <a:extLst>
              <a:ext uri="{FF2B5EF4-FFF2-40B4-BE49-F238E27FC236}">
                <a16:creationId xmlns:a16="http://schemas.microsoft.com/office/drawing/2014/main" id="{2F705A80-1DB0-43C3-A71A-9587E6BCC3AD}"/>
              </a:ext>
            </a:extLst>
          </p:cNvPr>
          <p:cNvSpPr txBox="1"/>
          <p:nvPr>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0464549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Contrast End">
    <p:bg>
      <p:bgPr>
        <a:blipFill dpi="0" rotWithShape="1">
          <a:blip r:embed="rId5"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p:custDataLst>
              <p:tags r:id="rId1"/>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6" name="LogoImage" hidden="1">
            <a:extLst>
              <a:ext uri="{FF2B5EF4-FFF2-40B4-BE49-F238E27FC236}">
                <a16:creationId xmlns:a16="http://schemas.microsoft.com/office/drawing/2014/main" id="{280FE25E-C8A9-4A63-9254-D200989A2E09}"/>
              </a:ext>
            </a:extLst>
          </p:cNvPr>
          <p:cNvGrpSpPr>
            <a:grpSpLocks noChangeAspect="1"/>
          </p:cNvGrpSpPr>
          <p:nvPr>
            <p:custDataLst>
              <p:tags r:id="rId2"/>
            </p:custDataLst>
          </p:nvPr>
        </p:nvGrpSpPr>
        <p:grpSpPr bwMode="black">
          <a:xfrm>
            <a:off x="549271" y="481161"/>
            <a:ext cx="1893202" cy="585216"/>
            <a:chOff x="0" y="973"/>
            <a:chExt cx="7680" cy="2374"/>
          </a:xfrm>
        </p:grpSpPr>
        <p:sp>
          <p:nvSpPr>
            <p:cNvPr id="8" name="AutoShape 3" hidden="1">
              <a:extLst>
                <a:ext uri="{FF2B5EF4-FFF2-40B4-BE49-F238E27FC236}">
                  <a16:creationId xmlns:a16="http://schemas.microsoft.com/office/drawing/2014/main" id="{FD120780-E7D0-42EA-AB5A-363335299EBE}"/>
                </a:ext>
              </a:extLst>
            </p:cNvPr>
            <p:cNvSpPr>
              <a:spLocks noChangeAspect="1" noChangeArrowheads="1" noTextEdit="1"/>
            </p:cNvSpPr>
            <p:nvPr/>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 name="Freeform 5" hidden="1">
              <a:extLst>
                <a:ext uri="{FF2B5EF4-FFF2-40B4-BE49-F238E27FC236}">
                  <a16:creationId xmlns:a16="http://schemas.microsoft.com/office/drawing/2014/main" id="{A9C60168-96E8-4CC3-91EC-B2F7F57959D9}"/>
                </a:ext>
              </a:extLst>
            </p:cNvPr>
            <p:cNvSpPr>
              <a:spLocks noEditPoints="1"/>
            </p:cNvSpPr>
            <p:nvPr/>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24917864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2591896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20" y="1622"/>
          <a:ext cx="1619" cy="1619"/>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620" y="1622"/>
                        <a:ext cx="1619" cy="1619"/>
                      </a:xfrm>
                      <a:prstGeom prst="rect">
                        <a:avLst/>
                      </a:prstGeom>
                    </p:spPr>
                  </p:pic>
                </p:oleObj>
              </mc:Fallback>
            </mc:AlternateContent>
          </a:graphicData>
        </a:graphic>
      </p:graphicFrame>
      <p:sp>
        <p:nvSpPr>
          <p:cNvPr id="8" name="Slide Number"/>
          <p:cNvSpPr txBox="1">
            <a:spLocks/>
          </p:cNvSpPr>
          <p:nvPr userDrawn="1"/>
        </p:nvSpPr>
        <p:spPr bwMode="gray">
          <a:xfrm>
            <a:off x="11681336" y="6640500"/>
            <a:ext cx="1282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smtClean="0">
                <a:solidFill>
                  <a:schemeClr val="tx1"/>
                </a:solidFill>
                <a:latin typeface="+mn-lt"/>
              </a:rPr>
              <a:pPr/>
              <a:t>‹#›</a:t>
            </a:fld>
            <a:endParaRPr lang="en-US" sz="816">
              <a:solidFill>
                <a:schemeClr val="tx1"/>
              </a:solidFill>
              <a:latin typeface="+mn-lt"/>
            </a:endParaRPr>
          </a:p>
        </p:txBody>
      </p:sp>
      <p:sp>
        <p:nvSpPr>
          <p:cNvPr id="9" name="SlideLogoText"/>
          <p:cNvSpPr>
            <a:spLocks noChangeArrowheads="1"/>
          </p:cNvSpPr>
          <p:nvPr userDrawn="1">
            <p:custDataLst>
              <p:tags r:id="rId2"/>
            </p:custDataLst>
          </p:nvPr>
        </p:nvSpPr>
        <p:spPr bwMode="gray">
          <a:xfrm>
            <a:off x="10515277" y="6640500"/>
            <a:ext cx="102912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72"/>
            <a:r>
              <a:rPr lang="en-US" sz="816">
                <a:solidFill>
                  <a:schemeClr val="tx1"/>
                </a:solidFill>
                <a:latin typeface="+mn-lt"/>
              </a:rPr>
              <a:t>McKinsey &amp; Company</a:t>
            </a:r>
          </a:p>
        </p:txBody>
      </p:sp>
      <p:sp>
        <p:nvSpPr>
          <p:cNvPr id="6" name="Title Placeholder 3"/>
          <p:cNvSpPr>
            <a:spLocks noGrp="1"/>
          </p:cNvSpPr>
          <p:nvPr>
            <p:ph type="title"/>
          </p:nvPr>
        </p:nvSpPr>
        <p:spPr>
          <a:xfrm>
            <a:off x="332057" y="214584"/>
            <a:ext cx="11510806" cy="384721"/>
          </a:xfrm>
          <a:prstGeom prst="rect">
            <a:avLst/>
          </a:prstGeom>
        </p:spPr>
        <p:txBody>
          <a:bodyPr vert="horz" wrap="square" lIns="0" tIns="0" rIns="0" bIns="0" rtlCol="0" anchor="t" anchorCtr="0">
            <a:spAutoFit/>
          </a:bodyPr>
          <a:lstStyle/>
          <a:p>
            <a:r>
              <a:rPr lang="en-US"/>
              <a:t>Click to edit Master title style</a:t>
            </a:r>
          </a:p>
        </p:txBody>
      </p:sp>
      <p:sp>
        <p:nvSpPr>
          <p:cNvPr id="10" name="doc id" hidden="1"/>
          <p:cNvSpPr txBox="1">
            <a:spLocks noChangeArrowheads="1"/>
          </p:cNvSpPr>
          <p:nvPr userDrawn="1"/>
        </p:nvSpPr>
        <p:spPr bwMode="auto">
          <a:xfrm>
            <a:off x="11473501" y="37257"/>
            <a:ext cx="401720"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r>
              <a:rPr lang="en-US" sz="816">
                <a:solidFill>
                  <a:schemeClr val="accent6"/>
                </a:solidFill>
                <a:latin typeface="+mn-lt"/>
              </a:rPr>
              <a:t>ESC-AAA123-20170802-</a:t>
            </a:r>
          </a:p>
        </p:txBody>
      </p:sp>
    </p:spTree>
    <p:extLst>
      <p:ext uri="{BB962C8B-B14F-4D97-AF65-F5344CB8AC3E}">
        <p14:creationId xmlns:p14="http://schemas.microsoft.com/office/powerpoint/2010/main" val="3575149260"/>
      </p:ext>
    </p:extLst>
  </p:cSld>
  <p:clrMapOvr>
    <a:masterClrMapping/>
  </p:clrMapOvr>
  <mc:AlternateContent xmlns:mc="http://schemas.openxmlformats.org/markup-compatibility/2006">
    <mc:Choice xmlns:p14="http://schemas.microsoft.com/office/powerpoint/2010/main" Requires="p14">
      <p:transition p14:dur="40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48" b="0" i="0">
                <a:solidFill>
                  <a:srgbClr val="1F40E6"/>
                </a:solidFill>
                <a:latin typeface="Georgia"/>
                <a:cs typeface="Georgia"/>
              </a:defRPr>
            </a:lvl1pPr>
          </a:lstStyle>
          <a:p>
            <a:endParaRPr/>
          </a:p>
        </p:txBody>
      </p:sp>
      <p:sp>
        <p:nvSpPr>
          <p:cNvPr id="3" name="Holder 3"/>
          <p:cNvSpPr>
            <a:spLocks noGrp="1"/>
          </p:cNvSpPr>
          <p:nvPr>
            <p:ph type="body" idx="1"/>
          </p:nvPr>
        </p:nvSpPr>
        <p:spPr/>
        <p:txBody>
          <a:bodyPr lIns="0" tIns="0" rIns="0" bIns="0"/>
          <a:lstStyle>
            <a:lvl1pPr>
              <a:defRPr sz="1122" b="0" i="0">
                <a:solidFill>
                  <a:srgbClr val="3D3C40"/>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816" b="0" i="0">
                <a:solidFill>
                  <a:srgbClr val="808080"/>
                </a:solidFill>
                <a:latin typeface="Arial"/>
                <a:cs typeface="Arial"/>
              </a:defRPr>
            </a:lvl1pPr>
          </a:lstStyle>
          <a:p>
            <a:pPr marL="12951">
              <a:spcBef>
                <a:spcPts val="25"/>
              </a:spcBef>
            </a:pPr>
            <a:r>
              <a:rPr lang="en-US" spc="-5"/>
              <a:t>SOURCE: </a:t>
            </a:r>
            <a:r>
              <a:rPr lang="en-US"/>
              <a:t>Team</a:t>
            </a:r>
            <a:r>
              <a:rPr lang="en-US" spc="-31"/>
              <a:t> </a:t>
            </a:r>
            <a:r>
              <a:rPr lang="en-US" spc="-5"/>
              <a:t>Analysis</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6</a:t>
            </a:fld>
            <a:endParaRPr lang="en-US"/>
          </a:p>
        </p:txBody>
      </p:sp>
      <p:sp>
        <p:nvSpPr>
          <p:cNvPr id="6" name="Holder 6"/>
          <p:cNvSpPr>
            <a:spLocks noGrp="1"/>
          </p:cNvSpPr>
          <p:nvPr>
            <p:ph type="sldNum" sz="quarter" idx="7"/>
          </p:nvPr>
        </p:nvSpPr>
        <p:spPr/>
        <p:txBody>
          <a:bodyPr lIns="0" tIns="0" rIns="0" bIns="0"/>
          <a:lstStyle>
            <a:lvl1pPr>
              <a:defRPr sz="816" b="0" i="0">
                <a:solidFill>
                  <a:srgbClr val="3D3C40"/>
                </a:solidFill>
                <a:latin typeface="Arial"/>
                <a:cs typeface="Arial"/>
              </a:defRPr>
            </a:lvl1pPr>
          </a:lstStyle>
          <a:p>
            <a:pPr marL="12951">
              <a:spcBef>
                <a:spcPts val="25"/>
              </a:spcBef>
              <a:tabLst>
                <a:tab pos="1172107" algn="l"/>
              </a:tabLst>
            </a:pPr>
            <a:r>
              <a:rPr lang="en-US"/>
              <a:t>McKinsey</a:t>
            </a:r>
            <a:r>
              <a:rPr lang="en-US" spc="-15"/>
              <a:t> </a:t>
            </a:r>
            <a:r>
              <a:rPr lang="en-US"/>
              <a:t>&amp;</a:t>
            </a:r>
            <a:r>
              <a:rPr lang="en-US" spc="5"/>
              <a:t> </a:t>
            </a:r>
            <a:r>
              <a:rPr lang="en-US"/>
              <a:t>Company	</a:t>
            </a:r>
            <a:fld id="{81D60167-4931-47E6-BA6A-407CBD079E47}" type="slidenum">
              <a:rPr smtClean="0"/>
              <a:pPr marL="12951">
                <a:spcBef>
                  <a:spcPts val="25"/>
                </a:spcBef>
                <a:tabLst>
                  <a:tab pos="1172107" algn="l"/>
                </a:tabLst>
              </a:pPr>
              <a:t>‹#›</a:t>
            </a:fld>
            <a:endParaRPr/>
          </a:p>
        </p:txBody>
      </p:sp>
    </p:spTree>
    <p:extLst>
      <p:ext uri="{BB962C8B-B14F-4D97-AF65-F5344CB8AC3E}">
        <p14:creationId xmlns:p14="http://schemas.microsoft.com/office/powerpoint/2010/main" val="7715469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spTree>
    <p:extLst>
      <p:ext uri="{BB962C8B-B14F-4D97-AF65-F5344CB8AC3E}">
        <p14:creationId xmlns:p14="http://schemas.microsoft.com/office/powerpoint/2010/main" val="9287780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4_Cover 1">
    <p:spTree>
      <p:nvGrpSpPr>
        <p:cNvPr id="1" name=""/>
        <p:cNvGrpSpPr/>
        <p:nvPr/>
      </p:nvGrpSpPr>
      <p:grpSpPr>
        <a:xfrm>
          <a:off x="0" y="0"/>
          <a:ext cx="0" cy="0"/>
          <a:chOff x="0" y="0"/>
          <a:chExt cx="0" cy="0"/>
        </a:xfrm>
      </p:grpSpPr>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pic>
        <p:nvPicPr>
          <p:cNvPr id="10" name="Imagem 9">
            <a:extLst>
              <a:ext uri="{FF2B5EF4-FFF2-40B4-BE49-F238E27FC236}">
                <a16:creationId xmlns:a16="http://schemas.microsoft.com/office/drawing/2014/main" id="{2E675306-838F-254D-8AED-906FC51B418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t="781" b="781"/>
          <a:stretch/>
        </p:blipFill>
        <p:spPr>
          <a:xfrm>
            <a:off x="3622" y="-1"/>
            <a:ext cx="12184757" cy="6858001"/>
          </a:xfrm>
          <a:prstGeom prst="rect">
            <a:avLst/>
          </a:prstGeom>
        </p:spPr>
      </p:pic>
      <p:sp>
        <p:nvSpPr>
          <p:cNvPr id="6" name="Retângulo 5">
            <a:extLst>
              <a:ext uri="{FF2B5EF4-FFF2-40B4-BE49-F238E27FC236}">
                <a16:creationId xmlns:a16="http://schemas.microsoft.com/office/drawing/2014/main" id="{F4592669-34F5-0148-A320-7F224AA80E3B}"/>
              </a:ext>
            </a:extLst>
          </p:cNvPr>
          <p:cNvSpPr/>
          <p:nvPr userDrawn="1"/>
        </p:nvSpPr>
        <p:spPr>
          <a:xfrm>
            <a:off x="0" y="1955"/>
            <a:ext cx="12192000" cy="6856045"/>
          </a:xfrm>
          <a:prstGeom prst="rect">
            <a:avLst/>
          </a:prstGeom>
          <a:gradFill flip="none" rotWithShape="1">
            <a:gsLst>
              <a:gs pos="0">
                <a:schemeClr val="bg1"/>
              </a:gs>
              <a:gs pos="100000">
                <a:schemeClr val="accent4">
                  <a:lumMod val="60000"/>
                  <a:lumOff val="40000"/>
                  <a:alpha val="36608"/>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5718372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6_Index">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spTree>
    <p:extLst>
      <p:ext uri="{BB962C8B-B14F-4D97-AF65-F5344CB8AC3E}">
        <p14:creationId xmlns:p14="http://schemas.microsoft.com/office/powerpoint/2010/main" val="9151573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_Layout w/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72C7637-E198-4E44-B59C-3194989054AC}"/>
              </a:ext>
            </a:extLst>
          </p:cNvPr>
          <p:cNvSpPr>
            <a:spLocks noGrp="1"/>
          </p:cNvSpPr>
          <p:nvPr>
            <p:ph type="body" sz="quarter" idx="13"/>
          </p:nvPr>
        </p:nvSpPr>
        <p:spPr>
          <a:xfrm>
            <a:off x="550863" y="1628774"/>
            <a:ext cx="11090275" cy="4500564"/>
          </a:xfrm>
          <a:prstGeom prst="rect">
            <a:avLst/>
          </a:prstGeom>
        </p:spPr>
        <p:txBody>
          <a:bodyPr tIns="180000"/>
          <a:lstStyle>
            <a:lvl1pPr>
              <a:lnSpc>
                <a:spcPct val="100000"/>
              </a:lnSpc>
              <a:spcAft>
                <a:spcPts val="600"/>
              </a:spcAft>
              <a:defRPr sz="1600"/>
            </a:lvl1pPr>
            <a:lvl2pPr>
              <a:lnSpc>
                <a:spcPct val="100000"/>
              </a:lnSpc>
              <a:spcAft>
                <a:spcPts val="600"/>
              </a:spcAft>
              <a:defRPr sz="1600"/>
            </a:lvl2pPr>
            <a:lvl3pPr>
              <a:lnSpc>
                <a:spcPct val="100000"/>
              </a:lnSpc>
              <a:spcAft>
                <a:spcPts val="600"/>
              </a:spcAft>
              <a:defRPr sz="1600"/>
            </a:lvl3pPr>
            <a:lvl4pPr>
              <a:lnSpc>
                <a:spcPct val="100000"/>
              </a:lnSpc>
              <a:spcAft>
                <a:spcPts val="600"/>
              </a:spcAft>
              <a:defRPr sz="1600"/>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3"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14"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a:prstGeom prst="rect">
            <a:avLst/>
          </a:prstGeom>
        </p:spPr>
        <p:txBody>
          <a:bodyPr anchor="b" anchorCtr="0"/>
          <a:lstStyle>
            <a:lvl1pPr>
              <a:defRPr sz="1000"/>
            </a:lvl1pPr>
          </a:lstStyle>
          <a:p>
            <a:pPr lvl="0"/>
            <a:r>
              <a:rPr lang="en-US" noProof="0"/>
              <a:t>Click to add footnotes</a:t>
            </a:r>
          </a:p>
        </p:txBody>
      </p:sp>
      <p:sp>
        <p:nvSpPr>
          <p:cNvPr id="2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a:prstGeom prst="rect">
            <a:avLst/>
          </a:prstGeom>
        </p:spPr>
        <p:txBody>
          <a:bodyPr anchor="b"/>
          <a:lstStyle>
            <a:lvl1pPr algn="r">
              <a:defRPr sz="1000"/>
            </a:lvl1pPr>
          </a:lstStyle>
          <a:p>
            <a:pPr lvl="0"/>
            <a:r>
              <a:rPr lang="en-US" noProof="0"/>
              <a:t>Chapter # &gt; Topic</a:t>
            </a:r>
          </a:p>
        </p:txBody>
      </p:sp>
      <p:sp>
        <p:nvSpPr>
          <p:cNvPr id="8"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a:prstGeom prst="rect">
            <a:avLst/>
          </a:prstGeom>
        </p:spPr>
        <p:txBody>
          <a:bodyPr tIns="36000" anchor="t" anchorCtr="0"/>
          <a:lstStyle>
            <a:lvl1pPr>
              <a:defRPr sz="1000"/>
            </a:lvl1pPr>
          </a:lstStyle>
          <a:p>
            <a:pPr lvl="0"/>
            <a:r>
              <a:rPr lang="en-US" noProof="0"/>
              <a:t>Click to add source</a:t>
            </a:r>
          </a:p>
        </p:txBody>
      </p:sp>
      <p:sp>
        <p:nvSpPr>
          <p:cNvPr id="9"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sp>
        <p:nvSpPr>
          <p:cNvPr id="11" name="Content Placeholder 3"/>
          <p:cNvSpPr>
            <a:spLocks noGrp="1"/>
          </p:cNvSpPr>
          <p:nvPr>
            <p:ph sz="quarter" idx="15" hasCustomPrompt="1"/>
          </p:nvPr>
        </p:nvSpPr>
        <p:spPr>
          <a:xfrm>
            <a:off x="550862" y="1240519"/>
            <a:ext cx="11090275" cy="278374"/>
          </a:xfrm>
          <a:prstGeom prst="rect">
            <a:avLst/>
          </a:prstGeo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table title</a:t>
            </a:r>
          </a:p>
        </p:txBody>
      </p:sp>
    </p:spTree>
    <p:extLst>
      <p:ext uri="{BB962C8B-B14F-4D97-AF65-F5344CB8AC3E}">
        <p14:creationId xmlns:p14="http://schemas.microsoft.com/office/powerpoint/2010/main" val="3193420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0_1/2">
    <p:spTree>
      <p:nvGrpSpPr>
        <p:cNvPr id="1" name=""/>
        <p:cNvGrpSpPr/>
        <p:nvPr/>
      </p:nvGrpSpPr>
      <p:grpSpPr>
        <a:xfrm>
          <a:off x="0" y="0"/>
          <a:ext cx="0" cy="0"/>
          <a:chOff x="0" y="0"/>
          <a:chExt cx="0" cy="0"/>
        </a:xfrm>
      </p:grpSpPr>
      <p:sp>
        <p:nvSpPr>
          <p:cNvPr id="2"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3" name="CuadroTexto 5">
            <a:extLst>
              <a:ext uri="{FF2B5EF4-FFF2-40B4-BE49-F238E27FC236}">
                <a16:creationId xmlns:a16="http://schemas.microsoft.com/office/drawing/2014/main" id="{222FF7D7-7B77-4EEC-8205-A031C02EC565}"/>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pic>
        <p:nvPicPr>
          <p:cNvPr id="4"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5" y="6467037"/>
            <a:ext cx="1223683" cy="214585"/>
          </a:xfrm>
          <a:prstGeom prst="rect">
            <a:avLst/>
          </a:prstGeom>
        </p:spPr>
      </p:pic>
      <p:sp>
        <p:nvSpPr>
          <p:cNvPr id="5"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p:spPr>
        <p:txBody>
          <a:bodyPr anchor="b" anchorCtr="0"/>
          <a:lstStyle>
            <a:lvl1pPr>
              <a:defRPr sz="1000"/>
            </a:lvl1pPr>
          </a:lstStyle>
          <a:p>
            <a:pPr lvl="0"/>
            <a:r>
              <a:rPr lang="en-US" noProof="0"/>
              <a:t>Click to add footnotes</a:t>
            </a:r>
          </a:p>
        </p:txBody>
      </p:sp>
      <p:sp>
        <p:nvSpPr>
          <p:cNvPr id="7" name="Rectangle 6">
            <a:extLst>
              <a:ext uri="{FF2B5EF4-FFF2-40B4-BE49-F238E27FC236}">
                <a16:creationId xmlns:a16="http://schemas.microsoft.com/office/drawing/2014/main" id="{974A453A-D419-44F6-8B0F-84C43FCFA567}"/>
              </a:ext>
            </a:extLst>
          </p:cNvPr>
          <p:cNvSpPr/>
          <p:nvPr userDrawn="1"/>
        </p:nvSpPr>
        <p:spPr>
          <a:xfrm>
            <a:off x="6098960" y="1196974"/>
            <a:ext cx="5555824" cy="486092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3"/>
          <p:cNvSpPr>
            <a:spLocks noGrp="1"/>
          </p:cNvSpPr>
          <p:nvPr>
            <p:ph sz="quarter" idx="15" hasCustomPrompt="1"/>
          </p:nvPr>
        </p:nvSpPr>
        <p:spPr>
          <a:xfrm>
            <a:off x="550862" y="1240519"/>
            <a:ext cx="5221219"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9" name="Content Placeholder 3"/>
          <p:cNvSpPr>
            <a:spLocks noGrp="1"/>
          </p:cNvSpPr>
          <p:nvPr>
            <p:ph sz="quarter" idx="16" hasCustomPrompt="1"/>
          </p:nvPr>
        </p:nvSpPr>
        <p:spPr>
          <a:xfrm>
            <a:off x="6381750" y="1240518"/>
            <a:ext cx="5101410"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10" name="Content Placeholder 2"/>
          <p:cNvSpPr>
            <a:spLocks noGrp="1"/>
          </p:cNvSpPr>
          <p:nvPr>
            <p:ph sz="quarter" idx="17"/>
          </p:nvPr>
        </p:nvSpPr>
        <p:spPr>
          <a:xfrm>
            <a:off x="6381532" y="1628775"/>
            <a:ext cx="5115144" cy="4176713"/>
          </a:xfrm>
        </p:spPr>
        <p:txBody>
          <a:bodyPr anchor="ctr"/>
          <a:lstStyle>
            <a:lvl1pPr>
              <a:lnSpc>
                <a:spcPct val="100000"/>
              </a:lnSpc>
              <a:spcAft>
                <a:spcPts val="600"/>
              </a:spcAft>
              <a:defRPr/>
            </a:lvl1pPr>
            <a:lvl2pPr>
              <a:lnSpc>
                <a:spcPct val="100000"/>
              </a:lnSpc>
              <a:spcAft>
                <a:spcPts val="600"/>
              </a:spcAft>
              <a:defRPr/>
            </a:lvl2pPr>
            <a:lvl3pPr>
              <a:lnSpc>
                <a:spcPct val="100000"/>
              </a:lnSpc>
              <a:spcAft>
                <a:spcPts val="600"/>
              </a:spcAft>
              <a:defRPr/>
            </a:lvl3pPr>
            <a:lvl4pPr>
              <a:lnSpc>
                <a:spcPct val="100000"/>
              </a:lnSpc>
              <a:spcAft>
                <a:spcPts val="600"/>
              </a:spcAft>
              <a:defRPr/>
            </a:lvl4pPr>
            <a:lvl5pPr>
              <a:lnSpc>
                <a:spcPct val="100000"/>
              </a:lnSpc>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1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1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cxnSp>
        <p:nvCxnSpPr>
          <p:cNvPr id="13" name="Straight Connector 12">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7BA9BCE-A3E8-411D-907B-B79FCB4A37A3}"/>
              </a:ext>
            </a:extLst>
          </p:cNvPr>
          <p:cNvCxnSpPr/>
          <p:nvPr userDrawn="1"/>
        </p:nvCxnSpPr>
        <p:spPr>
          <a:xfrm>
            <a:off x="550863" y="642140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p:spPr>
        <p:txBody>
          <a:bodyPr tIns="36000" anchor="t" anchorCtr="0"/>
          <a:lstStyle>
            <a:lvl1pPr>
              <a:defRPr sz="1000"/>
            </a:lvl1pPr>
          </a:lstStyle>
          <a:p>
            <a:pPr lvl="0"/>
            <a:r>
              <a:rPr lang="en-US" noProof="0"/>
              <a:t>Click to add source</a:t>
            </a:r>
          </a:p>
        </p:txBody>
      </p:sp>
    </p:spTree>
    <p:extLst>
      <p:ext uri="{BB962C8B-B14F-4D97-AF65-F5344CB8AC3E}">
        <p14:creationId xmlns:p14="http://schemas.microsoft.com/office/powerpoint/2010/main" val="4310442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8_Layout w/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72C7637-E198-4E44-B59C-3194989054AC}"/>
              </a:ext>
            </a:extLst>
          </p:cNvPr>
          <p:cNvSpPr>
            <a:spLocks noGrp="1"/>
          </p:cNvSpPr>
          <p:nvPr>
            <p:ph type="body" sz="quarter" idx="13"/>
          </p:nvPr>
        </p:nvSpPr>
        <p:spPr>
          <a:xfrm>
            <a:off x="550863" y="1628774"/>
            <a:ext cx="11090275" cy="4500564"/>
          </a:xfrm>
          <a:prstGeom prst="rect">
            <a:avLst/>
          </a:prstGeom>
        </p:spPr>
        <p:txBody>
          <a:bodyPr tIns="180000"/>
          <a:lstStyle>
            <a:lvl1pPr>
              <a:lnSpc>
                <a:spcPct val="100000"/>
              </a:lnSpc>
              <a:spcAft>
                <a:spcPts val="600"/>
              </a:spcAft>
              <a:defRPr sz="1600"/>
            </a:lvl1pPr>
            <a:lvl2pPr>
              <a:lnSpc>
                <a:spcPct val="100000"/>
              </a:lnSpc>
              <a:spcAft>
                <a:spcPts val="600"/>
              </a:spcAft>
              <a:defRPr sz="1600"/>
            </a:lvl2pPr>
            <a:lvl3pPr>
              <a:lnSpc>
                <a:spcPct val="100000"/>
              </a:lnSpc>
              <a:spcAft>
                <a:spcPts val="600"/>
              </a:spcAft>
              <a:defRPr sz="1600"/>
            </a:lvl3pPr>
            <a:lvl4pPr>
              <a:lnSpc>
                <a:spcPct val="100000"/>
              </a:lnSpc>
              <a:spcAft>
                <a:spcPts val="600"/>
              </a:spcAft>
              <a:defRPr sz="1600"/>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3"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14"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a:prstGeom prst="rect">
            <a:avLst/>
          </a:prstGeom>
        </p:spPr>
        <p:txBody>
          <a:bodyPr anchor="b" anchorCtr="0"/>
          <a:lstStyle>
            <a:lvl1pPr>
              <a:defRPr sz="1000"/>
            </a:lvl1pPr>
          </a:lstStyle>
          <a:p>
            <a:pPr lvl="0"/>
            <a:r>
              <a:rPr lang="en-US" noProof="0"/>
              <a:t>Click to add footnotes</a:t>
            </a:r>
          </a:p>
        </p:txBody>
      </p:sp>
      <p:sp>
        <p:nvSpPr>
          <p:cNvPr id="2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a:prstGeom prst="rect">
            <a:avLst/>
          </a:prstGeom>
        </p:spPr>
        <p:txBody>
          <a:bodyPr anchor="b"/>
          <a:lstStyle>
            <a:lvl1pPr algn="r">
              <a:defRPr sz="1000"/>
            </a:lvl1pPr>
          </a:lstStyle>
          <a:p>
            <a:pPr lvl="0"/>
            <a:r>
              <a:rPr lang="en-US" noProof="0"/>
              <a:t>Chapter # &gt; Topic</a:t>
            </a:r>
          </a:p>
        </p:txBody>
      </p:sp>
      <p:sp>
        <p:nvSpPr>
          <p:cNvPr id="8"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a:prstGeom prst="rect">
            <a:avLst/>
          </a:prstGeom>
        </p:spPr>
        <p:txBody>
          <a:bodyPr tIns="36000" anchor="t" anchorCtr="0"/>
          <a:lstStyle>
            <a:lvl1pPr>
              <a:defRPr sz="1000"/>
            </a:lvl1pPr>
          </a:lstStyle>
          <a:p>
            <a:pPr lvl="0"/>
            <a:r>
              <a:rPr lang="en-US" noProof="0"/>
              <a:t>Click to add source</a:t>
            </a:r>
          </a:p>
        </p:txBody>
      </p:sp>
      <p:sp>
        <p:nvSpPr>
          <p:cNvPr id="9"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sp>
        <p:nvSpPr>
          <p:cNvPr id="11" name="Content Placeholder 3"/>
          <p:cNvSpPr>
            <a:spLocks noGrp="1"/>
          </p:cNvSpPr>
          <p:nvPr>
            <p:ph sz="quarter" idx="15" hasCustomPrompt="1"/>
          </p:nvPr>
        </p:nvSpPr>
        <p:spPr>
          <a:xfrm>
            <a:off x="550862" y="1240519"/>
            <a:ext cx="11090275" cy="278374"/>
          </a:xfrm>
          <a:prstGeom prst="rect">
            <a:avLst/>
          </a:prstGeo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table title</a:t>
            </a:r>
          </a:p>
        </p:txBody>
      </p:sp>
      <p:pic>
        <p:nvPicPr>
          <p:cNvPr id="12" name="Imagem 11">
            <a:extLst>
              <a:ext uri="{FF2B5EF4-FFF2-40B4-BE49-F238E27FC236}">
                <a16:creationId xmlns:a16="http://schemas.microsoft.com/office/drawing/2014/main" id="{A0F26AD4-6940-E64A-9E87-A7479823887C}"/>
              </a:ext>
            </a:extLst>
          </p:cNvPr>
          <p:cNvPicPr>
            <a:picLocks noChangeAspect="1"/>
          </p:cNvPicPr>
          <p:nvPr userDrawn="1"/>
        </p:nvPicPr>
        <p:blipFill>
          <a:blip r:embed="rId2" cstate="email">
            <a:duotone>
              <a:srgbClr val="1AB2BB">
                <a:shade val="45000"/>
                <a:satMod val="135000"/>
              </a:srgbClr>
              <a:prstClr val="white"/>
            </a:duotone>
            <a:alphaModFix amt="20000"/>
            <a:extLst>
              <a:ext uri="{28A0092B-C50C-407E-A947-70E740481C1C}">
                <a14:useLocalDpi xmlns:a14="http://schemas.microsoft.com/office/drawing/2010/main"/>
              </a:ext>
            </a:extLst>
          </a:blip>
          <a:stretch>
            <a:fillRect/>
          </a:stretch>
        </p:blipFill>
        <p:spPr>
          <a:xfrm>
            <a:off x="1006288" y="890325"/>
            <a:ext cx="10179424" cy="5552414"/>
          </a:xfrm>
          <a:prstGeom prst="rect">
            <a:avLst/>
          </a:prstGeom>
        </p:spPr>
      </p:pic>
    </p:spTree>
    <p:extLst>
      <p:ext uri="{BB962C8B-B14F-4D97-AF65-F5344CB8AC3E}">
        <p14:creationId xmlns:p14="http://schemas.microsoft.com/office/powerpoint/2010/main" val="5325209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2_Layout wo/ subtitle">
    <p:spTree>
      <p:nvGrpSpPr>
        <p:cNvPr id="1" name=""/>
        <p:cNvGrpSpPr/>
        <p:nvPr/>
      </p:nvGrpSpPr>
      <p:grpSpPr>
        <a:xfrm>
          <a:off x="0" y="0"/>
          <a:ext cx="0" cy="0"/>
          <a:chOff x="0" y="0"/>
          <a:chExt cx="0" cy="0"/>
        </a:xfrm>
      </p:grpSpPr>
      <p:sp>
        <p:nvSpPr>
          <p:cNvPr id="13" name="CuadroTexto 5">
            <a:extLst>
              <a:ext uri="{FF2B5EF4-FFF2-40B4-BE49-F238E27FC236}">
                <a16:creationId xmlns:a16="http://schemas.microsoft.com/office/drawing/2014/main" id="{4355AB1E-66FF-4C7B-95B6-6E8B522B05A6}"/>
              </a:ext>
            </a:extLst>
          </p:cNvPr>
          <p:cNvSpPr txBox="1"/>
          <p:nvPr userDrawn="1"/>
        </p:nvSpPr>
        <p:spPr>
          <a:xfrm>
            <a:off x="10000201" y="6500297"/>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100" b="1" noProof="0" smtClean="0">
                <a:solidFill>
                  <a:schemeClr val="bg2"/>
                </a:solidFill>
                <a:latin typeface="Santander Text" panose="020B0504020201020104" pitchFamily="34" charset="0"/>
              </a:rPr>
              <a:pPr algn="r" defTabSz="912754"/>
              <a:t>‹#›</a:t>
            </a:fld>
            <a:endParaRPr lang="en-US" sz="1100" b="1" noProof="0">
              <a:solidFill>
                <a:schemeClr val="bg2"/>
              </a:solidFill>
              <a:latin typeface="Santander Text" panose="020B0504020201020104" pitchFamily="34" charset="0"/>
            </a:endParaRPr>
          </a:p>
        </p:txBody>
      </p:sp>
      <p:pic>
        <p:nvPicPr>
          <p:cNvPr id="4" name="Gráfico 11">
            <a:extLst>
              <a:ext uri="{FF2B5EF4-FFF2-40B4-BE49-F238E27FC236}">
                <a16:creationId xmlns:a16="http://schemas.microsoft.com/office/drawing/2014/main" id="{2C0EF2EA-F965-D8E9-40D6-3508770EE4B7}"/>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8934" r="79301" b="-1"/>
          <a:stretch/>
        </p:blipFill>
        <p:spPr>
          <a:xfrm>
            <a:off x="11851052" y="6517313"/>
            <a:ext cx="253286" cy="233757"/>
          </a:xfrm>
          <a:prstGeom prst="rect">
            <a:avLst/>
          </a:prstGeom>
        </p:spPr>
      </p:pic>
    </p:spTree>
    <p:extLst>
      <p:ext uri="{BB962C8B-B14F-4D97-AF65-F5344CB8AC3E}">
        <p14:creationId xmlns:p14="http://schemas.microsoft.com/office/powerpoint/2010/main" val="28642795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Layout wo/ subtitle">
    <p:spTree>
      <p:nvGrpSpPr>
        <p:cNvPr id="1" name=""/>
        <p:cNvGrpSpPr/>
        <p:nvPr/>
      </p:nvGrpSpPr>
      <p:grpSpPr>
        <a:xfrm>
          <a:off x="0" y="0"/>
          <a:ext cx="0" cy="0"/>
          <a:chOff x="0" y="0"/>
          <a:chExt cx="0" cy="0"/>
        </a:xfrm>
      </p:grpSpPr>
      <p:sp>
        <p:nvSpPr>
          <p:cNvPr id="17" name="Retângulo 16">
            <a:extLst>
              <a:ext uri="{FF2B5EF4-FFF2-40B4-BE49-F238E27FC236}">
                <a16:creationId xmlns:a16="http://schemas.microsoft.com/office/drawing/2014/main" id="{1DFC5301-9A54-3D6B-03C9-635A005225E6}"/>
              </a:ext>
            </a:extLst>
          </p:cNvPr>
          <p:cNvSpPr/>
          <p:nvPr userDrawn="1"/>
        </p:nvSpPr>
        <p:spPr>
          <a:xfrm>
            <a:off x="11940" y="0"/>
            <a:ext cx="12168120" cy="71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CuadroTexto 5">
            <a:extLst>
              <a:ext uri="{FF2B5EF4-FFF2-40B4-BE49-F238E27FC236}">
                <a16:creationId xmlns:a16="http://schemas.microsoft.com/office/drawing/2014/main" id="{4355AB1E-66FF-4C7B-95B6-6E8B522B05A6}"/>
              </a:ext>
            </a:extLst>
          </p:cNvPr>
          <p:cNvSpPr txBox="1"/>
          <p:nvPr userDrawn="1"/>
        </p:nvSpPr>
        <p:spPr>
          <a:xfrm>
            <a:off x="10000201" y="6500297"/>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100" b="1" noProof="0" smtClean="0">
                <a:solidFill>
                  <a:schemeClr val="bg2"/>
                </a:solidFill>
                <a:latin typeface="Santander Text" panose="020B0504020201020104" pitchFamily="34" charset="0"/>
              </a:rPr>
              <a:pPr algn="r" defTabSz="912754"/>
              <a:t>‹#›</a:t>
            </a:fld>
            <a:endParaRPr lang="en-US" sz="1100" b="1" noProof="0">
              <a:solidFill>
                <a:schemeClr val="bg2"/>
              </a:solidFill>
              <a:latin typeface="Santander Text" panose="020B0504020201020104" pitchFamily="34" charset="0"/>
            </a:endParaRPr>
          </a:p>
        </p:txBody>
      </p:sp>
      <p:graphicFrame>
        <p:nvGraphicFramePr>
          <p:cNvPr id="16" name="Tabela 15">
            <a:extLst>
              <a:ext uri="{FF2B5EF4-FFF2-40B4-BE49-F238E27FC236}">
                <a16:creationId xmlns:a16="http://schemas.microsoft.com/office/drawing/2014/main" id="{A2D63D2C-A64C-1C21-2B25-064A5A55FA4C}"/>
              </a:ext>
            </a:extLst>
          </p:cNvPr>
          <p:cNvGraphicFramePr>
            <a:graphicFrameLocks noGrp="1"/>
          </p:cNvGraphicFramePr>
          <p:nvPr userDrawn="1">
            <p:extLst>
              <p:ext uri="{D42A27DB-BD31-4B8C-83A1-F6EECF244321}">
                <p14:modId xmlns:p14="http://schemas.microsoft.com/office/powerpoint/2010/main" val="3215101647"/>
              </p:ext>
            </p:extLst>
          </p:nvPr>
        </p:nvGraphicFramePr>
        <p:xfrm>
          <a:off x="-4993" y="0"/>
          <a:ext cx="473608" cy="6858000"/>
        </p:xfrm>
        <a:graphic>
          <a:graphicData uri="http://schemas.openxmlformats.org/drawingml/2006/table">
            <a:tbl>
              <a:tblPr firstRow="1" bandRow="1">
                <a:tableStyleId>{5C22544A-7EE6-4342-B048-85BDC9FD1C3A}</a:tableStyleId>
              </a:tblPr>
              <a:tblGrid>
                <a:gridCol w="473608">
                  <a:extLst>
                    <a:ext uri="{9D8B030D-6E8A-4147-A177-3AD203B41FA5}">
                      <a16:colId xmlns:a16="http://schemas.microsoft.com/office/drawing/2014/main" val="2323868061"/>
                    </a:ext>
                  </a:extLst>
                </a:gridCol>
              </a:tblGrid>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rPr>
                        <a:t>ESCENÁRIO </a:t>
                      </a:r>
                      <a:r>
                        <a:rPr kumimoji="0" lang="pt-BR" sz="800" b="1" i="0" u="none" strike="noStrike" kern="1200" cap="none" spc="0" normalizeH="0" baseline="0" noProof="0" err="1">
                          <a:ln>
                            <a:noFill/>
                          </a:ln>
                          <a:solidFill>
                            <a:schemeClr val="bg1"/>
                          </a:solidFill>
                          <a:effectLst/>
                          <a:uLnTx/>
                          <a:uFillTx/>
                          <a:latin typeface="Santander Text" panose="020B0504020201020104" pitchFamily="34" charset="77"/>
                          <a:ea typeface="+mn-ea"/>
                          <a:cs typeface="+mn-cs"/>
                        </a:rPr>
                        <a:t>Y</a:t>
                      </a:r>
                      <a:r>
                        <a:rPr kumimoji="0" lang="pt-BR"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rPr>
                        <a:t> RESULTADOS</a:t>
                      </a:r>
                      <a:endParaRPr kumimoji="0" lang="es-ES"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endParaRPr>
                    </a:p>
                  </a:txBody>
                  <a:tcPr vert="vert270" anchor="ctr">
                    <a:lnL w="12700" cmpd="sng">
                      <a:noFill/>
                    </a:lnL>
                    <a:lnR w="12700" cmpd="sng">
                      <a:noFill/>
                    </a:lnR>
                    <a:lnT w="12700" cmpd="sng">
                      <a:noFill/>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830773298"/>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CAPEX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OPEX</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3579679858"/>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ALEXANDRIA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PROYECTO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458684072"/>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KPI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431141420"/>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VOLÚMENE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1784187885"/>
                  </a:ext>
                </a:extLst>
              </a:tr>
            </a:tbl>
          </a:graphicData>
        </a:graphic>
      </p:graphicFrame>
      <p:grpSp>
        <p:nvGrpSpPr>
          <p:cNvPr id="28" name="Agrupar 27">
            <a:extLst>
              <a:ext uri="{FF2B5EF4-FFF2-40B4-BE49-F238E27FC236}">
                <a16:creationId xmlns:a16="http://schemas.microsoft.com/office/drawing/2014/main" id="{6B9C1720-2C77-D67A-E331-7C7B83559896}"/>
              </a:ext>
            </a:extLst>
          </p:cNvPr>
          <p:cNvGrpSpPr/>
          <p:nvPr userDrawn="1"/>
        </p:nvGrpSpPr>
        <p:grpSpPr>
          <a:xfrm>
            <a:off x="722726" y="1133401"/>
            <a:ext cx="11191939" cy="5332265"/>
            <a:chOff x="690821" y="877078"/>
            <a:chExt cx="7534899" cy="6199677"/>
          </a:xfrm>
        </p:grpSpPr>
        <p:sp>
          <p:nvSpPr>
            <p:cNvPr id="20" name="Retângulo Arredondado 19">
              <a:extLst>
                <a:ext uri="{FF2B5EF4-FFF2-40B4-BE49-F238E27FC236}">
                  <a16:creationId xmlns:a16="http://schemas.microsoft.com/office/drawing/2014/main" id="{F03D7640-6B61-B9EB-86E2-427164612169}"/>
                </a:ext>
              </a:extLst>
            </p:cNvPr>
            <p:cNvSpPr/>
            <p:nvPr userDrawn="1"/>
          </p:nvSpPr>
          <p:spPr>
            <a:xfrm>
              <a:off x="690821" y="877078"/>
              <a:ext cx="3713228" cy="1940768"/>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2" name="Retângulo Arredondado 21">
              <a:extLst>
                <a:ext uri="{FF2B5EF4-FFF2-40B4-BE49-F238E27FC236}">
                  <a16:creationId xmlns:a16="http://schemas.microsoft.com/office/drawing/2014/main" id="{C52406D3-433C-4AC9-1D6B-B89459B55EF5}"/>
                </a:ext>
              </a:extLst>
            </p:cNvPr>
            <p:cNvSpPr/>
            <p:nvPr userDrawn="1"/>
          </p:nvSpPr>
          <p:spPr>
            <a:xfrm>
              <a:off x="4512492" y="877078"/>
              <a:ext cx="3713228" cy="1940768"/>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Retângulo Arredondado 23">
              <a:extLst>
                <a:ext uri="{FF2B5EF4-FFF2-40B4-BE49-F238E27FC236}">
                  <a16:creationId xmlns:a16="http://schemas.microsoft.com/office/drawing/2014/main" id="{83CE8A53-1DA8-34E2-EB1D-0DE36FC0B47E}"/>
                </a:ext>
              </a:extLst>
            </p:cNvPr>
            <p:cNvSpPr/>
            <p:nvPr userDrawn="1"/>
          </p:nvSpPr>
          <p:spPr>
            <a:xfrm>
              <a:off x="690821" y="3006532"/>
              <a:ext cx="3713228" cy="1940768"/>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Retângulo Arredondado 24">
              <a:extLst>
                <a:ext uri="{FF2B5EF4-FFF2-40B4-BE49-F238E27FC236}">
                  <a16:creationId xmlns:a16="http://schemas.microsoft.com/office/drawing/2014/main" id="{42A70413-453B-7C09-D495-6FD1CBF45698}"/>
                </a:ext>
              </a:extLst>
            </p:cNvPr>
            <p:cNvSpPr/>
            <p:nvPr userDrawn="1"/>
          </p:nvSpPr>
          <p:spPr>
            <a:xfrm>
              <a:off x="4512492" y="3006532"/>
              <a:ext cx="3713228" cy="1940768"/>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6" name="Retângulo Arredondado 25">
              <a:extLst>
                <a:ext uri="{FF2B5EF4-FFF2-40B4-BE49-F238E27FC236}">
                  <a16:creationId xmlns:a16="http://schemas.microsoft.com/office/drawing/2014/main" id="{496C615A-7952-59E1-8605-C2086CE08417}"/>
                </a:ext>
              </a:extLst>
            </p:cNvPr>
            <p:cNvSpPr/>
            <p:nvPr userDrawn="1"/>
          </p:nvSpPr>
          <p:spPr>
            <a:xfrm>
              <a:off x="690821" y="5135987"/>
              <a:ext cx="3713228" cy="1940768"/>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Retângulo Arredondado 26">
              <a:extLst>
                <a:ext uri="{FF2B5EF4-FFF2-40B4-BE49-F238E27FC236}">
                  <a16:creationId xmlns:a16="http://schemas.microsoft.com/office/drawing/2014/main" id="{B5A619E9-472D-F15D-21A8-9B1CDCCFC438}"/>
                </a:ext>
              </a:extLst>
            </p:cNvPr>
            <p:cNvSpPr/>
            <p:nvPr userDrawn="1"/>
          </p:nvSpPr>
          <p:spPr>
            <a:xfrm>
              <a:off x="4512492" y="5135987"/>
              <a:ext cx="3713228" cy="1940768"/>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pic>
        <p:nvPicPr>
          <p:cNvPr id="29" name="Espaço Reservado para Imagem 5">
            <a:extLst>
              <a:ext uri="{FF2B5EF4-FFF2-40B4-BE49-F238E27FC236}">
                <a16:creationId xmlns:a16="http://schemas.microsoft.com/office/drawing/2014/main" id="{649A51E9-9F6D-2389-3D72-2F40C0AB7E0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915" t="20611" r="70352" b="9173"/>
          <a:stretch/>
        </p:blipFill>
        <p:spPr>
          <a:xfrm>
            <a:off x="11678297" y="120428"/>
            <a:ext cx="467497" cy="493985"/>
          </a:xfrm>
          <a:prstGeom prst="rect">
            <a:avLst/>
          </a:prstGeom>
        </p:spPr>
      </p:pic>
      <p:grpSp>
        <p:nvGrpSpPr>
          <p:cNvPr id="46" name="Agrupar 45">
            <a:extLst>
              <a:ext uri="{FF2B5EF4-FFF2-40B4-BE49-F238E27FC236}">
                <a16:creationId xmlns:a16="http://schemas.microsoft.com/office/drawing/2014/main" id="{32E0DE61-FAEA-BFFF-07AD-C8F189C32F7F}"/>
              </a:ext>
            </a:extLst>
          </p:cNvPr>
          <p:cNvGrpSpPr/>
          <p:nvPr userDrawn="1"/>
        </p:nvGrpSpPr>
        <p:grpSpPr>
          <a:xfrm>
            <a:off x="794459" y="1202269"/>
            <a:ext cx="5811595" cy="3808622"/>
            <a:chOff x="4414879" y="937844"/>
            <a:chExt cx="7349307" cy="4816371"/>
          </a:xfrm>
        </p:grpSpPr>
        <p:pic>
          <p:nvPicPr>
            <p:cNvPr id="47" name="Imagem 46">
              <a:extLst>
                <a:ext uri="{FF2B5EF4-FFF2-40B4-BE49-F238E27FC236}">
                  <a16:creationId xmlns:a16="http://schemas.microsoft.com/office/drawing/2014/main" id="{765B8F86-FCA4-C36A-F35C-5501AED55FB7}"/>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4414879" y="937844"/>
              <a:ext cx="180000" cy="180000"/>
            </a:xfrm>
            <a:prstGeom prst="rect">
              <a:avLst/>
            </a:prstGeom>
          </p:spPr>
        </p:pic>
        <p:pic>
          <p:nvPicPr>
            <p:cNvPr id="48" name="Imagem 47" descr="Logotipo, Ícone&#10;&#10;Descrição gerada automaticamente">
              <a:extLst>
                <a:ext uri="{FF2B5EF4-FFF2-40B4-BE49-F238E27FC236}">
                  <a16:creationId xmlns:a16="http://schemas.microsoft.com/office/drawing/2014/main" id="{6F2003AB-2FC1-F00B-9500-CEB9A38BA64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584186" y="937844"/>
              <a:ext cx="180000" cy="180000"/>
            </a:xfrm>
            <a:prstGeom prst="rect">
              <a:avLst/>
            </a:prstGeom>
          </p:spPr>
        </p:pic>
        <p:pic>
          <p:nvPicPr>
            <p:cNvPr id="49" name="Imagem 48">
              <a:extLst>
                <a:ext uri="{FF2B5EF4-FFF2-40B4-BE49-F238E27FC236}">
                  <a16:creationId xmlns:a16="http://schemas.microsoft.com/office/drawing/2014/main" id="{FC6A0BDA-8692-C3A4-0ADA-2EB940FB822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4414879" y="3248606"/>
              <a:ext cx="180000" cy="180000"/>
            </a:xfrm>
            <a:prstGeom prst="rect">
              <a:avLst/>
            </a:prstGeom>
          </p:spPr>
        </p:pic>
        <p:pic>
          <p:nvPicPr>
            <p:cNvPr id="50" name="Imagem 49">
              <a:extLst>
                <a:ext uri="{FF2B5EF4-FFF2-40B4-BE49-F238E27FC236}">
                  <a16:creationId xmlns:a16="http://schemas.microsoft.com/office/drawing/2014/main" id="{80E5C804-8BB9-8CE8-F61A-C4EE0F924E02}"/>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1584186" y="5574215"/>
              <a:ext cx="180000" cy="180000"/>
            </a:xfrm>
            <a:prstGeom prst="rect">
              <a:avLst/>
            </a:prstGeom>
          </p:spPr>
        </p:pic>
        <p:pic>
          <p:nvPicPr>
            <p:cNvPr id="51" name="Imagem 50" descr="Forma&#10;&#10;Descrição gerada automaticamente com confiança baixa">
              <a:extLst>
                <a:ext uri="{FF2B5EF4-FFF2-40B4-BE49-F238E27FC236}">
                  <a16:creationId xmlns:a16="http://schemas.microsoft.com/office/drawing/2014/main" id="{E769CDA8-2361-5450-79CE-0D19D193405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584186" y="3248606"/>
              <a:ext cx="180000" cy="180000"/>
            </a:xfrm>
            <a:prstGeom prst="rect">
              <a:avLst/>
            </a:prstGeom>
          </p:spPr>
        </p:pic>
        <p:pic>
          <p:nvPicPr>
            <p:cNvPr id="52" name="Imagem 51">
              <a:extLst>
                <a:ext uri="{FF2B5EF4-FFF2-40B4-BE49-F238E27FC236}">
                  <a16:creationId xmlns:a16="http://schemas.microsoft.com/office/drawing/2014/main" id="{EA8C715A-8DA5-B071-9374-1BE53149A2DD}"/>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4414879" y="5574215"/>
              <a:ext cx="180000" cy="180000"/>
            </a:xfrm>
            <a:prstGeom prst="rect">
              <a:avLst/>
            </a:prstGeom>
          </p:spPr>
        </p:pic>
      </p:grpSp>
    </p:spTree>
    <p:extLst>
      <p:ext uri="{BB962C8B-B14F-4D97-AF65-F5344CB8AC3E}">
        <p14:creationId xmlns:p14="http://schemas.microsoft.com/office/powerpoint/2010/main" val="20183790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3_Layout wo/ subtitle">
    <p:spTree>
      <p:nvGrpSpPr>
        <p:cNvPr id="1" name=""/>
        <p:cNvGrpSpPr/>
        <p:nvPr/>
      </p:nvGrpSpPr>
      <p:grpSpPr>
        <a:xfrm>
          <a:off x="0" y="0"/>
          <a:ext cx="0" cy="0"/>
          <a:chOff x="0" y="0"/>
          <a:chExt cx="0" cy="0"/>
        </a:xfrm>
      </p:grpSpPr>
      <p:sp>
        <p:nvSpPr>
          <p:cNvPr id="17" name="Retângulo 16">
            <a:extLst>
              <a:ext uri="{FF2B5EF4-FFF2-40B4-BE49-F238E27FC236}">
                <a16:creationId xmlns:a16="http://schemas.microsoft.com/office/drawing/2014/main" id="{1DFC5301-9A54-3D6B-03C9-635A005225E6}"/>
              </a:ext>
            </a:extLst>
          </p:cNvPr>
          <p:cNvSpPr/>
          <p:nvPr userDrawn="1"/>
        </p:nvSpPr>
        <p:spPr>
          <a:xfrm>
            <a:off x="11940" y="0"/>
            <a:ext cx="12168120" cy="71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CuadroTexto 5">
            <a:extLst>
              <a:ext uri="{FF2B5EF4-FFF2-40B4-BE49-F238E27FC236}">
                <a16:creationId xmlns:a16="http://schemas.microsoft.com/office/drawing/2014/main" id="{4355AB1E-66FF-4C7B-95B6-6E8B522B05A6}"/>
              </a:ext>
            </a:extLst>
          </p:cNvPr>
          <p:cNvSpPr txBox="1"/>
          <p:nvPr userDrawn="1"/>
        </p:nvSpPr>
        <p:spPr>
          <a:xfrm>
            <a:off x="10000201" y="6500297"/>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100" b="1" noProof="0" smtClean="0">
                <a:solidFill>
                  <a:schemeClr val="bg2"/>
                </a:solidFill>
                <a:latin typeface="Santander Text" panose="020B0504020201020104" pitchFamily="34" charset="0"/>
              </a:rPr>
              <a:pPr algn="r" defTabSz="912754"/>
              <a:t>‹#›</a:t>
            </a:fld>
            <a:endParaRPr lang="en-US" sz="1100" b="1" noProof="0">
              <a:solidFill>
                <a:schemeClr val="bg2"/>
              </a:solidFill>
              <a:latin typeface="Santander Text" panose="020B0504020201020104" pitchFamily="34" charset="0"/>
            </a:endParaRPr>
          </a:p>
        </p:txBody>
      </p:sp>
      <p:graphicFrame>
        <p:nvGraphicFramePr>
          <p:cNvPr id="16" name="Tabela 15">
            <a:extLst>
              <a:ext uri="{FF2B5EF4-FFF2-40B4-BE49-F238E27FC236}">
                <a16:creationId xmlns:a16="http://schemas.microsoft.com/office/drawing/2014/main" id="{A2D63D2C-A64C-1C21-2B25-064A5A55FA4C}"/>
              </a:ext>
            </a:extLst>
          </p:cNvPr>
          <p:cNvGraphicFramePr>
            <a:graphicFrameLocks noGrp="1"/>
          </p:cNvGraphicFramePr>
          <p:nvPr userDrawn="1">
            <p:extLst>
              <p:ext uri="{D42A27DB-BD31-4B8C-83A1-F6EECF244321}">
                <p14:modId xmlns:p14="http://schemas.microsoft.com/office/powerpoint/2010/main" val="3215101647"/>
              </p:ext>
            </p:extLst>
          </p:nvPr>
        </p:nvGraphicFramePr>
        <p:xfrm>
          <a:off x="-4993" y="0"/>
          <a:ext cx="473608" cy="6858000"/>
        </p:xfrm>
        <a:graphic>
          <a:graphicData uri="http://schemas.openxmlformats.org/drawingml/2006/table">
            <a:tbl>
              <a:tblPr firstRow="1" bandRow="1">
                <a:tableStyleId>{5C22544A-7EE6-4342-B048-85BDC9FD1C3A}</a:tableStyleId>
              </a:tblPr>
              <a:tblGrid>
                <a:gridCol w="473608">
                  <a:extLst>
                    <a:ext uri="{9D8B030D-6E8A-4147-A177-3AD203B41FA5}">
                      <a16:colId xmlns:a16="http://schemas.microsoft.com/office/drawing/2014/main" val="2323868061"/>
                    </a:ext>
                  </a:extLst>
                </a:gridCol>
              </a:tblGrid>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rPr>
                        <a:t>ESCENÁRIO </a:t>
                      </a:r>
                      <a:r>
                        <a:rPr kumimoji="0" lang="pt-BR" sz="800" b="1" i="0" u="none" strike="noStrike" kern="1200" cap="none" spc="0" normalizeH="0" baseline="0" noProof="0" err="1">
                          <a:ln>
                            <a:noFill/>
                          </a:ln>
                          <a:solidFill>
                            <a:schemeClr val="bg1"/>
                          </a:solidFill>
                          <a:effectLst/>
                          <a:uLnTx/>
                          <a:uFillTx/>
                          <a:latin typeface="Santander Text" panose="020B0504020201020104" pitchFamily="34" charset="77"/>
                          <a:ea typeface="+mn-ea"/>
                          <a:cs typeface="+mn-cs"/>
                        </a:rPr>
                        <a:t>Y</a:t>
                      </a:r>
                      <a:r>
                        <a:rPr kumimoji="0" lang="pt-BR"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rPr>
                        <a:t> RESULTADOS</a:t>
                      </a:r>
                      <a:endParaRPr kumimoji="0" lang="es-ES"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endParaRPr>
                    </a:p>
                  </a:txBody>
                  <a:tcPr vert="vert270" anchor="ctr">
                    <a:lnL w="12700" cmpd="sng">
                      <a:noFill/>
                    </a:lnL>
                    <a:lnR w="12700" cmpd="sng">
                      <a:noFill/>
                    </a:lnR>
                    <a:lnT w="12700" cmpd="sng">
                      <a:noFill/>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830773298"/>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CAPEX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OPEX</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3579679858"/>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ALEXANDRIA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PROYECTO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458684072"/>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KPI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431141420"/>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VOLÚMENE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1784187885"/>
                  </a:ext>
                </a:extLst>
              </a:tr>
            </a:tbl>
          </a:graphicData>
        </a:graphic>
      </p:graphicFrame>
      <p:pic>
        <p:nvPicPr>
          <p:cNvPr id="29" name="Espaço Reservado para Imagem 5">
            <a:extLst>
              <a:ext uri="{FF2B5EF4-FFF2-40B4-BE49-F238E27FC236}">
                <a16:creationId xmlns:a16="http://schemas.microsoft.com/office/drawing/2014/main" id="{649A51E9-9F6D-2389-3D72-2F40C0AB7E0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915" t="20611" r="70352" b="9173"/>
          <a:stretch/>
        </p:blipFill>
        <p:spPr>
          <a:xfrm>
            <a:off x="11678297" y="120428"/>
            <a:ext cx="467497" cy="493985"/>
          </a:xfrm>
          <a:prstGeom prst="rect">
            <a:avLst/>
          </a:prstGeom>
        </p:spPr>
      </p:pic>
    </p:spTree>
    <p:extLst>
      <p:ext uri="{BB962C8B-B14F-4D97-AF65-F5344CB8AC3E}">
        <p14:creationId xmlns:p14="http://schemas.microsoft.com/office/powerpoint/2010/main" val="6295042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4_Layout wo/ subtitle">
    <p:spTree>
      <p:nvGrpSpPr>
        <p:cNvPr id="1" name=""/>
        <p:cNvGrpSpPr/>
        <p:nvPr/>
      </p:nvGrpSpPr>
      <p:grpSpPr>
        <a:xfrm>
          <a:off x="0" y="0"/>
          <a:ext cx="0" cy="0"/>
          <a:chOff x="0" y="0"/>
          <a:chExt cx="0" cy="0"/>
        </a:xfrm>
      </p:grpSpPr>
      <p:sp>
        <p:nvSpPr>
          <p:cNvPr id="17" name="Retângulo 16">
            <a:extLst>
              <a:ext uri="{FF2B5EF4-FFF2-40B4-BE49-F238E27FC236}">
                <a16:creationId xmlns:a16="http://schemas.microsoft.com/office/drawing/2014/main" id="{1DFC5301-9A54-3D6B-03C9-635A005225E6}"/>
              </a:ext>
            </a:extLst>
          </p:cNvPr>
          <p:cNvSpPr/>
          <p:nvPr userDrawn="1"/>
        </p:nvSpPr>
        <p:spPr>
          <a:xfrm>
            <a:off x="11940" y="0"/>
            <a:ext cx="12168120" cy="71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CuadroTexto 5">
            <a:extLst>
              <a:ext uri="{FF2B5EF4-FFF2-40B4-BE49-F238E27FC236}">
                <a16:creationId xmlns:a16="http://schemas.microsoft.com/office/drawing/2014/main" id="{4355AB1E-66FF-4C7B-95B6-6E8B522B05A6}"/>
              </a:ext>
            </a:extLst>
          </p:cNvPr>
          <p:cNvSpPr txBox="1"/>
          <p:nvPr userDrawn="1"/>
        </p:nvSpPr>
        <p:spPr>
          <a:xfrm>
            <a:off x="10000201" y="6500297"/>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100" b="1" noProof="0" smtClean="0">
                <a:solidFill>
                  <a:schemeClr val="bg2"/>
                </a:solidFill>
                <a:latin typeface="Santander Text" panose="020B0504020201020104" pitchFamily="34" charset="0"/>
              </a:rPr>
              <a:pPr algn="r" defTabSz="912754"/>
              <a:t>‹#›</a:t>
            </a:fld>
            <a:endParaRPr lang="en-US" sz="1100" b="1" noProof="0">
              <a:solidFill>
                <a:schemeClr val="bg2"/>
              </a:solidFill>
              <a:latin typeface="Santander Text" panose="020B0504020201020104" pitchFamily="34" charset="0"/>
            </a:endParaRPr>
          </a:p>
        </p:txBody>
      </p:sp>
      <p:graphicFrame>
        <p:nvGraphicFramePr>
          <p:cNvPr id="16" name="Tabela 15">
            <a:extLst>
              <a:ext uri="{FF2B5EF4-FFF2-40B4-BE49-F238E27FC236}">
                <a16:creationId xmlns:a16="http://schemas.microsoft.com/office/drawing/2014/main" id="{A2D63D2C-A64C-1C21-2B25-064A5A55FA4C}"/>
              </a:ext>
            </a:extLst>
          </p:cNvPr>
          <p:cNvGraphicFramePr>
            <a:graphicFrameLocks noGrp="1"/>
          </p:cNvGraphicFramePr>
          <p:nvPr userDrawn="1">
            <p:extLst>
              <p:ext uri="{D42A27DB-BD31-4B8C-83A1-F6EECF244321}">
                <p14:modId xmlns:p14="http://schemas.microsoft.com/office/powerpoint/2010/main" val="2859856570"/>
              </p:ext>
            </p:extLst>
          </p:nvPr>
        </p:nvGraphicFramePr>
        <p:xfrm>
          <a:off x="-4993" y="0"/>
          <a:ext cx="473608" cy="6858000"/>
        </p:xfrm>
        <a:graphic>
          <a:graphicData uri="http://schemas.openxmlformats.org/drawingml/2006/table">
            <a:tbl>
              <a:tblPr firstRow="1" bandRow="1">
                <a:tableStyleId>{5C22544A-7EE6-4342-B048-85BDC9FD1C3A}</a:tableStyleId>
              </a:tblPr>
              <a:tblGrid>
                <a:gridCol w="473608">
                  <a:extLst>
                    <a:ext uri="{9D8B030D-6E8A-4147-A177-3AD203B41FA5}">
                      <a16:colId xmlns:a16="http://schemas.microsoft.com/office/drawing/2014/main" val="2323868061"/>
                    </a:ext>
                  </a:extLst>
                </a:gridCol>
              </a:tblGrid>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ESCENÁRIO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RESULTADO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12700" cmpd="sng">
                      <a:noFill/>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9303A"/>
                    </a:solidFill>
                  </a:tcPr>
                </a:tc>
                <a:extLst>
                  <a:ext uri="{0D108BD9-81ED-4DB2-BD59-A6C34878D82A}">
                    <a16:rowId xmlns:a16="http://schemas.microsoft.com/office/drawing/2014/main" val="830773298"/>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rPr>
                        <a:t>CAPEX </a:t>
                      </a:r>
                      <a:r>
                        <a:rPr kumimoji="0" lang="pt-BR" sz="800" b="1" i="0" u="none" strike="noStrike" kern="1200" cap="none" spc="0" normalizeH="0" baseline="0" noProof="0" err="1">
                          <a:ln>
                            <a:noFill/>
                          </a:ln>
                          <a:solidFill>
                            <a:schemeClr val="bg1"/>
                          </a:solidFill>
                          <a:effectLst/>
                          <a:uLnTx/>
                          <a:uFillTx/>
                          <a:latin typeface="Santander Text" panose="020B0504020201020104" pitchFamily="34" charset="77"/>
                          <a:ea typeface="+mn-ea"/>
                          <a:cs typeface="+mn-cs"/>
                        </a:rPr>
                        <a:t>Y</a:t>
                      </a:r>
                      <a:r>
                        <a:rPr kumimoji="0" lang="pt-BR"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rPr>
                        <a:t> OPEX</a:t>
                      </a:r>
                      <a:endParaRPr kumimoji="0" lang="es-ES"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579679858"/>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ALEXANDRIA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PROYECTO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458684072"/>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KPI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431141420"/>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VOLÚMENE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1784187885"/>
                  </a:ext>
                </a:extLst>
              </a:tr>
            </a:tbl>
          </a:graphicData>
        </a:graphic>
      </p:graphicFrame>
      <p:pic>
        <p:nvPicPr>
          <p:cNvPr id="29" name="Espaço Reservado para Imagem 5">
            <a:extLst>
              <a:ext uri="{FF2B5EF4-FFF2-40B4-BE49-F238E27FC236}">
                <a16:creationId xmlns:a16="http://schemas.microsoft.com/office/drawing/2014/main" id="{649A51E9-9F6D-2389-3D72-2F40C0AB7E0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915" t="20611" r="70352" b="9173"/>
          <a:stretch/>
        </p:blipFill>
        <p:spPr>
          <a:xfrm>
            <a:off x="11678297" y="120428"/>
            <a:ext cx="467497" cy="493985"/>
          </a:xfrm>
          <a:prstGeom prst="rect">
            <a:avLst/>
          </a:prstGeom>
        </p:spPr>
      </p:pic>
    </p:spTree>
    <p:extLst>
      <p:ext uri="{BB962C8B-B14F-4D97-AF65-F5344CB8AC3E}">
        <p14:creationId xmlns:p14="http://schemas.microsoft.com/office/powerpoint/2010/main" val="20159051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6_Layout wo/ subtitle">
    <p:spTree>
      <p:nvGrpSpPr>
        <p:cNvPr id="1" name=""/>
        <p:cNvGrpSpPr/>
        <p:nvPr/>
      </p:nvGrpSpPr>
      <p:grpSpPr>
        <a:xfrm>
          <a:off x="0" y="0"/>
          <a:ext cx="0" cy="0"/>
          <a:chOff x="0" y="0"/>
          <a:chExt cx="0" cy="0"/>
        </a:xfrm>
      </p:grpSpPr>
      <p:sp>
        <p:nvSpPr>
          <p:cNvPr id="17" name="Retângulo 16">
            <a:extLst>
              <a:ext uri="{FF2B5EF4-FFF2-40B4-BE49-F238E27FC236}">
                <a16:creationId xmlns:a16="http://schemas.microsoft.com/office/drawing/2014/main" id="{1DFC5301-9A54-3D6B-03C9-635A005225E6}"/>
              </a:ext>
            </a:extLst>
          </p:cNvPr>
          <p:cNvSpPr/>
          <p:nvPr userDrawn="1"/>
        </p:nvSpPr>
        <p:spPr>
          <a:xfrm>
            <a:off x="11940" y="0"/>
            <a:ext cx="12168120" cy="71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CuadroTexto 5">
            <a:extLst>
              <a:ext uri="{FF2B5EF4-FFF2-40B4-BE49-F238E27FC236}">
                <a16:creationId xmlns:a16="http://schemas.microsoft.com/office/drawing/2014/main" id="{4355AB1E-66FF-4C7B-95B6-6E8B522B05A6}"/>
              </a:ext>
            </a:extLst>
          </p:cNvPr>
          <p:cNvSpPr txBox="1"/>
          <p:nvPr userDrawn="1"/>
        </p:nvSpPr>
        <p:spPr>
          <a:xfrm>
            <a:off x="10000201" y="6500297"/>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100" b="1" noProof="0" smtClean="0">
                <a:solidFill>
                  <a:schemeClr val="bg2"/>
                </a:solidFill>
                <a:latin typeface="Santander Text" panose="020B0504020201020104" pitchFamily="34" charset="0"/>
              </a:rPr>
              <a:pPr algn="r" defTabSz="912754"/>
              <a:t>‹#›</a:t>
            </a:fld>
            <a:endParaRPr lang="en-US" sz="1100" b="1" noProof="0">
              <a:solidFill>
                <a:schemeClr val="bg2"/>
              </a:solidFill>
              <a:latin typeface="Santander Text" panose="020B0504020201020104" pitchFamily="34" charset="0"/>
            </a:endParaRPr>
          </a:p>
        </p:txBody>
      </p:sp>
      <p:graphicFrame>
        <p:nvGraphicFramePr>
          <p:cNvPr id="16" name="Tabela 15">
            <a:extLst>
              <a:ext uri="{FF2B5EF4-FFF2-40B4-BE49-F238E27FC236}">
                <a16:creationId xmlns:a16="http://schemas.microsoft.com/office/drawing/2014/main" id="{A2D63D2C-A64C-1C21-2B25-064A5A55FA4C}"/>
              </a:ext>
            </a:extLst>
          </p:cNvPr>
          <p:cNvGraphicFramePr>
            <a:graphicFrameLocks noGrp="1"/>
          </p:cNvGraphicFramePr>
          <p:nvPr userDrawn="1">
            <p:extLst>
              <p:ext uri="{D42A27DB-BD31-4B8C-83A1-F6EECF244321}">
                <p14:modId xmlns:p14="http://schemas.microsoft.com/office/powerpoint/2010/main" val="2659931215"/>
              </p:ext>
            </p:extLst>
          </p:nvPr>
        </p:nvGraphicFramePr>
        <p:xfrm>
          <a:off x="-4993" y="0"/>
          <a:ext cx="473608" cy="6858000"/>
        </p:xfrm>
        <a:graphic>
          <a:graphicData uri="http://schemas.openxmlformats.org/drawingml/2006/table">
            <a:tbl>
              <a:tblPr firstRow="1" bandRow="1">
                <a:tableStyleId>{5C22544A-7EE6-4342-B048-85BDC9FD1C3A}</a:tableStyleId>
              </a:tblPr>
              <a:tblGrid>
                <a:gridCol w="473608">
                  <a:extLst>
                    <a:ext uri="{9D8B030D-6E8A-4147-A177-3AD203B41FA5}">
                      <a16:colId xmlns:a16="http://schemas.microsoft.com/office/drawing/2014/main" val="2323868061"/>
                    </a:ext>
                  </a:extLst>
                </a:gridCol>
              </a:tblGrid>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ESCENÁRIO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RESULTADO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12700" cmpd="sng">
                      <a:noFill/>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9303A"/>
                    </a:solidFill>
                  </a:tcPr>
                </a:tc>
                <a:extLst>
                  <a:ext uri="{0D108BD9-81ED-4DB2-BD59-A6C34878D82A}">
                    <a16:rowId xmlns:a16="http://schemas.microsoft.com/office/drawing/2014/main" val="830773298"/>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CAPEX</a:t>
                      </a:r>
                      <a:r>
                        <a:rPr kumimoji="0" lang="pt-BR"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rPr>
                        <a:t>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OPEX</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82F3A"/>
                    </a:solidFill>
                  </a:tcPr>
                </a:tc>
                <a:extLst>
                  <a:ext uri="{0D108BD9-81ED-4DB2-BD59-A6C34878D82A}">
                    <a16:rowId xmlns:a16="http://schemas.microsoft.com/office/drawing/2014/main" val="3579679858"/>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ALEXANDRIA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PROYECTO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458684072"/>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rPr>
                        <a:t>KPIS</a:t>
                      </a:r>
                      <a:endParaRPr kumimoji="0" lang="es-ES"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31141420"/>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VOLÚMENE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1784187885"/>
                  </a:ext>
                </a:extLst>
              </a:tr>
            </a:tbl>
          </a:graphicData>
        </a:graphic>
      </p:graphicFrame>
      <p:pic>
        <p:nvPicPr>
          <p:cNvPr id="29" name="Espaço Reservado para Imagem 5">
            <a:extLst>
              <a:ext uri="{FF2B5EF4-FFF2-40B4-BE49-F238E27FC236}">
                <a16:creationId xmlns:a16="http://schemas.microsoft.com/office/drawing/2014/main" id="{649A51E9-9F6D-2389-3D72-2F40C0AB7E0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915" t="20611" r="70352" b="9173"/>
          <a:stretch/>
        </p:blipFill>
        <p:spPr>
          <a:xfrm>
            <a:off x="11678297" y="120428"/>
            <a:ext cx="467497" cy="493985"/>
          </a:xfrm>
          <a:prstGeom prst="rect">
            <a:avLst/>
          </a:prstGeom>
        </p:spPr>
      </p:pic>
    </p:spTree>
    <p:extLst>
      <p:ext uri="{BB962C8B-B14F-4D97-AF65-F5344CB8AC3E}">
        <p14:creationId xmlns:p14="http://schemas.microsoft.com/office/powerpoint/2010/main" val="37362925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5_Layout wo/ subtitle">
    <p:spTree>
      <p:nvGrpSpPr>
        <p:cNvPr id="1" name=""/>
        <p:cNvGrpSpPr/>
        <p:nvPr/>
      </p:nvGrpSpPr>
      <p:grpSpPr>
        <a:xfrm>
          <a:off x="0" y="0"/>
          <a:ext cx="0" cy="0"/>
          <a:chOff x="0" y="0"/>
          <a:chExt cx="0" cy="0"/>
        </a:xfrm>
      </p:grpSpPr>
      <p:sp>
        <p:nvSpPr>
          <p:cNvPr id="17" name="Retângulo 16">
            <a:extLst>
              <a:ext uri="{FF2B5EF4-FFF2-40B4-BE49-F238E27FC236}">
                <a16:creationId xmlns:a16="http://schemas.microsoft.com/office/drawing/2014/main" id="{1DFC5301-9A54-3D6B-03C9-635A005225E6}"/>
              </a:ext>
            </a:extLst>
          </p:cNvPr>
          <p:cNvSpPr/>
          <p:nvPr userDrawn="1"/>
        </p:nvSpPr>
        <p:spPr>
          <a:xfrm>
            <a:off x="11940" y="0"/>
            <a:ext cx="12168120" cy="71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CuadroTexto 5">
            <a:extLst>
              <a:ext uri="{FF2B5EF4-FFF2-40B4-BE49-F238E27FC236}">
                <a16:creationId xmlns:a16="http://schemas.microsoft.com/office/drawing/2014/main" id="{4355AB1E-66FF-4C7B-95B6-6E8B522B05A6}"/>
              </a:ext>
            </a:extLst>
          </p:cNvPr>
          <p:cNvSpPr txBox="1"/>
          <p:nvPr userDrawn="1"/>
        </p:nvSpPr>
        <p:spPr>
          <a:xfrm>
            <a:off x="10000201" y="6500297"/>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100" b="1" noProof="0" smtClean="0">
                <a:solidFill>
                  <a:schemeClr val="bg2"/>
                </a:solidFill>
                <a:latin typeface="Santander Text" panose="020B0504020201020104" pitchFamily="34" charset="0"/>
              </a:rPr>
              <a:pPr algn="r" defTabSz="912754"/>
              <a:t>‹#›</a:t>
            </a:fld>
            <a:endParaRPr lang="en-US" sz="1100" b="1" noProof="0">
              <a:solidFill>
                <a:schemeClr val="bg2"/>
              </a:solidFill>
              <a:latin typeface="Santander Text" panose="020B0504020201020104" pitchFamily="34" charset="0"/>
            </a:endParaRPr>
          </a:p>
        </p:txBody>
      </p:sp>
      <p:graphicFrame>
        <p:nvGraphicFramePr>
          <p:cNvPr id="16" name="Tabela 15">
            <a:extLst>
              <a:ext uri="{FF2B5EF4-FFF2-40B4-BE49-F238E27FC236}">
                <a16:creationId xmlns:a16="http://schemas.microsoft.com/office/drawing/2014/main" id="{A2D63D2C-A64C-1C21-2B25-064A5A55FA4C}"/>
              </a:ext>
            </a:extLst>
          </p:cNvPr>
          <p:cNvGraphicFramePr>
            <a:graphicFrameLocks noGrp="1"/>
          </p:cNvGraphicFramePr>
          <p:nvPr userDrawn="1">
            <p:extLst>
              <p:ext uri="{D42A27DB-BD31-4B8C-83A1-F6EECF244321}">
                <p14:modId xmlns:p14="http://schemas.microsoft.com/office/powerpoint/2010/main" val="868323710"/>
              </p:ext>
            </p:extLst>
          </p:nvPr>
        </p:nvGraphicFramePr>
        <p:xfrm>
          <a:off x="-4993" y="0"/>
          <a:ext cx="473608" cy="6858000"/>
        </p:xfrm>
        <a:graphic>
          <a:graphicData uri="http://schemas.openxmlformats.org/drawingml/2006/table">
            <a:tbl>
              <a:tblPr firstRow="1" bandRow="1">
                <a:tableStyleId>{5C22544A-7EE6-4342-B048-85BDC9FD1C3A}</a:tableStyleId>
              </a:tblPr>
              <a:tblGrid>
                <a:gridCol w="473608">
                  <a:extLst>
                    <a:ext uri="{9D8B030D-6E8A-4147-A177-3AD203B41FA5}">
                      <a16:colId xmlns:a16="http://schemas.microsoft.com/office/drawing/2014/main" val="2323868061"/>
                    </a:ext>
                  </a:extLst>
                </a:gridCol>
              </a:tblGrid>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ESCENÁRIO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RESULTADO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12700" cmpd="sng">
                      <a:noFill/>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9303A"/>
                    </a:solidFill>
                  </a:tcPr>
                </a:tc>
                <a:extLst>
                  <a:ext uri="{0D108BD9-81ED-4DB2-BD59-A6C34878D82A}">
                    <a16:rowId xmlns:a16="http://schemas.microsoft.com/office/drawing/2014/main" val="830773298"/>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CAPEX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OPEX</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82F3A"/>
                    </a:solidFill>
                  </a:tcPr>
                </a:tc>
                <a:extLst>
                  <a:ext uri="{0D108BD9-81ED-4DB2-BD59-A6C34878D82A}">
                    <a16:rowId xmlns:a16="http://schemas.microsoft.com/office/drawing/2014/main" val="3579679858"/>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rPr>
                        <a:t>ALEXANDRIA </a:t>
                      </a:r>
                      <a:r>
                        <a:rPr kumimoji="0" lang="pt-BR" sz="800" b="1" i="0" u="none" strike="noStrike" kern="1200" cap="none" spc="0" normalizeH="0" baseline="0" noProof="0" err="1">
                          <a:ln>
                            <a:noFill/>
                          </a:ln>
                          <a:solidFill>
                            <a:schemeClr val="bg1"/>
                          </a:solidFill>
                          <a:effectLst/>
                          <a:uLnTx/>
                          <a:uFillTx/>
                          <a:latin typeface="Santander Text" panose="020B0504020201020104" pitchFamily="34" charset="77"/>
                          <a:ea typeface="+mn-ea"/>
                          <a:cs typeface="+mn-cs"/>
                        </a:rPr>
                        <a:t>Y</a:t>
                      </a:r>
                      <a:r>
                        <a:rPr kumimoji="0" lang="pt-BR"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rPr>
                        <a:t> PROYECTOS</a:t>
                      </a:r>
                      <a:endParaRPr kumimoji="0" lang="es-ES"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58684072"/>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KPI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431141420"/>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VOLÚMENE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1784187885"/>
                  </a:ext>
                </a:extLst>
              </a:tr>
            </a:tbl>
          </a:graphicData>
        </a:graphic>
      </p:graphicFrame>
      <p:pic>
        <p:nvPicPr>
          <p:cNvPr id="29" name="Espaço Reservado para Imagem 5">
            <a:extLst>
              <a:ext uri="{FF2B5EF4-FFF2-40B4-BE49-F238E27FC236}">
                <a16:creationId xmlns:a16="http://schemas.microsoft.com/office/drawing/2014/main" id="{649A51E9-9F6D-2389-3D72-2F40C0AB7E0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915" t="20611" r="70352" b="9173"/>
          <a:stretch/>
        </p:blipFill>
        <p:spPr>
          <a:xfrm>
            <a:off x="11678297" y="120428"/>
            <a:ext cx="467497" cy="493985"/>
          </a:xfrm>
          <a:prstGeom prst="rect">
            <a:avLst/>
          </a:prstGeom>
        </p:spPr>
      </p:pic>
    </p:spTree>
    <p:extLst>
      <p:ext uri="{BB962C8B-B14F-4D97-AF65-F5344CB8AC3E}">
        <p14:creationId xmlns:p14="http://schemas.microsoft.com/office/powerpoint/2010/main" val="414430608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9_Layout wo/ subtitle">
    <p:spTree>
      <p:nvGrpSpPr>
        <p:cNvPr id="1" name=""/>
        <p:cNvGrpSpPr/>
        <p:nvPr/>
      </p:nvGrpSpPr>
      <p:grpSpPr>
        <a:xfrm>
          <a:off x="0" y="0"/>
          <a:ext cx="0" cy="0"/>
          <a:chOff x="0" y="0"/>
          <a:chExt cx="0" cy="0"/>
        </a:xfrm>
      </p:grpSpPr>
      <p:sp>
        <p:nvSpPr>
          <p:cNvPr id="17" name="Retângulo 16">
            <a:extLst>
              <a:ext uri="{FF2B5EF4-FFF2-40B4-BE49-F238E27FC236}">
                <a16:creationId xmlns:a16="http://schemas.microsoft.com/office/drawing/2014/main" id="{1DFC5301-9A54-3D6B-03C9-635A005225E6}"/>
              </a:ext>
            </a:extLst>
          </p:cNvPr>
          <p:cNvSpPr/>
          <p:nvPr userDrawn="1"/>
        </p:nvSpPr>
        <p:spPr>
          <a:xfrm>
            <a:off x="11940" y="0"/>
            <a:ext cx="12168120" cy="71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CuadroTexto 5">
            <a:extLst>
              <a:ext uri="{FF2B5EF4-FFF2-40B4-BE49-F238E27FC236}">
                <a16:creationId xmlns:a16="http://schemas.microsoft.com/office/drawing/2014/main" id="{4355AB1E-66FF-4C7B-95B6-6E8B522B05A6}"/>
              </a:ext>
            </a:extLst>
          </p:cNvPr>
          <p:cNvSpPr txBox="1"/>
          <p:nvPr userDrawn="1"/>
        </p:nvSpPr>
        <p:spPr>
          <a:xfrm>
            <a:off x="10000201" y="6500297"/>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100" b="1" noProof="0" smtClean="0">
                <a:solidFill>
                  <a:schemeClr val="bg2"/>
                </a:solidFill>
                <a:latin typeface="Santander Text" panose="020B0504020201020104" pitchFamily="34" charset="0"/>
              </a:rPr>
              <a:pPr algn="r" defTabSz="912754"/>
              <a:t>‹#›</a:t>
            </a:fld>
            <a:endParaRPr lang="en-US" sz="1100" b="1" noProof="0">
              <a:solidFill>
                <a:schemeClr val="bg2"/>
              </a:solidFill>
              <a:latin typeface="Santander Text" panose="020B0504020201020104" pitchFamily="34" charset="0"/>
            </a:endParaRPr>
          </a:p>
        </p:txBody>
      </p:sp>
      <p:grpSp>
        <p:nvGrpSpPr>
          <p:cNvPr id="4" name="Agrupar 3">
            <a:extLst>
              <a:ext uri="{FF2B5EF4-FFF2-40B4-BE49-F238E27FC236}">
                <a16:creationId xmlns:a16="http://schemas.microsoft.com/office/drawing/2014/main" id="{7962700E-A5F7-C44F-E372-2360C3C77DBD}"/>
              </a:ext>
            </a:extLst>
          </p:cNvPr>
          <p:cNvGrpSpPr/>
          <p:nvPr userDrawn="1"/>
        </p:nvGrpSpPr>
        <p:grpSpPr>
          <a:xfrm>
            <a:off x="690820" y="1163342"/>
            <a:ext cx="11256179" cy="5302324"/>
            <a:chOff x="690821" y="877079"/>
            <a:chExt cx="10593473" cy="3528031"/>
          </a:xfrm>
        </p:grpSpPr>
        <p:grpSp>
          <p:nvGrpSpPr>
            <p:cNvPr id="28" name="Agrupar 27">
              <a:extLst>
                <a:ext uri="{FF2B5EF4-FFF2-40B4-BE49-F238E27FC236}">
                  <a16:creationId xmlns:a16="http://schemas.microsoft.com/office/drawing/2014/main" id="{6B9C1720-2C77-D67A-E331-7C7B83559896}"/>
                </a:ext>
              </a:extLst>
            </p:cNvPr>
            <p:cNvGrpSpPr/>
            <p:nvPr userDrawn="1"/>
          </p:nvGrpSpPr>
          <p:grpSpPr>
            <a:xfrm>
              <a:off x="690821" y="877079"/>
              <a:ext cx="7010565" cy="3528031"/>
              <a:chOff x="690821" y="877078"/>
              <a:chExt cx="7550115" cy="3974387"/>
            </a:xfrm>
          </p:grpSpPr>
          <p:sp>
            <p:nvSpPr>
              <p:cNvPr id="20" name="Retângulo Arredondado 19">
                <a:extLst>
                  <a:ext uri="{FF2B5EF4-FFF2-40B4-BE49-F238E27FC236}">
                    <a16:creationId xmlns:a16="http://schemas.microsoft.com/office/drawing/2014/main" id="{F03D7640-6B61-B9EB-86E2-427164612169}"/>
                  </a:ext>
                </a:extLst>
              </p:cNvPr>
              <p:cNvSpPr/>
              <p:nvPr userDrawn="1"/>
            </p:nvSpPr>
            <p:spPr>
              <a:xfrm>
                <a:off x="690821" y="877078"/>
                <a:ext cx="3713228" cy="1940767"/>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2" name="Retângulo Arredondado 21">
                <a:extLst>
                  <a:ext uri="{FF2B5EF4-FFF2-40B4-BE49-F238E27FC236}">
                    <a16:creationId xmlns:a16="http://schemas.microsoft.com/office/drawing/2014/main" id="{C52406D3-433C-4AC9-1D6B-B89459B55EF5}"/>
                  </a:ext>
                </a:extLst>
              </p:cNvPr>
              <p:cNvSpPr/>
              <p:nvPr userDrawn="1"/>
            </p:nvSpPr>
            <p:spPr>
              <a:xfrm>
                <a:off x="4527708" y="877078"/>
                <a:ext cx="3713228" cy="1940767"/>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Retângulo Arredondado 23">
                <a:extLst>
                  <a:ext uri="{FF2B5EF4-FFF2-40B4-BE49-F238E27FC236}">
                    <a16:creationId xmlns:a16="http://schemas.microsoft.com/office/drawing/2014/main" id="{83CE8A53-1DA8-34E2-EB1D-0DE36FC0B47E}"/>
                  </a:ext>
                </a:extLst>
              </p:cNvPr>
              <p:cNvSpPr/>
              <p:nvPr userDrawn="1"/>
            </p:nvSpPr>
            <p:spPr>
              <a:xfrm>
                <a:off x="690821" y="2910698"/>
                <a:ext cx="3713228" cy="1940767"/>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Retângulo Arredondado 24">
                <a:extLst>
                  <a:ext uri="{FF2B5EF4-FFF2-40B4-BE49-F238E27FC236}">
                    <a16:creationId xmlns:a16="http://schemas.microsoft.com/office/drawing/2014/main" id="{42A70413-453B-7C09-D495-6FD1CBF45698}"/>
                  </a:ext>
                </a:extLst>
              </p:cNvPr>
              <p:cNvSpPr/>
              <p:nvPr userDrawn="1"/>
            </p:nvSpPr>
            <p:spPr>
              <a:xfrm>
                <a:off x="4527708" y="2910698"/>
                <a:ext cx="3713228" cy="1940767"/>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sp>
          <p:nvSpPr>
            <p:cNvPr id="2" name="Retângulo Arredondado 1">
              <a:extLst>
                <a:ext uri="{FF2B5EF4-FFF2-40B4-BE49-F238E27FC236}">
                  <a16:creationId xmlns:a16="http://schemas.microsoft.com/office/drawing/2014/main" id="{209EE4C8-A43C-1C71-3FF3-0D3A406924B9}"/>
                </a:ext>
              </a:extLst>
            </p:cNvPr>
            <p:cNvSpPr/>
            <p:nvPr userDrawn="1"/>
          </p:nvSpPr>
          <p:spPr>
            <a:xfrm>
              <a:off x="7836423" y="877079"/>
              <a:ext cx="3447871" cy="1722803"/>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 name="Retângulo Arredondado 2">
              <a:extLst>
                <a:ext uri="{FF2B5EF4-FFF2-40B4-BE49-F238E27FC236}">
                  <a16:creationId xmlns:a16="http://schemas.microsoft.com/office/drawing/2014/main" id="{7078FD22-ACB1-E2F1-1667-66A4A3915454}"/>
                </a:ext>
              </a:extLst>
            </p:cNvPr>
            <p:cNvSpPr/>
            <p:nvPr userDrawn="1"/>
          </p:nvSpPr>
          <p:spPr>
            <a:xfrm>
              <a:off x="7836423" y="2682307"/>
              <a:ext cx="3447871" cy="1722803"/>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pic>
        <p:nvPicPr>
          <p:cNvPr id="5" name="Espaço Reservado para Imagem 5">
            <a:extLst>
              <a:ext uri="{FF2B5EF4-FFF2-40B4-BE49-F238E27FC236}">
                <a16:creationId xmlns:a16="http://schemas.microsoft.com/office/drawing/2014/main" id="{2F1132A9-BBD3-24BF-447E-67B1F7401D7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915" t="20611" r="70352" b="9173"/>
          <a:stretch/>
        </p:blipFill>
        <p:spPr>
          <a:xfrm>
            <a:off x="11678297" y="120428"/>
            <a:ext cx="467497" cy="493985"/>
          </a:xfrm>
          <a:prstGeom prst="rect">
            <a:avLst/>
          </a:prstGeom>
        </p:spPr>
      </p:pic>
      <p:graphicFrame>
        <p:nvGraphicFramePr>
          <p:cNvPr id="6" name="Tabela 5">
            <a:extLst>
              <a:ext uri="{FF2B5EF4-FFF2-40B4-BE49-F238E27FC236}">
                <a16:creationId xmlns:a16="http://schemas.microsoft.com/office/drawing/2014/main" id="{1CF13036-D7D5-ABD9-CEC7-865D1313CB3A}"/>
              </a:ext>
            </a:extLst>
          </p:cNvPr>
          <p:cNvGraphicFramePr>
            <a:graphicFrameLocks noGrp="1"/>
          </p:cNvGraphicFramePr>
          <p:nvPr userDrawn="1">
            <p:extLst>
              <p:ext uri="{D42A27DB-BD31-4B8C-83A1-F6EECF244321}">
                <p14:modId xmlns:p14="http://schemas.microsoft.com/office/powerpoint/2010/main" val="1185171778"/>
              </p:ext>
            </p:extLst>
          </p:nvPr>
        </p:nvGraphicFramePr>
        <p:xfrm>
          <a:off x="-4993" y="0"/>
          <a:ext cx="473608" cy="6858000"/>
        </p:xfrm>
        <a:graphic>
          <a:graphicData uri="http://schemas.openxmlformats.org/drawingml/2006/table">
            <a:tbl>
              <a:tblPr firstRow="1" bandRow="1">
                <a:tableStyleId>{5C22544A-7EE6-4342-B048-85BDC9FD1C3A}</a:tableStyleId>
              </a:tblPr>
              <a:tblGrid>
                <a:gridCol w="473608">
                  <a:extLst>
                    <a:ext uri="{9D8B030D-6E8A-4147-A177-3AD203B41FA5}">
                      <a16:colId xmlns:a16="http://schemas.microsoft.com/office/drawing/2014/main" val="2323868061"/>
                    </a:ext>
                  </a:extLst>
                </a:gridCol>
              </a:tblGrid>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rPr>
                        <a:t>ESCENÁRIO </a:t>
                      </a:r>
                      <a:r>
                        <a:rPr kumimoji="0" lang="pt-BR" sz="800" b="1" i="0" u="none" strike="noStrike" kern="1200" cap="none" spc="0" normalizeH="0" baseline="0" noProof="0" err="1">
                          <a:ln>
                            <a:noFill/>
                          </a:ln>
                          <a:solidFill>
                            <a:schemeClr val="bg1"/>
                          </a:solidFill>
                          <a:effectLst/>
                          <a:uLnTx/>
                          <a:uFillTx/>
                          <a:latin typeface="Santander Text" panose="020B0504020201020104" pitchFamily="34" charset="77"/>
                          <a:ea typeface="+mn-ea"/>
                          <a:cs typeface="+mn-cs"/>
                        </a:rPr>
                        <a:t>Y</a:t>
                      </a:r>
                      <a:r>
                        <a:rPr kumimoji="0" lang="pt-BR"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rPr>
                        <a:t> RESULTADOS</a:t>
                      </a:r>
                      <a:endParaRPr kumimoji="0" lang="es-ES" sz="8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endParaRPr>
                    </a:p>
                  </a:txBody>
                  <a:tcPr vert="vert270" anchor="ctr">
                    <a:lnL w="12700" cmpd="sng">
                      <a:noFill/>
                    </a:lnL>
                    <a:lnR w="12700" cmpd="sng">
                      <a:noFill/>
                    </a:lnR>
                    <a:lnT w="12700" cmpd="sng">
                      <a:noFill/>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830773298"/>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CAPEX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OPEX</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3579679858"/>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ALEXANDRIA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PROYECTO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458684072"/>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KPI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431141420"/>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VOLÚMENE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1784187885"/>
                  </a:ext>
                </a:extLst>
              </a:tr>
            </a:tbl>
          </a:graphicData>
        </a:graphic>
      </p:graphicFrame>
      <p:grpSp>
        <p:nvGrpSpPr>
          <p:cNvPr id="40" name="Agrupar 39">
            <a:extLst>
              <a:ext uri="{FF2B5EF4-FFF2-40B4-BE49-F238E27FC236}">
                <a16:creationId xmlns:a16="http://schemas.microsoft.com/office/drawing/2014/main" id="{A710DA37-346A-3191-C244-8A8540C59A25}"/>
              </a:ext>
            </a:extLst>
          </p:cNvPr>
          <p:cNvGrpSpPr/>
          <p:nvPr userDrawn="1"/>
        </p:nvGrpSpPr>
        <p:grpSpPr>
          <a:xfrm>
            <a:off x="794459" y="1245812"/>
            <a:ext cx="7731076" cy="2839514"/>
            <a:chOff x="4414879" y="937844"/>
            <a:chExt cx="9776671" cy="3590840"/>
          </a:xfrm>
        </p:grpSpPr>
        <p:pic>
          <p:nvPicPr>
            <p:cNvPr id="41" name="Imagem 40">
              <a:extLst>
                <a:ext uri="{FF2B5EF4-FFF2-40B4-BE49-F238E27FC236}">
                  <a16:creationId xmlns:a16="http://schemas.microsoft.com/office/drawing/2014/main" id="{A30BEFB3-E0C8-92BB-121C-FB5B4FEB100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4414879" y="937844"/>
              <a:ext cx="180000" cy="180000"/>
            </a:xfrm>
            <a:prstGeom prst="rect">
              <a:avLst/>
            </a:prstGeom>
          </p:spPr>
        </p:pic>
        <p:pic>
          <p:nvPicPr>
            <p:cNvPr id="42" name="Imagem 41" descr="Logotipo, Ícone&#10;&#10;Descrição gerada automaticamente">
              <a:extLst>
                <a:ext uri="{FF2B5EF4-FFF2-40B4-BE49-F238E27FC236}">
                  <a16:creationId xmlns:a16="http://schemas.microsoft.com/office/drawing/2014/main" id="{5B380758-B82A-F878-AC61-808A399CC06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97736" y="937844"/>
              <a:ext cx="180000" cy="180000"/>
            </a:xfrm>
            <a:prstGeom prst="rect">
              <a:avLst/>
            </a:prstGeom>
          </p:spPr>
        </p:pic>
        <p:pic>
          <p:nvPicPr>
            <p:cNvPr id="43" name="Imagem 42">
              <a:extLst>
                <a:ext uri="{FF2B5EF4-FFF2-40B4-BE49-F238E27FC236}">
                  <a16:creationId xmlns:a16="http://schemas.microsoft.com/office/drawing/2014/main" id="{E77A0B71-AF6D-C45E-829E-D1167B6A1CEB}"/>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4011550" y="937844"/>
              <a:ext cx="180000" cy="180000"/>
            </a:xfrm>
            <a:prstGeom prst="rect">
              <a:avLst/>
            </a:prstGeom>
          </p:spPr>
        </p:pic>
        <p:pic>
          <p:nvPicPr>
            <p:cNvPr id="44" name="Imagem 43">
              <a:extLst>
                <a:ext uri="{FF2B5EF4-FFF2-40B4-BE49-F238E27FC236}">
                  <a16:creationId xmlns:a16="http://schemas.microsoft.com/office/drawing/2014/main" id="{C4A49071-FA36-3CA2-1C70-AEA7ED2CD7D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4011550" y="4348684"/>
              <a:ext cx="180000" cy="180000"/>
            </a:xfrm>
            <a:prstGeom prst="rect">
              <a:avLst/>
            </a:prstGeom>
          </p:spPr>
        </p:pic>
        <p:pic>
          <p:nvPicPr>
            <p:cNvPr id="45" name="Imagem 44" descr="Forma&#10;&#10;Descrição gerada automaticamente com confiança baixa">
              <a:extLst>
                <a:ext uri="{FF2B5EF4-FFF2-40B4-BE49-F238E27FC236}">
                  <a16:creationId xmlns:a16="http://schemas.microsoft.com/office/drawing/2014/main" id="{06D73064-7FBB-E0B2-63C7-C1A661B2733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14879" y="4348684"/>
              <a:ext cx="180000" cy="180000"/>
            </a:xfrm>
            <a:prstGeom prst="rect">
              <a:avLst/>
            </a:prstGeom>
          </p:spPr>
        </p:pic>
        <p:pic>
          <p:nvPicPr>
            <p:cNvPr id="46" name="Imagem 45">
              <a:extLst>
                <a:ext uri="{FF2B5EF4-FFF2-40B4-BE49-F238E27FC236}">
                  <a16:creationId xmlns:a16="http://schemas.microsoft.com/office/drawing/2014/main" id="{5461CCF5-5A30-52CE-2087-47D274FE4CE9}"/>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9205243" y="4348684"/>
              <a:ext cx="180000" cy="180000"/>
            </a:xfrm>
            <a:prstGeom prst="rect">
              <a:avLst/>
            </a:prstGeom>
          </p:spPr>
        </p:pic>
      </p:grpSp>
    </p:spTree>
    <p:extLst>
      <p:ext uri="{BB962C8B-B14F-4D97-AF65-F5344CB8AC3E}">
        <p14:creationId xmlns:p14="http://schemas.microsoft.com/office/powerpoint/2010/main" val="29074229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0_Layout wo/ subtitle">
    <p:spTree>
      <p:nvGrpSpPr>
        <p:cNvPr id="1" name=""/>
        <p:cNvGrpSpPr/>
        <p:nvPr/>
      </p:nvGrpSpPr>
      <p:grpSpPr>
        <a:xfrm>
          <a:off x="0" y="0"/>
          <a:ext cx="0" cy="0"/>
          <a:chOff x="0" y="0"/>
          <a:chExt cx="0" cy="0"/>
        </a:xfrm>
      </p:grpSpPr>
      <p:sp>
        <p:nvSpPr>
          <p:cNvPr id="17" name="Retângulo 16">
            <a:extLst>
              <a:ext uri="{FF2B5EF4-FFF2-40B4-BE49-F238E27FC236}">
                <a16:creationId xmlns:a16="http://schemas.microsoft.com/office/drawing/2014/main" id="{1DFC5301-9A54-3D6B-03C9-635A005225E6}"/>
              </a:ext>
            </a:extLst>
          </p:cNvPr>
          <p:cNvSpPr/>
          <p:nvPr userDrawn="1"/>
        </p:nvSpPr>
        <p:spPr>
          <a:xfrm>
            <a:off x="11940" y="0"/>
            <a:ext cx="12168120" cy="71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CuadroTexto 5">
            <a:extLst>
              <a:ext uri="{FF2B5EF4-FFF2-40B4-BE49-F238E27FC236}">
                <a16:creationId xmlns:a16="http://schemas.microsoft.com/office/drawing/2014/main" id="{4355AB1E-66FF-4C7B-95B6-6E8B522B05A6}"/>
              </a:ext>
            </a:extLst>
          </p:cNvPr>
          <p:cNvSpPr txBox="1"/>
          <p:nvPr userDrawn="1"/>
        </p:nvSpPr>
        <p:spPr>
          <a:xfrm>
            <a:off x="10000201" y="6500297"/>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100" b="1" noProof="0" smtClean="0">
                <a:solidFill>
                  <a:schemeClr val="bg2"/>
                </a:solidFill>
                <a:latin typeface="Santander Text" panose="020B0504020201020104" pitchFamily="34" charset="0"/>
              </a:rPr>
              <a:pPr algn="r" defTabSz="912754"/>
              <a:t>‹#›</a:t>
            </a:fld>
            <a:endParaRPr lang="en-US" sz="1100" b="1" noProof="0">
              <a:solidFill>
                <a:schemeClr val="bg2"/>
              </a:solidFill>
              <a:latin typeface="Santander Text" panose="020B0504020201020104" pitchFamily="34" charset="0"/>
            </a:endParaRPr>
          </a:p>
        </p:txBody>
      </p:sp>
      <p:grpSp>
        <p:nvGrpSpPr>
          <p:cNvPr id="28" name="Agrupar 27">
            <a:extLst>
              <a:ext uri="{FF2B5EF4-FFF2-40B4-BE49-F238E27FC236}">
                <a16:creationId xmlns:a16="http://schemas.microsoft.com/office/drawing/2014/main" id="{6B9C1720-2C77-D67A-E331-7C7B83559896}"/>
              </a:ext>
            </a:extLst>
          </p:cNvPr>
          <p:cNvGrpSpPr/>
          <p:nvPr userDrawn="1"/>
        </p:nvGrpSpPr>
        <p:grpSpPr>
          <a:xfrm>
            <a:off x="722726" y="1133401"/>
            <a:ext cx="11191939" cy="5332265"/>
            <a:chOff x="690821" y="877078"/>
            <a:chExt cx="7534899" cy="6199677"/>
          </a:xfrm>
        </p:grpSpPr>
        <p:sp>
          <p:nvSpPr>
            <p:cNvPr id="20" name="Retângulo Arredondado 19">
              <a:extLst>
                <a:ext uri="{FF2B5EF4-FFF2-40B4-BE49-F238E27FC236}">
                  <a16:creationId xmlns:a16="http://schemas.microsoft.com/office/drawing/2014/main" id="{F03D7640-6B61-B9EB-86E2-427164612169}"/>
                </a:ext>
              </a:extLst>
            </p:cNvPr>
            <p:cNvSpPr/>
            <p:nvPr userDrawn="1"/>
          </p:nvSpPr>
          <p:spPr>
            <a:xfrm>
              <a:off x="690821" y="877078"/>
              <a:ext cx="3713228" cy="1940768"/>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2" name="Retângulo Arredondado 21">
              <a:extLst>
                <a:ext uri="{FF2B5EF4-FFF2-40B4-BE49-F238E27FC236}">
                  <a16:creationId xmlns:a16="http://schemas.microsoft.com/office/drawing/2014/main" id="{C52406D3-433C-4AC9-1D6B-B89459B55EF5}"/>
                </a:ext>
              </a:extLst>
            </p:cNvPr>
            <p:cNvSpPr/>
            <p:nvPr userDrawn="1"/>
          </p:nvSpPr>
          <p:spPr>
            <a:xfrm>
              <a:off x="4512492" y="877078"/>
              <a:ext cx="3713228" cy="1940768"/>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Retângulo Arredondado 23">
              <a:extLst>
                <a:ext uri="{FF2B5EF4-FFF2-40B4-BE49-F238E27FC236}">
                  <a16:creationId xmlns:a16="http://schemas.microsoft.com/office/drawing/2014/main" id="{83CE8A53-1DA8-34E2-EB1D-0DE36FC0B47E}"/>
                </a:ext>
              </a:extLst>
            </p:cNvPr>
            <p:cNvSpPr/>
            <p:nvPr userDrawn="1"/>
          </p:nvSpPr>
          <p:spPr>
            <a:xfrm>
              <a:off x="690821" y="3006532"/>
              <a:ext cx="3713228" cy="1940768"/>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Retângulo Arredondado 24">
              <a:extLst>
                <a:ext uri="{FF2B5EF4-FFF2-40B4-BE49-F238E27FC236}">
                  <a16:creationId xmlns:a16="http://schemas.microsoft.com/office/drawing/2014/main" id="{42A70413-453B-7C09-D495-6FD1CBF45698}"/>
                </a:ext>
              </a:extLst>
            </p:cNvPr>
            <p:cNvSpPr/>
            <p:nvPr userDrawn="1"/>
          </p:nvSpPr>
          <p:spPr>
            <a:xfrm>
              <a:off x="4512492" y="3006532"/>
              <a:ext cx="3713228" cy="1940768"/>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6" name="Retângulo Arredondado 25">
              <a:extLst>
                <a:ext uri="{FF2B5EF4-FFF2-40B4-BE49-F238E27FC236}">
                  <a16:creationId xmlns:a16="http://schemas.microsoft.com/office/drawing/2014/main" id="{496C615A-7952-59E1-8605-C2086CE08417}"/>
                </a:ext>
              </a:extLst>
            </p:cNvPr>
            <p:cNvSpPr/>
            <p:nvPr userDrawn="1"/>
          </p:nvSpPr>
          <p:spPr>
            <a:xfrm>
              <a:off x="690821" y="5135987"/>
              <a:ext cx="3713228" cy="1940768"/>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Retângulo Arredondado 26">
              <a:extLst>
                <a:ext uri="{FF2B5EF4-FFF2-40B4-BE49-F238E27FC236}">
                  <a16:creationId xmlns:a16="http://schemas.microsoft.com/office/drawing/2014/main" id="{B5A619E9-472D-F15D-21A8-9B1CDCCFC438}"/>
                </a:ext>
              </a:extLst>
            </p:cNvPr>
            <p:cNvSpPr/>
            <p:nvPr userDrawn="1"/>
          </p:nvSpPr>
          <p:spPr>
            <a:xfrm>
              <a:off x="4512492" y="5135987"/>
              <a:ext cx="3713228" cy="1940768"/>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pic>
        <p:nvPicPr>
          <p:cNvPr id="29" name="Espaço Reservado para Imagem 5">
            <a:extLst>
              <a:ext uri="{FF2B5EF4-FFF2-40B4-BE49-F238E27FC236}">
                <a16:creationId xmlns:a16="http://schemas.microsoft.com/office/drawing/2014/main" id="{649A51E9-9F6D-2389-3D72-2F40C0AB7E0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915" t="20611" r="70352" b="9173"/>
          <a:stretch/>
        </p:blipFill>
        <p:spPr>
          <a:xfrm>
            <a:off x="11678297" y="120428"/>
            <a:ext cx="467497" cy="493985"/>
          </a:xfrm>
          <a:prstGeom prst="rect">
            <a:avLst/>
          </a:prstGeom>
        </p:spPr>
      </p:pic>
      <p:grpSp>
        <p:nvGrpSpPr>
          <p:cNvPr id="46" name="Agrupar 45">
            <a:extLst>
              <a:ext uri="{FF2B5EF4-FFF2-40B4-BE49-F238E27FC236}">
                <a16:creationId xmlns:a16="http://schemas.microsoft.com/office/drawing/2014/main" id="{32E0DE61-FAEA-BFFF-07AD-C8F189C32F7F}"/>
              </a:ext>
            </a:extLst>
          </p:cNvPr>
          <p:cNvGrpSpPr/>
          <p:nvPr userDrawn="1"/>
        </p:nvGrpSpPr>
        <p:grpSpPr>
          <a:xfrm>
            <a:off x="794459" y="1202269"/>
            <a:ext cx="5811595" cy="3808622"/>
            <a:chOff x="4414879" y="937844"/>
            <a:chExt cx="7349307" cy="4816371"/>
          </a:xfrm>
        </p:grpSpPr>
        <p:pic>
          <p:nvPicPr>
            <p:cNvPr id="47" name="Imagem 46">
              <a:extLst>
                <a:ext uri="{FF2B5EF4-FFF2-40B4-BE49-F238E27FC236}">
                  <a16:creationId xmlns:a16="http://schemas.microsoft.com/office/drawing/2014/main" id="{765B8F86-FCA4-C36A-F35C-5501AED55FB7}"/>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4414879" y="937844"/>
              <a:ext cx="180000" cy="180000"/>
            </a:xfrm>
            <a:prstGeom prst="rect">
              <a:avLst/>
            </a:prstGeom>
          </p:spPr>
        </p:pic>
        <p:pic>
          <p:nvPicPr>
            <p:cNvPr id="48" name="Imagem 47" descr="Logotipo, Ícone&#10;&#10;Descrição gerada automaticamente">
              <a:extLst>
                <a:ext uri="{FF2B5EF4-FFF2-40B4-BE49-F238E27FC236}">
                  <a16:creationId xmlns:a16="http://schemas.microsoft.com/office/drawing/2014/main" id="{6F2003AB-2FC1-F00B-9500-CEB9A38BA64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584186" y="937844"/>
              <a:ext cx="180000" cy="180000"/>
            </a:xfrm>
            <a:prstGeom prst="rect">
              <a:avLst/>
            </a:prstGeom>
          </p:spPr>
        </p:pic>
        <p:pic>
          <p:nvPicPr>
            <p:cNvPr id="49" name="Imagem 48">
              <a:extLst>
                <a:ext uri="{FF2B5EF4-FFF2-40B4-BE49-F238E27FC236}">
                  <a16:creationId xmlns:a16="http://schemas.microsoft.com/office/drawing/2014/main" id="{FC6A0BDA-8692-C3A4-0ADA-2EB940FB822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4414879" y="3248606"/>
              <a:ext cx="180000" cy="180000"/>
            </a:xfrm>
            <a:prstGeom prst="rect">
              <a:avLst/>
            </a:prstGeom>
          </p:spPr>
        </p:pic>
        <p:pic>
          <p:nvPicPr>
            <p:cNvPr id="50" name="Imagem 49">
              <a:extLst>
                <a:ext uri="{FF2B5EF4-FFF2-40B4-BE49-F238E27FC236}">
                  <a16:creationId xmlns:a16="http://schemas.microsoft.com/office/drawing/2014/main" id="{80E5C804-8BB9-8CE8-F61A-C4EE0F924E02}"/>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1584186" y="5574215"/>
              <a:ext cx="180000" cy="180000"/>
            </a:xfrm>
            <a:prstGeom prst="rect">
              <a:avLst/>
            </a:prstGeom>
          </p:spPr>
        </p:pic>
        <p:pic>
          <p:nvPicPr>
            <p:cNvPr id="51" name="Imagem 50" descr="Forma&#10;&#10;Descrição gerada automaticamente com confiança baixa">
              <a:extLst>
                <a:ext uri="{FF2B5EF4-FFF2-40B4-BE49-F238E27FC236}">
                  <a16:creationId xmlns:a16="http://schemas.microsoft.com/office/drawing/2014/main" id="{E769CDA8-2361-5450-79CE-0D19D193405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584186" y="3248606"/>
              <a:ext cx="180000" cy="180000"/>
            </a:xfrm>
            <a:prstGeom prst="rect">
              <a:avLst/>
            </a:prstGeom>
          </p:spPr>
        </p:pic>
        <p:pic>
          <p:nvPicPr>
            <p:cNvPr id="52" name="Imagem 51">
              <a:extLst>
                <a:ext uri="{FF2B5EF4-FFF2-40B4-BE49-F238E27FC236}">
                  <a16:creationId xmlns:a16="http://schemas.microsoft.com/office/drawing/2014/main" id="{EA8C715A-8DA5-B071-9374-1BE53149A2DD}"/>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4414879" y="5574215"/>
              <a:ext cx="180000" cy="180000"/>
            </a:xfrm>
            <a:prstGeom prst="rect">
              <a:avLst/>
            </a:prstGeom>
          </p:spPr>
        </p:pic>
      </p:grpSp>
      <p:graphicFrame>
        <p:nvGraphicFramePr>
          <p:cNvPr id="2" name="Tabela 1">
            <a:extLst>
              <a:ext uri="{FF2B5EF4-FFF2-40B4-BE49-F238E27FC236}">
                <a16:creationId xmlns:a16="http://schemas.microsoft.com/office/drawing/2014/main" id="{28DEA1C3-CD6A-26A0-1C13-A67F9D0D7F0C}"/>
              </a:ext>
            </a:extLst>
          </p:cNvPr>
          <p:cNvGraphicFramePr>
            <a:graphicFrameLocks noGrp="1"/>
          </p:cNvGraphicFramePr>
          <p:nvPr userDrawn="1">
            <p:extLst>
              <p:ext uri="{D42A27DB-BD31-4B8C-83A1-F6EECF244321}">
                <p14:modId xmlns:p14="http://schemas.microsoft.com/office/powerpoint/2010/main" val="2252514509"/>
              </p:ext>
            </p:extLst>
          </p:nvPr>
        </p:nvGraphicFramePr>
        <p:xfrm>
          <a:off x="-4993" y="0"/>
          <a:ext cx="473608" cy="6858000"/>
        </p:xfrm>
        <a:graphic>
          <a:graphicData uri="http://schemas.openxmlformats.org/drawingml/2006/table">
            <a:tbl>
              <a:tblPr firstRow="1" bandRow="1">
                <a:tableStyleId>{5C22544A-7EE6-4342-B048-85BDC9FD1C3A}</a:tableStyleId>
              </a:tblPr>
              <a:tblGrid>
                <a:gridCol w="473608">
                  <a:extLst>
                    <a:ext uri="{9D8B030D-6E8A-4147-A177-3AD203B41FA5}">
                      <a16:colId xmlns:a16="http://schemas.microsoft.com/office/drawing/2014/main" val="2323868061"/>
                    </a:ext>
                  </a:extLst>
                </a:gridCol>
              </a:tblGrid>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ESCENÁRIO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RESULTADO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12700" cmpd="sng">
                      <a:noFill/>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830773298"/>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CAPEX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OPEX</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3579679858"/>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ALEXANDRIA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PROYECTO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458684072"/>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rPr>
                        <a:t>KPI</a:t>
                      </a:r>
                      <a:r>
                        <a:rPr kumimoji="0" lang="pt-BR" sz="1000" b="0" i="0" u="none" strike="noStrike" kern="1200" cap="none" spc="0" normalizeH="0" baseline="0" noProof="0">
                          <a:ln>
                            <a:noFill/>
                          </a:ln>
                          <a:solidFill>
                            <a:schemeClr val="bg1"/>
                          </a:solidFill>
                          <a:effectLst/>
                          <a:uLnTx/>
                          <a:uFillTx/>
                          <a:latin typeface="Santander Text" panose="020B0504020201020104" pitchFamily="34" charset="77"/>
                          <a:ea typeface="+mn-ea"/>
                          <a:cs typeface="+mn-cs"/>
                        </a:rPr>
                        <a:t>s</a:t>
                      </a:r>
                      <a:endParaRPr kumimoji="0" lang="es-ES" sz="800" b="0" i="0" u="none" strike="noStrike" kern="1200" cap="none" spc="0" normalizeH="0" baseline="0" noProof="0">
                        <a:ln>
                          <a:noFill/>
                        </a:ln>
                        <a:solidFill>
                          <a:schemeClr val="bg1"/>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31141420"/>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VOLÚMENE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1784187885"/>
                  </a:ext>
                </a:extLst>
              </a:tr>
            </a:tbl>
          </a:graphicData>
        </a:graphic>
      </p:graphicFrame>
    </p:spTree>
    <p:extLst>
      <p:ext uri="{BB962C8B-B14F-4D97-AF65-F5344CB8AC3E}">
        <p14:creationId xmlns:p14="http://schemas.microsoft.com/office/powerpoint/2010/main" val="152147418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1_Layout wo/ subtitle">
    <p:spTree>
      <p:nvGrpSpPr>
        <p:cNvPr id="1" name=""/>
        <p:cNvGrpSpPr/>
        <p:nvPr/>
      </p:nvGrpSpPr>
      <p:grpSpPr>
        <a:xfrm>
          <a:off x="0" y="0"/>
          <a:ext cx="0" cy="0"/>
          <a:chOff x="0" y="0"/>
          <a:chExt cx="0" cy="0"/>
        </a:xfrm>
      </p:grpSpPr>
      <p:sp>
        <p:nvSpPr>
          <p:cNvPr id="17" name="Retângulo 16">
            <a:extLst>
              <a:ext uri="{FF2B5EF4-FFF2-40B4-BE49-F238E27FC236}">
                <a16:creationId xmlns:a16="http://schemas.microsoft.com/office/drawing/2014/main" id="{1DFC5301-9A54-3D6B-03C9-635A005225E6}"/>
              </a:ext>
            </a:extLst>
          </p:cNvPr>
          <p:cNvSpPr/>
          <p:nvPr userDrawn="1"/>
        </p:nvSpPr>
        <p:spPr>
          <a:xfrm>
            <a:off x="11940" y="0"/>
            <a:ext cx="12168120" cy="71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CuadroTexto 5">
            <a:extLst>
              <a:ext uri="{FF2B5EF4-FFF2-40B4-BE49-F238E27FC236}">
                <a16:creationId xmlns:a16="http://schemas.microsoft.com/office/drawing/2014/main" id="{4355AB1E-66FF-4C7B-95B6-6E8B522B05A6}"/>
              </a:ext>
            </a:extLst>
          </p:cNvPr>
          <p:cNvSpPr txBox="1"/>
          <p:nvPr userDrawn="1"/>
        </p:nvSpPr>
        <p:spPr>
          <a:xfrm>
            <a:off x="10000201" y="6500297"/>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100" b="1" noProof="0" smtClean="0">
                <a:solidFill>
                  <a:schemeClr val="bg2"/>
                </a:solidFill>
                <a:latin typeface="Santander Text" panose="020B0504020201020104" pitchFamily="34" charset="0"/>
              </a:rPr>
              <a:pPr algn="r" defTabSz="912754"/>
              <a:t>‹#›</a:t>
            </a:fld>
            <a:endParaRPr lang="en-US" sz="1100" b="1" noProof="0">
              <a:solidFill>
                <a:schemeClr val="bg2"/>
              </a:solidFill>
              <a:latin typeface="Santander Text" panose="020B0504020201020104" pitchFamily="34" charset="0"/>
            </a:endParaRPr>
          </a:p>
        </p:txBody>
      </p:sp>
      <p:grpSp>
        <p:nvGrpSpPr>
          <p:cNvPr id="4" name="Agrupar 3">
            <a:extLst>
              <a:ext uri="{FF2B5EF4-FFF2-40B4-BE49-F238E27FC236}">
                <a16:creationId xmlns:a16="http://schemas.microsoft.com/office/drawing/2014/main" id="{7962700E-A5F7-C44F-E372-2360C3C77DBD}"/>
              </a:ext>
            </a:extLst>
          </p:cNvPr>
          <p:cNvGrpSpPr/>
          <p:nvPr userDrawn="1"/>
        </p:nvGrpSpPr>
        <p:grpSpPr>
          <a:xfrm>
            <a:off x="690820" y="1163342"/>
            <a:ext cx="11256179" cy="5302324"/>
            <a:chOff x="690821" y="877079"/>
            <a:chExt cx="10593473" cy="3528031"/>
          </a:xfrm>
        </p:grpSpPr>
        <p:grpSp>
          <p:nvGrpSpPr>
            <p:cNvPr id="28" name="Agrupar 27">
              <a:extLst>
                <a:ext uri="{FF2B5EF4-FFF2-40B4-BE49-F238E27FC236}">
                  <a16:creationId xmlns:a16="http://schemas.microsoft.com/office/drawing/2014/main" id="{6B9C1720-2C77-D67A-E331-7C7B83559896}"/>
                </a:ext>
              </a:extLst>
            </p:cNvPr>
            <p:cNvGrpSpPr/>
            <p:nvPr userDrawn="1"/>
          </p:nvGrpSpPr>
          <p:grpSpPr>
            <a:xfrm>
              <a:off x="690821" y="877079"/>
              <a:ext cx="7010565" cy="3528031"/>
              <a:chOff x="690821" y="877078"/>
              <a:chExt cx="7550115" cy="3974387"/>
            </a:xfrm>
          </p:grpSpPr>
          <p:sp>
            <p:nvSpPr>
              <p:cNvPr id="20" name="Retângulo Arredondado 19">
                <a:extLst>
                  <a:ext uri="{FF2B5EF4-FFF2-40B4-BE49-F238E27FC236}">
                    <a16:creationId xmlns:a16="http://schemas.microsoft.com/office/drawing/2014/main" id="{F03D7640-6B61-B9EB-86E2-427164612169}"/>
                  </a:ext>
                </a:extLst>
              </p:cNvPr>
              <p:cNvSpPr/>
              <p:nvPr userDrawn="1"/>
            </p:nvSpPr>
            <p:spPr>
              <a:xfrm>
                <a:off x="690821" y="877078"/>
                <a:ext cx="3713228" cy="1940767"/>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2" name="Retângulo Arredondado 21">
                <a:extLst>
                  <a:ext uri="{FF2B5EF4-FFF2-40B4-BE49-F238E27FC236}">
                    <a16:creationId xmlns:a16="http://schemas.microsoft.com/office/drawing/2014/main" id="{C52406D3-433C-4AC9-1D6B-B89459B55EF5}"/>
                  </a:ext>
                </a:extLst>
              </p:cNvPr>
              <p:cNvSpPr/>
              <p:nvPr userDrawn="1"/>
            </p:nvSpPr>
            <p:spPr>
              <a:xfrm>
                <a:off x="4527708" y="877078"/>
                <a:ext cx="3713228" cy="1940767"/>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Retângulo Arredondado 23">
                <a:extLst>
                  <a:ext uri="{FF2B5EF4-FFF2-40B4-BE49-F238E27FC236}">
                    <a16:creationId xmlns:a16="http://schemas.microsoft.com/office/drawing/2014/main" id="{83CE8A53-1DA8-34E2-EB1D-0DE36FC0B47E}"/>
                  </a:ext>
                </a:extLst>
              </p:cNvPr>
              <p:cNvSpPr/>
              <p:nvPr userDrawn="1"/>
            </p:nvSpPr>
            <p:spPr>
              <a:xfrm>
                <a:off x="690821" y="2910698"/>
                <a:ext cx="3713228" cy="1940767"/>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Retângulo Arredondado 24">
                <a:extLst>
                  <a:ext uri="{FF2B5EF4-FFF2-40B4-BE49-F238E27FC236}">
                    <a16:creationId xmlns:a16="http://schemas.microsoft.com/office/drawing/2014/main" id="{42A70413-453B-7C09-D495-6FD1CBF45698}"/>
                  </a:ext>
                </a:extLst>
              </p:cNvPr>
              <p:cNvSpPr/>
              <p:nvPr userDrawn="1"/>
            </p:nvSpPr>
            <p:spPr>
              <a:xfrm>
                <a:off x="4527708" y="2910698"/>
                <a:ext cx="3713228" cy="1940767"/>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sp>
          <p:nvSpPr>
            <p:cNvPr id="2" name="Retângulo Arredondado 1">
              <a:extLst>
                <a:ext uri="{FF2B5EF4-FFF2-40B4-BE49-F238E27FC236}">
                  <a16:creationId xmlns:a16="http://schemas.microsoft.com/office/drawing/2014/main" id="{209EE4C8-A43C-1C71-3FF3-0D3A406924B9}"/>
                </a:ext>
              </a:extLst>
            </p:cNvPr>
            <p:cNvSpPr/>
            <p:nvPr userDrawn="1"/>
          </p:nvSpPr>
          <p:spPr>
            <a:xfrm>
              <a:off x="7836423" y="877079"/>
              <a:ext cx="3447871" cy="1722803"/>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 name="Retângulo Arredondado 2">
              <a:extLst>
                <a:ext uri="{FF2B5EF4-FFF2-40B4-BE49-F238E27FC236}">
                  <a16:creationId xmlns:a16="http://schemas.microsoft.com/office/drawing/2014/main" id="{7078FD22-ACB1-E2F1-1667-66A4A3915454}"/>
                </a:ext>
              </a:extLst>
            </p:cNvPr>
            <p:cNvSpPr/>
            <p:nvPr userDrawn="1"/>
          </p:nvSpPr>
          <p:spPr>
            <a:xfrm>
              <a:off x="7836423" y="2682307"/>
              <a:ext cx="3447871" cy="1722803"/>
            </a:xfrm>
            <a:prstGeom prst="roundRect">
              <a:avLst>
                <a:gd name="adj" fmla="val 705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pic>
        <p:nvPicPr>
          <p:cNvPr id="5" name="Espaço Reservado para Imagem 5">
            <a:extLst>
              <a:ext uri="{FF2B5EF4-FFF2-40B4-BE49-F238E27FC236}">
                <a16:creationId xmlns:a16="http://schemas.microsoft.com/office/drawing/2014/main" id="{2F1132A9-BBD3-24BF-447E-67B1F7401D7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915" t="20611" r="70352" b="9173"/>
          <a:stretch/>
        </p:blipFill>
        <p:spPr>
          <a:xfrm>
            <a:off x="11678297" y="120428"/>
            <a:ext cx="467497" cy="493985"/>
          </a:xfrm>
          <a:prstGeom prst="rect">
            <a:avLst/>
          </a:prstGeom>
        </p:spPr>
      </p:pic>
      <p:graphicFrame>
        <p:nvGraphicFramePr>
          <p:cNvPr id="6" name="Tabela 5">
            <a:extLst>
              <a:ext uri="{FF2B5EF4-FFF2-40B4-BE49-F238E27FC236}">
                <a16:creationId xmlns:a16="http://schemas.microsoft.com/office/drawing/2014/main" id="{1CF13036-D7D5-ABD9-CEC7-865D1313CB3A}"/>
              </a:ext>
            </a:extLst>
          </p:cNvPr>
          <p:cNvGraphicFramePr>
            <a:graphicFrameLocks noGrp="1"/>
          </p:cNvGraphicFramePr>
          <p:nvPr userDrawn="1">
            <p:extLst>
              <p:ext uri="{D42A27DB-BD31-4B8C-83A1-F6EECF244321}">
                <p14:modId xmlns:p14="http://schemas.microsoft.com/office/powerpoint/2010/main" val="2036706017"/>
              </p:ext>
            </p:extLst>
          </p:nvPr>
        </p:nvGraphicFramePr>
        <p:xfrm>
          <a:off x="-4993" y="0"/>
          <a:ext cx="473608" cy="6858000"/>
        </p:xfrm>
        <a:graphic>
          <a:graphicData uri="http://schemas.openxmlformats.org/drawingml/2006/table">
            <a:tbl>
              <a:tblPr firstRow="1" bandRow="1">
                <a:tableStyleId>{5C22544A-7EE6-4342-B048-85BDC9FD1C3A}</a:tableStyleId>
              </a:tblPr>
              <a:tblGrid>
                <a:gridCol w="473608">
                  <a:extLst>
                    <a:ext uri="{9D8B030D-6E8A-4147-A177-3AD203B41FA5}">
                      <a16:colId xmlns:a16="http://schemas.microsoft.com/office/drawing/2014/main" val="2323868061"/>
                    </a:ext>
                  </a:extLst>
                </a:gridCol>
              </a:tblGrid>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ESCENÁRIO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RESULTADO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12700" cmpd="sng">
                      <a:noFill/>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830773298"/>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CAPEX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OPEX</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3579679858"/>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ALEXANDRIA </a:t>
                      </a:r>
                      <a:r>
                        <a:rPr kumimoji="0" lang="pt-BR" sz="800" b="0" i="0" u="none" strike="noStrike" kern="1200" cap="none" spc="0" normalizeH="0" baseline="0" noProof="0" err="1">
                          <a:ln>
                            <a:noFill/>
                          </a:ln>
                          <a:solidFill>
                            <a:schemeClr val="accent4">
                              <a:lumMod val="50000"/>
                            </a:schemeClr>
                          </a:solidFill>
                          <a:effectLst/>
                          <a:uLnTx/>
                          <a:uFillTx/>
                          <a:latin typeface="Santander Text" panose="020B0504020201020104" pitchFamily="34" charset="77"/>
                          <a:ea typeface="+mn-ea"/>
                          <a:cs typeface="+mn-cs"/>
                        </a:rPr>
                        <a:t>Y</a:t>
                      </a: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 PROYECTO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458684072"/>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a:ln>
                            <a:noFill/>
                          </a:ln>
                          <a:solidFill>
                            <a:schemeClr val="bg1"/>
                          </a:solidFill>
                          <a:effectLst/>
                          <a:uLnTx/>
                          <a:uFillTx/>
                          <a:latin typeface="Santander Text" panose="020B0504020201020104" pitchFamily="34" charset="77"/>
                          <a:ea typeface="+mn-ea"/>
                          <a:cs typeface="+mn-cs"/>
                        </a:rPr>
                        <a:t>KPI</a:t>
                      </a:r>
                      <a:r>
                        <a:rPr kumimoji="0" lang="pt-BR" sz="1000" b="0" i="0" u="none" strike="noStrike" kern="1200" cap="none" spc="0" normalizeH="0" baseline="0" noProof="0">
                          <a:ln>
                            <a:noFill/>
                          </a:ln>
                          <a:solidFill>
                            <a:schemeClr val="bg1"/>
                          </a:solidFill>
                          <a:effectLst/>
                          <a:uLnTx/>
                          <a:uFillTx/>
                          <a:latin typeface="Santander Text" panose="020B0504020201020104" pitchFamily="34" charset="77"/>
                          <a:ea typeface="+mn-ea"/>
                          <a:cs typeface="+mn-cs"/>
                        </a:rPr>
                        <a:t>s</a:t>
                      </a:r>
                      <a:endParaRPr kumimoji="0" lang="es-ES" sz="1000" b="0" i="0" u="none" strike="noStrike" kern="1200" cap="none" spc="0" normalizeH="0" baseline="0" noProof="0">
                        <a:ln>
                          <a:noFill/>
                        </a:ln>
                        <a:solidFill>
                          <a:schemeClr val="bg1"/>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31141420"/>
                  </a:ext>
                </a:extLst>
              </a:tr>
              <a:tr h="1371600">
                <a:tc>
                  <a:txBody>
                    <a:bodyPr/>
                    <a:lstStyle/>
                    <a:p>
                      <a:pPr marL="0" marR="0" lvl="0" indent="0" algn="ctr" defTabSz="912688"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rPr>
                        <a:t>VOLÚMENES</a:t>
                      </a:r>
                      <a:endParaRPr kumimoji="0" lang="es-ES" sz="800" b="0" i="0" u="none" strike="noStrike" kern="1200" cap="none" spc="0" normalizeH="0" baseline="0" noProof="0">
                        <a:ln>
                          <a:noFill/>
                        </a:ln>
                        <a:solidFill>
                          <a:schemeClr val="accent4">
                            <a:lumMod val="50000"/>
                          </a:schemeClr>
                        </a:solidFill>
                        <a:effectLst/>
                        <a:uLnTx/>
                        <a:uFillTx/>
                        <a:latin typeface="Santander Text" panose="020B0504020201020104" pitchFamily="34" charset="77"/>
                        <a:ea typeface="+mn-ea"/>
                        <a:cs typeface="+mn-cs"/>
                      </a:endParaRPr>
                    </a:p>
                  </a:txBody>
                  <a:tcPr vert="vert270" anchor="ctr">
                    <a:lnL w="12700" cmpd="sng">
                      <a:noFill/>
                    </a:lnL>
                    <a:lnR w="12700" cmpd="sng">
                      <a:noFill/>
                    </a:lnR>
                    <a:lnT w="952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A313A"/>
                    </a:solidFill>
                  </a:tcPr>
                </a:tc>
                <a:extLst>
                  <a:ext uri="{0D108BD9-81ED-4DB2-BD59-A6C34878D82A}">
                    <a16:rowId xmlns:a16="http://schemas.microsoft.com/office/drawing/2014/main" val="1784187885"/>
                  </a:ext>
                </a:extLst>
              </a:tr>
            </a:tbl>
          </a:graphicData>
        </a:graphic>
      </p:graphicFrame>
      <p:grpSp>
        <p:nvGrpSpPr>
          <p:cNvPr id="40" name="Agrupar 39">
            <a:extLst>
              <a:ext uri="{FF2B5EF4-FFF2-40B4-BE49-F238E27FC236}">
                <a16:creationId xmlns:a16="http://schemas.microsoft.com/office/drawing/2014/main" id="{A710DA37-346A-3191-C244-8A8540C59A25}"/>
              </a:ext>
            </a:extLst>
          </p:cNvPr>
          <p:cNvGrpSpPr/>
          <p:nvPr userDrawn="1"/>
        </p:nvGrpSpPr>
        <p:grpSpPr>
          <a:xfrm>
            <a:off x="794459" y="1245812"/>
            <a:ext cx="7731076" cy="2839514"/>
            <a:chOff x="4414879" y="937844"/>
            <a:chExt cx="9776671" cy="3590840"/>
          </a:xfrm>
        </p:grpSpPr>
        <p:pic>
          <p:nvPicPr>
            <p:cNvPr id="41" name="Imagem 40">
              <a:extLst>
                <a:ext uri="{FF2B5EF4-FFF2-40B4-BE49-F238E27FC236}">
                  <a16:creationId xmlns:a16="http://schemas.microsoft.com/office/drawing/2014/main" id="{A30BEFB3-E0C8-92BB-121C-FB5B4FEB100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4414879" y="937844"/>
              <a:ext cx="180000" cy="180000"/>
            </a:xfrm>
            <a:prstGeom prst="rect">
              <a:avLst/>
            </a:prstGeom>
          </p:spPr>
        </p:pic>
        <p:pic>
          <p:nvPicPr>
            <p:cNvPr id="42" name="Imagem 41" descr="Logotipo, Ícone&#10;&#10;Descrição gerada automaticamente">
              <a:extLst>
                <a:ext uri="{FF2B5EF4-FFF2-40B4-BE49-F238E27FC236}">
                  <a16:creationId xmlns:a16="http://schemas.microsoft.com/office/drawing/2014/main" id="{5B380758-B82A-F878-AC61-808A399CC06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97736" y="937844"/>
              <a:ext cx="180000" cy="180000"/>
            </a:xfrm>
            <a:prstGeom prst="rect">
              <a:avLst/>
            </a:prstGeom>
          </p:spPr>
        </p:pic>
        <p:pic>
          <p:nvPicPr>
            <p:cNvPr id="43" name="Imagem 42">
              <a:extLst>
                <a:ext uri="{FF2B5EF4-FFF2-40B4-BE49-F238E27FC236}">
                  <a16:creationId xmlns:a16="http://schemas.microsoft.com/office/drawing/2014/main" id="{E77A0B71-AF6D-C45E-829E-D1167B6A1CEB}"/>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4011550" y="937844"/>
              <a:ext cx="180000" cy="180000"/>
            </a:xfrm>
            <a:prstGeom prst="rect">
              <a:avLst/>
            </a:prstGeom>
          </p:spPr>
        </p:pic>
        <p:pic>
          <p:nvPicPr>
            <p:cNvPr id="44" name="Imagem 43">
              <a:extLst>
                <a:ext uri="{FF2B5EF4-FFF2-40B4-BE49-F238E27FC236}">
                  <a16:creationId xmlns:a16="http://schemas.microsoft.com/office/drawing/2014/main" id="{C4A49071-FA36-3CA2-1C70-AEA7ED2CD7D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4011550" y="4348684"/>
              <a:ext cx="180000" cy="180000"/>
            </a:xfrm>
            <a:prstGeom prst="rect">
              <a:avLst/>
            </a:prstGeom>
          </p:spPr>
        </p:pic>
        <p:pic>
          <p:nvPicPr>
            <p:cNvPr id="45" name="Imagem 44" descr="Forma&#10;&#10;Descrição gerada automaticamente com confiança baixa">
              <a:extLst>
                <a:ext uri="{FF2B5EF4-FFF2-40B4-BE49-F238E27FC236}">
                  <a16:creationId xmlns:a16="http://schemas.microsoft.com/office/drawing/2014/main" id="{06D73064-7FBB-E0B2-63C7-C1A661B2733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14879" y="4348684"/>
              <a:ext cx="180000" cy="180000"/>
            </a:xfrm>
            <a:prstGeom prst="rect">
              <a:avLst/>
            </a:prstGeom>
          </p:spPr>
        </p:pic>
        <p:pic>
          <p:nvPicPr>
            <p:cNvPr id="46" name="Imagem 45">
              <a:extLst>
                <a:ext uri="{FF2B5EF4-FFF2-40B4-BE49-F238E27FC236}">
                  <a16:creationId xmlns:a16="http://schemas.microsoft.com/office/drawing/2014/main" id="{5461CCF5-5A30-52CE-2087-47D274FE4CE9}"/>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9205243" y="4348684"/>
              <a:ext cx="180000" cy="180000"/>
            </a:xfrm>
            <a:prstGeom prst="rect">
              <a:avLst/>
            </a:prstGeom>
          </p:spPr>
        </p:pic>
      </p:grpSp>
    </p:spTree>
    <p:extLst>
      <p:ext uri="{BB962C8B-B14F-4D97-AF65-F5344CB8AC3E}">
        <p14:creationId xmlns:p14="http://schemas.microsoft.com/office/powerpoint/2010/main" val="3186199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1_1/3">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74A453A-D419-44F6-8B0F-84C43FCFA567}"/>
              </a:ext>
            </a:extLst>
          </p:cNvPr>
          <p:cNvSpPr/>
          <p:nvPr userDrawn="1"/>
        </p:nvSpPr>
        <p:spPr>
          <a:xfrm>
            <a:off x="7396692" y="1196974"/>
            <a:ext cx="4258091" cy="486092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3" name="CuadroTexto 5">
            <a:extLst>
              <a:ext uri="{FF2B5EF4-FFF2-40B4-BE49-F238E27FC236}">
                <a16:creationId xmlns:a16="http://schemas.microsoft.com/office/drawing/2014/main" id="{222FF7D7-7B77-4EEC-8205-A031C02EC565}"/>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pic>
        <p:nvPicPr>
          <p:cNvPr id="4"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5" y="6467037"/>
            <a:ext cx="1223683" cy="214585"/>
          </a:xfrm>
          <a:prstGeom prst="rect">
            <a:avLst/>
          </a:prstGeom>
        </p:spPr>
      </p:pic>
      <p:sp>
        <p:nvSpPr>
          <p:cNvPr id="5"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p:spPr>
        <p:txBody>
          <a:bodyPr anchor="b" anchorCtr="0"/>
          <a:lstStyle>
            <a:lvl1pPr>
              <a:defRPr sz="1000"/>
            </a:lvl1pPr>
          </a:lstStyle>
          <a:p>
            <a:pPr lvl="0"/>
            <a:r>
              <a:rPr lang="en-US" noProof="0"/>
              <a:t>Click to add footnotes</a:t>
            </a:r>
          </a:p>
        </p:txBody>
      </p:sp>
      <p:sp>
        <p:nvSpPr>
          <p:cNvPr id="1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1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cxnSp>
        <p:nvCxnSpPr>
          <p:cNvPr id="13" name="Straight Connector 12">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7BA9BCE-A3E8-411D-907B-B79FCB4A37A3}"/>
              </a:ext>
            </a:extLst>
          </p:cNvPr>
          <p:cNvCxnSpPr/>
          <p:nvPr userDrawn="1"/>
        </p:nvCxnSpPr>
        <p:spPr>
          <a:xfrm>
            <a:off x="550863" y="642140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p:spPr>
        <p:txBody>
          <a:bodyPr tIns="36000" anchor="t" anchorCtr="0"/>
          <a:lstStyle>
            <a:lvl1pPr>
              <a:defRPr sz="1000"/>
            </a:lvl1pPr>
          </a:lstStyle>
          <a:p>
            <a:pPr lvl="0"/>
            <a:r>
              <a:rPr lang="en-US" noProof="0"/>
              <a:t>Click to add source</a:t>
            </a:r>
          </a:p>
        </p:txBody>
      </p:sp>
      <p:sp>
        <p:nvSpPr>
          <p:cNvPr id="17" name="Content Placeholder 3"/>
          <p:cNvSpPr>
            <a:spLocks noGrp="1"/>
          </p:cNvSpPr>
          <p:nvPr>
            <p:ph sz="quarter" idx="15" hasCustomPrompt="1"/>
          </p:nvPr>
        </p:nvSpPr>
        <p:spPr>
          <a:xfrm>
            <a:off x="550862" y="1240519"/>
            <a:ext cx="6453620"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18" name="Content Placeholder 3"/>
          <p:cNvSpPr>
            <a:spLocks noGrp="1"/>
          </p:cNvSpPr>
          <p:nvPr>
            <p:ph sz="quarter" idx="16" hasCustomPrompt="1"/>
          </p:nvPr>
        </p:nvSpPr>
        <p:spPr>
          <a:xfrm>
            <a:off x="7639050" y="1240518"/>
            <a:ext cx="3766088"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19" name="Content Placeholder 2"/>
          <p:cNvSpPr>
            <a:spLocks noGrp="1"/>
          </p:cNvSpPr>
          <p:nvPr>
            <p:ph sz="quarter" idx="17"/>
          </p:nvPr>
        </p:nvSpPr>
        <p:spPr>
          <a:xfrm>
            <a:off x="7642218" y="1628775"/>
            <a:ext cx="3762920" cy="4176713"/>
          </a:xfrm>
        </p:spPr>
        <p:txBody>
          <a:bodyPr anchor="ctr"/>
          <a:lstStyle>
            <a:lvl1pPr>
              <a:lnSpc>
                <a:spcPct val="100000"/>
              </a:lnSpc>
              <a:spcAft>
                <a:spcPts val="600"/>
              </a:spcAft>
              <a:defRPr/>
            </a:lvl1pPr>
            <a:lvl2pPr>
              <a:lnSpc>
                <a:spcPct val="100000"/>
              </a:lnSpc>
              <a:spcAft>
                <a:spcPts val="600"/>
              </a:spcAft>
              <a:defRPr/>
            </a:lvl2pPr>
            <a:lvl3pPr>
              <a:lnSpc>
                <a:spcPct val="100000"/>
              </a:lnSpc>
              <a:spcAft>
                <a:spcPts val="600"/>
              </a:spcAft>
              <a:defRPr/>
            </a:lvl3pPr>
            <a:lvl4pPr>
              <a:lnSpc>
                <a:spcPct val="100000"/>
              </a:lnSpc>
              <a:spcAft>
                <a:spcPts val="600"/>
              </a:spcAft>
              <a:defRPr/>
            </a:lvl4pPr>
            <a:lvl5pPr>
              <a:lnSpc>
                <a:spcPct val="100000"/>
              </a:lnSpc>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Tree>
    <p:extLst>
      <p:ext uri="{BB962C8B-B14F-4D97-AF65-F5344CB8AC3E}">
        <p14:creationId xmlns:p14="http://schemas.microsoft.com/office/powerpoint/2010/main" val="25695790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0_1/2">
    <p:spTree>
      <p:nvGrpSpPr>
        <p:cNvPr id="1" name=""/>
        <p:cNvGrpSpPr/>
        <p:nvPr/>
      </p:nvGrpSpPr>
      <p:grpSpPr>
        <a:xfrm>
          <a:off x="0" y="0"/>
          <a:ext cx="0" cy="0"/>
          <a:chOff x="0" y="0"/>
          <a:chExt cx="0" cy="0"/>
        </a:xfrm>
      </p:grpSpPr>
      <p:sp>
        <p:nvSpPr>
          <p:cNvPr id="2"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3" name="CuadroTexto 5">
            <a:extLst>
              <a:ext uri="{FF2B5EF4-FFF2-40B4-BE49-F238E27FC236}">
                <a16:creationId xmlns:a16="http://schemas.microsoft.com/office/drawing/2014/main" id="{222FF7D7-7B77-4EEC-8205-A031C02EC565}"/>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pic>
        <p:nvPicPr>
          <p:cNvPr id="4"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5" y="6467037"/>
            <a:ext cx="1223683" cy="214585"/>
          </a:xfrm>
          <a:prstGeom prst="rect">
            <a:avLst/>
          </a:prstGeom>
        </p:spPr>
      </p:pic>
      <p:sp>
        <p:nvSpPr>
          <p:cNvPr id="5"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a:prstGeom prst="rect">
            <a:avLst/>
          </a:prstGeom>
        </p:spPr>
        <p:txBody>
          <a:bodyPr anchor="b" anchorCtr="0"/>
          <a:lstStyle>
            <a:lvl1pPr>
              <a:defRPr sz="1000"/>
            </a:lvl1pPr>
          </a:lstStyle>
          <a:p>
            <a:pPr lvl="0"/>
            <a:r>
              <a:rPr lang="en-US" noProof="0"/>
              <a:t>Click to add footnotes</a:t>
            </a:r>
          </a:p>
        </p:txBody>
      </p:sp>
      <p:sp>
        <p:nvSpPr>
          <p:cNvPr id="7" name="Rectangle 6">
            <a:extLst>
              <a:ext uri="{FF2B5EF4-FFF2-40B4-BE49-F238E27FC236}">
                <a16:creationId xmlns:a16="http://schemas.microsoft.com/office/drawing/2014/main" id="{974A453A-D419-44F6-8B0F-84C43FCFA567}"/>
              </a:ext>
            </a:extLst>
          </p:cNvPr>
          <p:cNvSpPr/>
          <p:nvPr userDrawn="1"/>
        </p:nvSpPr>
        <p:spPr>
          <a:xfrm>
            <a:off x="6098960" y="1196974"/>
            <a:ext cx="5555824" cy="486092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3"/>
          <p:cNvSpPr>
            <a:spLocks noGrp="1"/>
          </p:cNvSpPr>
          <p:nvPr>
            <p:ph sz="quarter" idx="15" hasCustomPrompt="1"/>
          </p:nvPr>
        </p:nvSpPr>
        <p:spPr>
          <a:xfrm>
            <a:off x="550862" y="1240519"/>
            <a:ext cx="5221219" cy="278374"/>
          </a:xfrm>
          <a:prstGeom prst="rect">
            <a:avLst/>
          </a:prstGeo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9" name="Content Placeholder 3"/>
          <p:cNvSpPr>
            <a:spLocks noGrp="1"/>
          </p:cNvSpPr>
          <p:nvPr>
            <p:ph sz="quarter" idx="16" hasCustomPrompt="1"/>
          </p:nvPr>
        </p:nvSpPr>
        <p:spPr>
          <a:xfrm>
            <a:off x="6381750" y="1240518"/>
            <a:ext cx="5101410" cy="278374"/>
          </a:xfrm>
          <a:prstGeom prst="rect">
            <a:avLst/>
          </a:prstGeo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10" name="Content Placeholder 2"/>
          <p:cNvSpPr>
            <a:spLocks noGrp="1"/>
          </p:cNvSpPr>
          <p:nvPr>
            <p:ph sz="quarter" idx="17"/>
          </p:nvPr>
        </p:nvSpPr>
        <p:spPr>
          <a:xfrm>
            <a:off x="6381532" y="1628775"/>
            <a:ext cx="5115144" cy="4176713"/>
          </a:xfrm>
          <a:prstGeom prst="rect">
            <a:avLst/>
          </a:prstGeom>
        </p:spPr>
        <p:txBody>
          <a:bodyPr anchor="ctr"/>
          <a:lstStyle>
            <a:lvl1pPr>
              <a:lnSpc>
                <a:spcPct val="100000"/>
              </a:lnSpc>
              <a:spcAft>
                <a:spcPts val="600"/>
              </a:spcAft>
              <a:defRPr/>
            </a:lvl1pPr>
            <a:lvl2pPr>
              <a:lnSpc>
                <a:spcPct val="100000"/>
              </a:lnSpc>
              <a:spcAft>
                <a:spcPts val="600"/>
              </a:spcAft>
              <a:defRPr/>
            </a:lvl2pPr>
            <a:lvl3pPr>
              <a:lnSpc>
                <a:spcPct val="100000"/>
              </a:lnSpc>
              <a:spcAft>
                <a:spcPts val="600"/>
              </a:spcAft>
              <a:defRPr/>
            </a:lvl3pPr>
            <a:lvl4pPr>
              <a:lnSpc>
                <a:spcPct val="100000"/>
              </a:lnSpc>
              <a:spcAft>
                <a:spcPts val="600"/>
              </a:spcAft>
              <a:defRPr/>
            </a:lvl4pPr>
            <a:lvl5pPr>
              <a:lnSpc>
                <a:spcPct val="100000"/>
              </a:lnSpc>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1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a:prstGeom prst="rect">
            <a:avLst/>
          </a:prstGeom>
        </p:spPr>
        <p:txBody>
          <a:bodyPr anchor="b"/>
          <a:lstStyle>
            <a:lvl1pPr algn="r">
              <a:defRPr sz="1000"/>
            </a:lvl1pPr>
          </a:lstStyle>
          <a:p>
            <a:pPr lvl="0"/>
            <a:r>
              <a:rPr lang="en-US" noProof="0"/>
              <a:t>Chapter # &gt; Topic</a:t>
            </a:r>
          </a:p>
        </p:txBody>
      </p:sp>
      <p:sp>
        <p:nvSpPr>
          <p:cNvPr id="1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cxnSp>
        <p:nvCxnSpPr>
          <p:cNvPr id="13" name="Straight Connector 12">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7BA9BCE-A3E8-411D-907B-B79FCB4A37A3}"/>
              </a:ext>
            </a:extLst>
          </p:cNvPr>
          <p:cNvCxnSpPr/>
          <p:nvPr userDrawn="1"/>
        </p:nvCxnSpPr>
        <p:spPr>
          <a:xfrm>
            <a:off x="550863" y="642140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a:prstGeom prst="rect">
            <a:avLst/>
          </a:prstGeom>
        </p:spPr>
        <p:txBody>
          <a:bodyPr tIns="36000" anchor="t" anchorCtr="0"/>
          <a:lstStyle>
            <a:lvl1pPr>
              <a:defRPr sz="1000"/>
            </a:lvl1pPr>
          </a:lstStyle>
          <a:p>
            <a:pPr lvl="0"/>
            <a:r>
              <a:rPr lang="en-US" noProof="0"/>
              <a:t>Click to add source</a:t>
            </a:r>
          </a:p>
        </p:txBody>
      </p:sp>
    </p:spTree>
    <p:extLst>
      <p:ext uri="{BB962C8B-B14F-4D97-AF65-F5344CB8AC3E}">
        <p14:creationId xmlns:p14="http://schemas.microsoft.com/office/powerpoint/2010/main" val="13300139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1_1/3">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74A453A-D419-44F6-8B0F-84C43FCFA567}"/>
              </a:ext>
            </a:extLst>
          </p:cNvPr>
          <p:cNvSpPr/>
          <p:nvPr userDrawn="1"/>
        </p:nvSpPr>
        <p:spPr>
          <a:xfrm>
            <a:off x="7396692" y="1196974"/>
            <a:ext cx="4258091" cy="486092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3" name="CuadroTexto 5">
            <a:extLst>
              <a:ext uri="{FF2B5EF4-FFF2-40B4-BE49-F238E27FC236}">
                <a16:creationId xmlns:a16="http://schemas.microsoft.com/office/drawing/2014/main" id="{222FF7D7-7B77-4EEC-8205-A031C02EC565}"/>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pic>
        <p:nvPicPr>
          <p:cNvPr id="4"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5" y="6467037"/>
            <a:ext cx="1223683" cy="214585"/>
          </a:xfrm>
          <a:prstGeom prst="rect">
            <a:avLst/>
          </a:prstGeom>
        </p:spPr>
      </p:pic>
      <p:sp>
        <p:nvSpPr>
          <p:cNvPr id="5"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a:prstGeom prst="rect">
            <a:avLst/>
          </a:prstGeom>
        </p:spPr>
        <p:txBody>
          <a:bodyPr anchor="b" anchorCtr="0"/>
          <a:lstStyle>
            <a:lvl1pPr>
              <a:defRPr sz="1000"/>
            </a:lvl1pPr>
          </a:lstStyle>
          <a:p>
            <a:pPr lvl="0"/>
            <a:r>
              <a:rPr lang="en-US" noProof="0"/>
              <a:t>Click to add footnotes</a:t>
            </a:r>
          </a:p>
        </p:txBody>
      </p:sp>
      <p:sp>
        <p:nvSpPr>
          <p:cNvPr id="1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a:prstGeom prst="rect">
            <a:avLst/>
          </a:prstGeom>
        </p:spPr>
        <p:txBody>
          <a:bodyPr anchor="b"/>
          <a:lstStyle>
            <a:lvl1pPr algn="r">
              <a:defRPr sz="1000"/>
            </a:lvl1pPr>
          </a:lstStyle>
          <a:p>
            <a:pPr lvl="0"/>
            <a:r>
              <a:rPr lang="en-US" noProof="0"/>
              <a:t>Chapter # &gt; Topic</a:t>
            </a:r>
          </a:p>
        </p:txBody>
      </p:sp>
      <p:sp>
        <p:nvSpPr>
          <p:cNvPr id="1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cxnSp>
        <p:nvCxnSpPr>
          <p:cNvPr id="13" name="Straight Connector 12">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7BA9BCE-A3E8-411D-907B-B79FCB4A37A3}"/>
              </a:ext>
            </a:extLst>
          </p:cNvPr>
          <p:cNvCxnSpPr/>
          <p:nvPr userDrawn="1"/>
        </p:nvCxnSpPr>
        <p:spPr>
          <a:xfrm>
            <a:off x="550863" y="642140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a:prstGeom prst="rect">
            <a:avLst/>
          </a:prstGeom>
        </p:spPr>
        <p:txBody>
          <a:bodyPr tIns="36000" anchor="t" anchorCtr="0"/>
          <a:lstStyle>
            <a:lvl1pPr>
              <a:defRPr sz="1000"/>
            </a:lvl1pPr>
          </a:lstStyle>
          <a:p>
            <a:pPr lvl="0"/>
            <a:r>
              <a:rPr lang="en-US" noProof="0"/>
              <a:t>Click to add source</a:t>
            </a:r>
          </a:p>
        </p:txBody>
      </p:sp>
      <p:sp>
        <p:nvSpPr>
          <p:cNvPr id="17" name="Content Placeholder 3"/>
          <p:cNvSpPr>
            <a:spLocks noGrp="1"/>
          </p:cNvSpPr>
          <p:nvPr>
            <p:ph sz="quarter" idx="15" hasCustomPrompt="1"/>
          </p:nvPr>
        </p:nvSpPr>
        <p:spPr>
          <a:xfrm>
            <a:off x="550862" y="1240519"/>
            <a:ext cx="6453620" cy="278374"/>
          </a:xfrm>
          <a:prstGeom prst="rect">
            <a:avLst/>
          </a:prstGeo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18" name="Content Placeholder 3"/>
          <p:cNvSpPr>
            <a:spLocks noGrp="1"/>
          </p:cNvSpPr>
          <p:nvPr>
            <p:ph sz="quarter" idx="16" hasCustomPrompt="1"/>
          </p:nvPr>
        </p:nvSpPr>
        <p:spPr>
          <a:xfrm>
            <a:off x="7639050" y="1240518"/>
            <a:ext cx="3766088" cy="278374"/>
          </a:xfrm>
          <a:prstGeom prst="rect">
            <a:avLst/>
          </a:prstGeo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19" name="Content Placeholder 2"/>
          <p:cNvSpPr>
            <a:spLocks noGrp="1"/>
          </p:cNvSpPr>
          <p:nvPr>
            <p:ph sz="quarter" idx="17"/>
          </p:nvPr>
        </p:nvSpPr>
        <p:spPr>
          <a:xfrm>
            <a:off x="7642218" y="1628775"/>
            <a:ext cx="3762920" cy="4176713"/>
          </a:xfrm>
          <a:prstGeom prst="rect">
            <a:avLst/>
          </a:prstGeom>
        </p:spPr>
        <p:txBody>
          <a:bodyPr anchor="ctr"/>
          <a:lstStyle>
            <a:lvl1pPr>
              <a:lnSpc>
                <a:spcPct val="100000"/>
              </a:lnSpc>
              <a:spcAft>
                <a:spcPts val="600"/>
              </a:spcAft>
              <a:defRPr/>
            </a:lvl1pPr>
            <a:lvl2pPr>
              <a:lnSpc>
                <a:spcPct val="100000"/>
              </a:lnSpc>
              <a:spcAft>
                <a:spcPts val="600"/>
              </a:spcAft>
              <a:defRPr/>
            </a:lvl2pPr>
            <a:lvl3pPr>
              <a:lnSpc>
                <a:spcPct val="100000"/>
              </a:lnSpc>
              <a:spcAft>
                <a:spcPts val="600"/>
              </a:spcAft>
              <a:defRPr/>
            </a:lvl3pPr>
            <a:lvl4pPr>
              <a:lnSpc>
                <a:spcPct val="100000"/>
              </a:lnSpc>
              <a:spcAft>
                <a:spcPts val="600"/>
              </a:spcAft>
              <a:defRPr/>
            </a:lvl4pPr>
            <a:lvl5pPr>
              <a:lnSpc>
                <a:spcPct val="100000"/>
              </a:lnSpc>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Tree>
    <p:extLst>
      <p:ext uri="{BB962C8B-B14F-4D97-AF65-F5344CB8AC3E}">
        <p14:creationId xmlns:p14="http://schemas.microsoft.com/office/powerpoint/2010/main" val="34472052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2_1/4">
    <p:spTree>
      <p:nvGrpSpPr>
        <p:cNvPr id="1" name=""/>
        <p:cNvGrpSpPr/>
        <p:nvPr/>
      </p:nvGrpSpPr>
      <p:grpSpPr>
        <a:xfrm>
          <a:off x="0" y="0"/>
          <a:ext cx="0" cy="0"/>
          <a:chOff x="0" y="0"/>
          <a:chExt cx="0" cy="0"/>
        </a:xfrm>
      </p:grpSpPr>
      <p:sp>
        <p:nvSpPr>
          <p:cNvPr id="2"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3" name="CuadroTexto 5">
            <a:extLst>
              <a:ext uri="{FF2B5EF4-FFF2-40B4-BE49-F238E27FC236}">
                <a16:creationId xmlns:a16="http://schemas.microsoft.com/office/drawing/2014/main" id="{222FF7D7-7B77-4EEC-8205-A031C02EC565}"/>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pic>
        <p:nvPicPr>
          <p:cNvPr id="4"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5" y="6467037"/>
            <a:ext cx="1223683" cy="214585"/>
          </a:xfrm>
          <a:prstGeom prst="rect">
            <a:avLst/>
          </a:prstGeom>
        </p:spPr>
      </p:pic>
      <p:sp>
        <p:nvSpPr>
          <p:cNvPr id="5"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a:prstGeom prst="rect">
            <a:avLst/>
          </a:prstGeom>
        </p:spPr>
        <p:txBody>
          <a:bodyPr anchor="b" anchorCtr="0"/>
          <a:lstStyle>
            <a:lvl1pPr>
              <a:defRPr sz="1000"/>
            </a:lvl1pPr>
          </a:lstStyle>
          <a:p>
            <a:pPr lvl="0"/>
            <a:r>
              <a:rPr lang="en-US" noProof="0"/>
              <a:t>Click to add footnotes</a:t>
            </a:r>
          </a:p>
        </p:txBody>
      </p:sp>
      <p:sp>
        <p:nvSpPr>
          <p:cNvPr id="1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a:prstGeom prst="rect">
            <a:avLst/>
          </a:prstGeom>
        </p:spPr>
        <p:txBody>
          <a:bodyPr anchor="b"/>
          <a:lstStyle>
            <a:lvl1pPr algn="r">
              <a:defRPr sz="1000"/>
            </a:lvl1pPr>
          </a:lstStyle>
          <a:p>
            <a:pPr lvl="0"/>
            <a:r>
              <a:rPr lang="en-US" noProof="0"/>
              <a:t>Chapter # &gt; Topic</a:t>
            </a:r>
          </a:p>
        </p:txBody>
      </p:sp>
      <p:sp>
        <p:nvSpPr>
          <p:cNvPr id="1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cxnSp>
        <p:nvCxnSpPr>
          <p:cNvPr id="13" name="Straight Connector 12">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7BA9BCE-A3E8-411D-907B-B79FCB4A37A3}"/>
              </a:ext>
            </a:extLst>
          </p:cNvPr>
          <p:cNvCxnSpPr/>
          <p:nvPr userDrawn="1"/>
        </p:nvCxnSpPr>
        <p:spPr>
          <a:xfrm>
            <a:off x="550863" y="6421143"/>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a:prstGeom prst="rect">
            <a:avLst/>
          </a:prstGeom>
        </p:spPr>
        <p:txBody>
          <a:bodyPr tIns="36000" anchor="t" anchorCtr="0"/>
          <a:lstStyle>
            <a:lvl1pPr>
              <a:defRPr sz="1000"/>
            </a:lvl1pPr>
          </a:lstStyle>
          <a:p>
            <a:pPr lvl="0"/>
            <a:r>
              <a:rPr lang="en-US" noProof="0"/>
              <a:t>Click to add source</a:t>
            </a:r>
          </a:p>
        </p:txBody>
      </p:sp>
      <p:sp>
        <p:nvSpPr>
          <p:cNvPr id="20" name="Rectangle 19">
            <a:extLst>
              <a:ext uri="{FF2B5EF4-FFF2-40B4-BE49-F238E27FC236}">
                <a16:creationId xmlns:a16="http://schemas.microsoft.com/office/drawing/2014/main" id="{974A453A-D419-44F6-8B0F-84C43FCFA567}"/>
              </a:ext>
            </a:extLst>
          </p:cNvPr>
          <p:cNvSpPr/>
          <p:nvPr userDrawn="1"/>
        </p:nvSpPr>
        <p:spPr>
          <a:xfrm>
            <a:off x="8780016" y="1196974"/>
            <a:ext cx="2857012" cy="486092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Content Placeholder 3"/>
          <p:cNvSpPr>
            <a:spLocks noGrp="1"/>
          </p:cNvSpPr>
          <p:nvPr>
            <p:ph sz="quarter" idx="15" hasCustomPrompt="1"/>
          </p:nvPr>
        </p:nvSpPr>
        <p:spPr>
          <a:xfrm>
            <a:off x="550862" y="1240519"/>
            <a:ext cx="7937786" cy="278374"/>
          </a:xfrm>
          <a:prstGeom prst="rect">
            <a:avLst/>
          </a:prstGeo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22" name="Content Placeholder 3"/>
          <p:cNvSpPr>
            <a:spLocks noGrp="1"/>
          </p:cNvSpPr>
          <p:nvPr>
            <p:ph sz="quarter" idx="16" hasCustomPrompt="1"/>
          </p:nvPr>
        </p:nvSpPr>
        <p:spPr>
          <a:xfrm>
            <a:off x="9039225" y="1240518"/>
            <a:ext cx="2438400" cy="278374"/>
          </a:xfrm>
          <a:prstGeom prst="rect">
            <a:avLst/>
          </a:prstGeo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23" name="Content Placeholder 2"/>
          <p:cNvSpPr>
            <a:spLocks noGrp="1"/>
          </p:cNvSpPr>
          <p:nvPr>
            <p:ph sz="quarter" idx="17"/>
          </p:nvPr>
        </p:nvSpPr>
        <p:spPr>
          <a:xfrm>
            <a:off x="9038484" y="1628775"/>
            <a:ext cx="2439141" cy="4176713"/>
          </a:xfrm>
          <a:prstGeom prst="rect">
            <a:avLst/>
          </a:prstGeom>
        </p:spPr>
        <p:txBody>
          <a:bodyPr anchor="ctr"/>
          <a:lstStyle>
            <a:lvl1pPr>
              <a:lnSpc>
                <a:spcPct val="100000"/>
              </a:lnSpc>
              <a:spcAft>
                <a:spcPts val="600"/>
              </a:spcAft>
              <a:defRPr/>
            </a:lvl1pPr>
            <a:lvl2pPr>
              <a:lnSpc>
                <a:spcPct val="100000"/>
              </a:lnSpc>
              <a:spcAft>
                <a:spcPts val="600"/>
              </a:spcAft>
              <a:defRPr/>
            </a:lvl2pPr>
            <a:lvl3pPr>
              <a:lnSpc>
                <a:spcPct val="100000"/>
              </a:lnSpc>
              <a:spcAft>
                <a:spcPts val="600"/>
              </a:spcAft>
              <a:defRPr/>
            </a:lvl3pPr>
            <a:lvl4pPr>
              <a:lnSpc>
                <a:spcPct val="100000"/>
              </a:lnSpc>
              <a:spcAft>
                <a:spcPts val="600"/>
              </a:spcAft>
              <a:defRPr/>
            </a:lvl4pPr>
            <a:lvl5pPr>
              <a:lnSpc>
                <a:spcPct val="100000"/>
              </a:lnSpc>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Tree>
    <p:extLst>
      <p:ext uri="{BB962C8B-B14F-4D97-AF65-F5344CB8AC3E}">
        <p14:creationId xmlns:p14="http://schemas.microsoft.com/office/powerpoint/2010/main" val="368934828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3_Takeaway Layout">
    <p:spTree>
      <p:nvGrpSpPr>
        <p:cNvPr id="1" name=""/>
        <p:cNvGrpSpPr/>
        <p:nvPr/>
      </p:nvGrpSpPr>
      <p:grpSpPr>
        <a:xfrm>
          <a:off x="0" y="0"/>
          <a:ext cx="0" cy="0"/>
          <a:chOff x="0" y="0"/>
          <a:chExt cx="0" cy="0"/>
        </a:xfrm>
      </p:grpSpPr>
      <p:sp>
        <p:nvSpPr>
          <p:cNvPr id="25"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28" name="CuadroTexto 5">
            <a:extLst>
              <a:ext uri="{FF2B5EF4-FFF2-40B4-BE49-F238E27FC236}">
                <a16:creationId xmlns:a16="http://schemas.microsoft.com/office/drawing/2014/main" id="{222FF7D7-7B77-4EEC-8205-A031C02EC565}"/>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pic>
        <p:nvPicPr>
          <p:cNvPr id="29"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5" y="6467037"/>
            <a:ext cx="1223683" cy="214585"/>
          </a:xfrm>
          <a:prstGeom prst="rect">
            <a:avLst/>
          </a:prstGeom>
        </p:spPr>
      </p:pic>
      <p:sp>
        <p:nvSpPr>
          <p:cNvPr id="30"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a:prstGeom prst="rect">
            <a:avLst/>
          </a:prstGeom>
        </p:spPr>
        <p:txBody>
          <a:bodyPr anchor="b" anchorCtr="0"/>
          <a:lstStyle>
            <a:lvl1pPr>
              <a:defRPr sz="1000"/>
            </a:lvl1pPr>
          </a:lstStyle>
          <a:p>
            <a:pPr lvl="0"/>
            <a:r>
              <a:rPr lang="en-US" noProof="0"/>
              <a:t>Click to add footnotes</a:t>
            </a:r>
          </a:p>
        </p:txBody>
      </p:sp>
      <p:sp>
        <p:nvSpPr>
          <p:cNvPr id="35" name="Content Placeholder 2"/>
          <p:cNvSpPr>
            <a:spLocks noGrp="1"/>
          </p:cNvSpPr>
          <p:nvPr>
            <p:ph sz="quarter" idx="17"/>
          </p:nvPr>
        </p:nvSpPr>
        <p:spPr>
          <a:xfrm>
            <a:off x="770022" y="5443538"/>
            <a:ext cx="10621846" cy="568988"/>
          </a:xfrm>
          <a:prstGeom prst="rect">
            <a:avLst/>
          </a:prstGeom>
        </p:spPr>
        <p:txBody>
          <a:bodyPr tIns="0" rIns="0" anchor="ctr"/>
          <a:lstStyle>
            <a:lvl1pPr>
              <a:lnSpc>
                <a:spcPct val="100000"/>
              </a:lnSpc>
              <a:defRPr/>
            </a:lvl1pPr>
            <a:lvl2pPr>
              <a:buNone/>
              <a:defRPr/>
            </a:lvl2pPr>
          </a:lstStyle>
          <a:p>
            <a:pPr lvl="0"/>
            <a:r>
              <a:rPr lang="en-US"/>
              <a:t>Edit Master text styles</a:t>
            </a:r>
          </a:p>
        </p:txBody>
      </p:sp>
      <p:sp>
        <p:nvSpPr>
          <p:cNvPr id="36"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a:prstGeom prst="rect">
            <a:avLst/>
          </a:prstGeom>
        </p:spPr>
        <p:txBody>
          <a:bodyPr anchor="b"/>
          <a:lstStyle>
            <a:lvl1pPr algn="r">
              <a:defRPr sz="1000"/>
            </a:lvl1pPr>
          </a:lstStyle>
          <a:p>
            <a:pPr lvl="0"/>
            <a:r>
              <a:rPr lang="en-US" noProof="0"/>
              <a:t>Chapter # &gt; Topic</a:t>
            </a:r>
          </a:p>
        </p:txBody>
      </p:sp>
      <p:sp>
        <p:nvSpPr>
          <p:cNvPr id="37"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cxnSp>
        <p:nvCxnSpPr>
          <p:cNvPr id="38" name="Straight Connector 37">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BA9BCE-A3E8-411D-907B-B79FCB4A37A3}"/>
              </a:ext>
            </a:extLst>
          </p:cNvPr>
          <p:cNvCxnSpPr/>
          <p:nvPr userDrawn="1"/>
        </p:nvCxnSpPr>
        <p:spPr>
          <a:xfrm>
            <a:off x="550863" y="6421143"/>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a:prstGeom prst="rect">
            <a:avLst/>
          </a:prstGeom>
        </p:spPr>
        <p:txBody>
          <a:bodyPr tIns="36000" anchor="t" anchorCtr="0"/>
          <a:lstStyle>
            <a:lvl1pPr>
              <a:defRPr sz="1000"/>
            </a:lvl1pPr>
          </a:lstStyle>
          <a:p>
            <a:pPr lvl="0"/>
            <a:r>
              <a:rPr lang="en-US" noProof="0"/>
              <a:t>Click to add source</a:t>
            </a:r>
          </a:p>
        </p:txBody>
      </p:sp>
      <p:sp>
        <p:nvSpPr>
          <p:cNvPr id="14" name="Content Placeholder 3"/>
          <p:cNvSpPr>
            <a:spLocks noGrp="1"/>
          </p:cNvSpPr>
          <p:nvPr>
            <p:ph sz="quarter" idx="15" hasCustomPrompt="1"/>
          </p:nvPr>
        </p:nvSpPr>
        <p:spPr>
          <a:xfrm>
            <a:off x="550861" y="1240519"/>
            <a:ext cx="11090275" cy="278374"/>
          </a:xfrm>
          <a:prstGeom prst="rect">
            <a:avLst/>
          </a:prstGeo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Tree>
    <p:extLst>
      <p:ext uri="{BB962C8B-B14F-4D97-AF65-F5344CB8AC3E}">
        <p14:creationId xmlns:p14="http://schemas.microsoft.com/office/powerpoint/2010/main" val="21447126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4_ThankYou">
    <p:spTree>
      <p:nvGrpSpPr>
        <p:cNvPr id="1" name=""/>
        <p:cNvGrpSpPr/>
        <p:nvPr/>
      </p:nvGrpSpPr>
      <p:grpSpPr>
        <a:xfrm>
          <a:off x="0" y="0"/>
          <a:ext cx="0" cy="0"/>
          <a:chOff x="0" y="0"/>
          <a:chExt cx="0" cy="0"/>
        </a:xfrm>
      </p:grpSpPr>
      <p:pic>
        <p:nvPicPr>
          <p:cNvPr id="11" name="Imagem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 y="5117"/>
            <a:ext cx="12190560" cy="6856620"/>
          </a:xfrm>
          <a:prstGeom prst="rect">
            <a:avLst/>
          </a:prstGeom>
        </p:spPr>
      </p:pic>
      <p:sp>
        <p:nvSpPr>
          <p:cNvPr id="4" name="Freeform: Shape 14">
            <a:extLst>
              <a:ext uri="{FF2B5EF4-FFF2-40B4-BE49-F238E27FC236}">
                <a16:creationId xmlns:a16="http://schemas.microsoft.com/office/drawing/2014/main" id="{80DAC009-2BB8-4885-AC03-9FD05C47BE65}"/>
              </a:ext>
            </a:extLst>
          </p:cNvPr>
          <p:cNvSpPr/>
          <p:nvPr userDrawn="1"/>
        </p:nvSpPr>
        <p:spPr>
          <a:xfrm>
            <a:off x="7262226" y="2188307"/>
            <a:ext cx="2446172" cy="248603"/>
          </a:xfrm>
          <a:custGeom>
            <a:avLst/>
            <a:gdLst/>
            <a:ahLst/>
            <a:cxnLst/>
            <a:rect l="l" t="t" r="r" b="b"/>
            <a:pathLst>
              <a:path w="2446172" h="248603">
                <a:moveTo>
                  <a:pt x="2218258" y="75686"/>
                </a:moveTo>
                <a:cubicBezTo>
                  <a:pt x="2202560" y="75848"/>
                  <a:pt x="2190935" y="80359"/>
                  <a:pt x="2183385" y="89222"/>
                </a:cubicBezTo>
                <a:cubicBezTo>
                  <a:pt x="2175835" y="98084"/>
                  <a:pt x="2172083" y="110330"/>
                  <a:pt x="2172129" y="125959"/>
                </a:cubicBezTo>
                <a:cubicBezTo>
                  <a:pt x="2172037" y="140289"/>
                  <a:pt x="2175052" y="151821"/>
                  <a:pt x="2181175" y="160557"/>
                </a:cubicBezTo>
                <a:cubicBezTo>
                  <a:pt x="2187298" y="169292"/>
                  <a:pt x="2197081" y="173781"/>
                  <a:pt x="2210524" y="174023"/>
                </a:cubicBezTo>
                <a:cubicBezTo>
                  <a:pt x="2216451" y="173988"/>
                  <a:pt x="2221861" y="173090"/>
                  <a:pt x="2226752" y="171329"/>
                </a:cubicBezTo>
                <a:cubicBezTo>
                  <a:pt x="2231644" y="169568"/>
                  <a:pt x="2236086" y="167151"/>
                  <a:pt x="2240080" y="164078"/>
                </a:cubicBezTo>
                <a:lnTo>
                  <a:pt x="2240080" y="77344"/>
                </a:lnTo>
                <a:cubicBezTo>
                  <a:pt x="2236926" y="76791"/>
                  <a:pt x="2233566" y="76377"/>
                  <a:pt x="2229998" y="76101"/>
                </a:cubicBezTo>
                <a:cubicBezTo>
                  <a:pt x="2226430" y="75825"/>
                  <a:pt x="2222517" y="75686"/>
                  <a:pt x="2218258"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469508" y="75686"/>
                </a:moveTo>
                <a:cubicBezTo>
                  <a:pt x="1455466" y="75859"/>
                  <a:pt x="1445085" y="80210"/>
                  <a:pt x="1438363" y="88738"/>
                </a:cubicBezTo>
                <a:cubicBezTo>
                  <a:pt x="1431642" y="97267"/>
                  <a:pt x="1428304" y="108937"/>
                  <a:pt x="1428350" y="123750"/>
                </a:cubicBezTo>
                <a:cubicBezTo>
                  <a:pt x="1428460" y="140663"/>
                  <a:pt x="1432108" y="153104"/>
                  <a:pt x="1439296" y="161075"/>
                </a:cubicBezTo>
                <a:cubicBezTo>
                  <a:pt x="1446483" y="169045"/>
                  <a:pt x="1456554" y="172993"/>
                  <a:pt x="1469508" y="172918"/>
                </a:cubicBezTo>
                <a:cubicBezTo>
                  <a:pt x="1483031" y="172762"/>
                  <a:pt x="1493136" y="168446"/>
                  <a:pt x="1499823" y="159970"/>
                </a:cubicBezTo>
                <a:cubicBezTo>
                  <a:pt x="1506510" y="151493"/>
                  <a:pt x="1509848" y="139788"/>
                  <a:pt x="1509836" y="124855"/>
                </a:cubicBezTo>
                <a:cubicBezTo>
                  <a:pt x="1509710" y="108062"/>
                  <a:pt x="1506096" y="95655"/>
                  <a:pt x="1498995" y="87633"/>
                </a:cubicBezTo>
                <a:cubicBezTo>
                  <a:pt x="1491894" y="79611"/>
                  <a:pt x="1482064" y="75629"/>
                  <a:pt x="14695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1" y="140225"/>
                  <a:pt x="570862" y="124302"/>
                </a:cubicBezTo>
                <a:cubicBezTo>
                  <a:pt x="571012" y="109346"/>
                  <a:pt x="567329" y="97549"/>
                  <a:pt x="559813" y="88911"/>
                </a:cubicBezTo>
                <a:cubicBezTo>
                  <a:pt x="552297" y="80273"/>
                  <a:pt x="540051" y="75865"/>
                  <a:pt x="523075" y="75686"/>
                </a:cubicBezTo>
                <a:close/>
                <a:moveTo>
                  <a:pt x="1101204" y="75134"/>
                </a:moveTo>
                <a:cubicBezTo>
                  <a:pt x="1090460" y="75163"/>
                  <a:pt x="1082185" y="78213"/>
                  <a:pt x="1076379" y="84284"/>
                </a:cubicBezTo>
                <a:cubicBezTo>
                  <a:pt x="1070572" y="90355"/>
                  <a:pt x="1067062" y="99275"/>
                  <a:pt x="1065848" y="111043"/>
                </a:cubicBezTo>
                <a:lnTo>
                  <a:pt x="1134351" y="111043"/>
                </a:lnTo>
                <a:cubicBezTo>
                  <a:pt x="1134282" y="99637"/>
                  <a:pt x="1131382" y="90821"/>
                  <a:pt x="1125650" y="84595"/>
                </a:cubicBezTo>
                <a:cubicBezTo>
                  <a:pt x="1119919" y="78368"/>
                  <a:pt x="1111770" y="75215"/>
                  <a:pt x="1101204"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301050" y="53036"/>
                </a:moveTo>
                <a:lnTo>
                  <a:pt x="2331434" y="53036"/>
                </a:lnTo>
                <a:lnTo>
                  <a:pt x="2331434" y="195568"/>
                </a:lnTo>
                <a:lnTo>
                  <a:pt x="2301050" y="195568"/>
                </a:lnTo>
                <a:close/>
                <a:moveTo>
                  <a:pt x="157925" y="53036"/>
                </a:moveTo>
                <a:lnTo>
                  <a:pt x="188309" y="53036"/>
                </a:lnTo>
                <a:lnTo>
                  <a:pt x="188309" y="195568"/>
                </a:lnTo>
                <a:lnTo>
                  <a:pt x="157925" y="195568"/>
                </a:lnTo>
                <a:close/>
                <a:moveTo>
                  <a:pt x="2419655" y="49721"/>
                </a:moveTo>
                <a:cubicBezTo>
                  <a:pt x="2424454" y="49716"/>
                  <a:pt x="2429219" y="49796"/>
                  <a:pt x="2433950" y="49963"/>
                </a:cubicBezTo>
                <a:cubicBezTo>
                  <a:pt x="2438680" y="50130"/>
                  <a:pt x="2442754" y="50418"/>
                  <a:pt x="2446172" y="50826"/>
                </a:cubicBezTo>
                <a:cubicBezTo>
                  <a:pt x="2446161" y="55534"/>
                  <a:pt x="2445908" y="60275"/>
                  <a:pt x="2445413" y="65052"/>
                </a:cubicBezTo>
                <a:cubicBezTo>
                  <a:pt x="2444918" y="69828"/>
                  <a:pt x="2444250" y="73741"/>
                  <a:pt x="2443410" y="76791"/>
                </a:cubicBezTo>
                <a:cubicBezTo>
                  <a:pt x="2439848" y="76383"/>
                  <a:pt x="2436200" y="76095"/>
                  <a:pt x="2432465" y="75928"/>
                </a:cubicBezTo>
                <a:cubicBezTo>
                  <a:pt x="2428730" y="75761"/>
                  <a:pt x="2424736" y="75681"/>
                  <a:pt x="2420484" y="75686"/>
                </a:cubicBezTo>
                <a:cubicBezTo>
                  <a:pt x="2413026" y="75686"/>
                  <a:pt x="2405567" y="76239"/>
                  <a:pt x="2398109" y="77344"/>
                </a:cubicBezTo>
                <a:lnTo>
                  <a:pt x="2398109" y="195568"/>
                </a:lnTo>
                <a:lnTo>
                  <a:pt x="2367725" y="195568"/>
                </a:lnTo>
                <a:lnTo>
                  <a:pt x="2367725" y="57456"/>
                </a:lnTo>
                <a:cubicBezTo>
                  <a:pt x="2374498" y="55200"/>
                  <a:pt x="2382635" y="53358"/>
                  <a:pt x="2392136" y="51931"/>
                </a:cubicBezTo>
                <a:cubicBezTo>
                  <a:pt x="2401637" y="50504"/>
                  <a:pt x="2410810" y="49767"/>
                  <a:pt x="2419655" y="49721"/>
                </a:cubicBezTo>
                <a:close/>
                <a:moveTo>
                  <a:pt x="2218258" y="49721"/>
                </a:moveTo>
                <a:cubicBezTo>
                  <a:pt x="2228133" y="49698"/>
                  <a:pt x="2237318" y="50297"/>
                  <a:pt x="2245812" y="51517"/>
                </a:cubicBezTo>
                <a:cubicBezTo>
                  <a:pt x="2254306" y="52737"/>
                  <a:pt x="2262523" y="54716"/>
                  <a:pt x="2270465" y="57456"/>
                </a:cubicBezTo>
                <a:lnTo>
                  <a:pt x="2270465" y="195568"/>
                </a:lnTo>
                <a:lnTo>
                  <a:pt x="2242566" y="195568"/>
                </a:lnTo>
                <a:lnTo>
                  <a:pt x="2240909" y="178995"/>
                </a:lnTo>
                <a:cubicBezTo>
                  <a:pt x="2237111" y="185141"/>
                  <a:pt x="2232069" y="189975"/>
                  <a:pt x="2225785" y="193496"/>
                </a:cubicBezTo>
                <a:cubicBezTo>
                  <a:pt x="2219501" y="197018"/>
                  <a:pt x="2211560" y="198814"/>
                  <a:pt x="2201961" y="198883"/>
                </a:cubicBezTo>
                <a:cubicBezTo>
                  <a:pt x="2183477" y="198745"/>
                  <a:pt x="2168791" y="192392"/>
                  <a:pt x="2157903" y="179823"/>
                </a:cubicBezTo>
                <a:cubicBezTo>
                  <a:pt x="2147015" y="167255"/>
                  <a:pt x="2141445" y="149300"/>
                  <a:pt x="2141191" y="125959"/>
                </a:cubicBezTo>
                <a:cubicBezTo>
                  <a:pt x="2141209" y="101514"/>
                  <a:pt x="2147665" y="82730"/>
                  <a:pt x="2160562" y="69610"/>
                </a:cubicBezTo>
                <a:cubicBezTo>
                  <a:pt x="2173458" y="56489"/>
                  <a:pt x="2192690" y="49859"/>
                  <a:pt x="2218258" y="49721"/>
                </a:cubicBezTo>
                <a:close/>
                <a:moveTo>
                  <a:pt x="1789633" y="49721"/>
                </a:moveTo>
                <a:cubicBezTo>
                  <a:pt x="1799508" y="49698"/>
                  <a:pt x="1808693" y="50297"/>
                  <a:pt x="1817187" y="51517"/>
                </a:cubicBezTo>
                <a:cubicBezTo>
                  <a:pt x="1825681" y="52737"/>
                  <a:pt x="1833899"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870" y="49721"/>
                </a:moveTo>
                <a:cubicBezTo>
                  <a:pt x="1647903" y="49842"/>
                  <a:pt x="1665443" y="54503"/>
                  <a:pt x="1675491" y="63705"/>
                </a:cubicBezTo>
                <a:cubicBezTo>
                  <a:pt x="1685538" y="72907"/>
                  <a:pt x="1690372" y="85924"/>
                  <a:pt x="1689992" y="102757"/>
                </a:cubicBezTo>
                <a:lnTo>
                  <a:pt x="1689992" y="195568"/>
                </a:lnTo>
                <a:lnTo>
                  <a:pt x="1659608" y="195568"/>
                </a:lnTo>
                <a:lnTo>
                  <a:pt x="1659608" y="108005"/>
                </a:lnTo>
                <a:cubicBezTo>
                  <a:pt x="1659941" y="97111"/>
                  <a:pt x="1657478" y="88997"/>
                  <a:pt x="1652219" y="83662"/>
                </a:cubicBezTo>
                <a:cubicBezTo>
                  <a:pt x="1646959" y="78328"/>
                  <a:pt x="1636900" y="75669"/>
                  <a:pt x="1622041" y="75686"/>
                </a:cubicBezTo>
                <a:cubicBezTo>
                  <a:pt x="1618416" y="75692"/>
                  <a:pt x="1614548" y="75888"/>
                  <a:pt x="1610440" y="76273"/>
                </a:cubicBezTo>
                <a:cubicBezTo>
                  <a:pt x="1606331" y="76659"/>
                  <a:pt x="1602187" y="77200"/>
                  <a:pt x="1598009" y="77896"/>
                </a:cubicBezTo>
                <a:lnTo>
                  <a:pt x="1598009" y="195568"/>
                </a:lnTo>
                <a:lnTo>
                  <a:pt x="1567625" y="195568"/>
                </a:lnTo>
                <a:lnTo>
                  <a:pt x="1567625" y="57456"/>
                </a:lnTo>
                <a:cubicBezTo>
                  <a:pt x="1577471" y="55079"/>
                  <a:pt x="1587265" y="53203"/>
                  <a:pt x="1597008" y="51828"/>
                </a:cubicBezTo>
                <a:cubicBezTo>
                  <a:pt x="1606751" y="50452"/>
                  <a:pt x="1615371" y="49750"/>
                  <a:pt x="1622870" y="49721"/>
                </a:cubicBezTo>
                <a:close/>
                <a:moveTo>
                  <a:pt x="1470336" y="49721"/>
                </a:moveTo>
                <a:cubicBezTo>
                  <a:pt x="1485815" y="49861"/>
                  <a:pt x="1498777" y="53111"/>
                  <a:pt x="1509223" y="59471"/>
                </a:cubicBezTo>
                <a:cubicBezTo>
                  <a:pt x="1519668" y="65831"/>
                  <a:pt x="1527535" y="74462"/>
                  <a:pt x="1532825" y="85365"/>
                </a:cubicBezTo>
                <a:cubicBezTo>
                  <a:pt x="1538114" y="96267"/>
                  <a:pt x="1540764" y="108602"/>
                  <a:pt x="1540774" y="122369"/>
                </a:cubicBezTo>
                <a:cubicBezTo>
                  <a:pt x="1540555" y="146705"/>
                  <a:pt x="1534018" y="165500"/>
                  <a:pt x="1521162" y="178753"/>
                </a:cubicBezTo>
                <a:cubicBezTo>
                  <a:pt x="1508306" y="192006"/>
                  <a:pt x="1490443" y="198716"/>
                  <a:pt x="1467574" y="198883"/>
                </a:cubicBezTo>
                <a:cubicBezTo>
                  <a:pt x="1452360" y="198743"/>
                  <a:pt x="1439544" y="195493"/>
                  <a:pt x="1429128" y="189133"/>
                </a:cubicBezTo>
                <a:cubicBezTo>
                  <a:pt x="1418711" y="182773"/>
                  <a:pt x="1410827" y="174142"/>
                  <a:pt x="1405475" y="163240"/>
                </a:cubicBezTo>
                <a:cubicBezTo>
                  <a:pt x="1400122" y="152337"/>
                  <a:pt x="1397435" y="140003"/>
                  <a:pt x="1397413" y="126236"/>
                </a:cubicBezTo>
                <a:cubicBezTo>
                  <a:pt x="1397655" y="101899"/>
                  <a:pt x="1404215" y="83104"/>
                  <a:pt x="1417094" y="69851"/>
                </a:cubicBezTo>
                <a:cubicBezTo>
                  <a:pt x="1429973" y="56598"/>
                  <a:pt x="1447720" y="49888"/>
                  <a:pt x="1470336" y="49721"/>
                </a:cubicBezTo>
                <a:close/>
                <a:moveTo>
                  <a:pt x="1329662" y="49721"/>
                </a:moveTo>
                <a:cubicBezTo>
                  <a:pt x="1338351" y="49704"/>
                  <a:pt x="1346454" y="50222"/>
                  <a:pt x="1353969" y="51275"/>
                </a:cubicBezTo>
                <a:cubicBezTo>
                  <a:pt x="1361485" y="52328"/>
                  <a:pt x="1368483" y="54020"/>
                  <a:pt x="1374963" y="56351"/>
                </a:cubicBezTo>
                <a:cubicBezTo>
                  <a:pt x="1374709" y="60316"/>
                  <a:pt x="1374249" y="64263"/>
                  <a:pt x="1373581" y="68194"/>
                </a:cubicBezTo>
                <a:cubicBezTo>
                  <a:pt x="1372914" y="72124"/>
                  <a:pt x="1371901" y="76279"/>
                  <a:pt x="1370543" y="80659"/>
                </a:cubicBezTo>
                <a:cubicBezTo>
                  <a:pt x="1364092" y="78604"/>
                  <a:pt x="1357589" y="77119"/>
                  <a:pt x="1351035" y="76204"/>
                </a:cubicBezTo>
                <a:cubicBezTo>
                  <a:pt x="1344480" y="75289"/>
                  <a:pt x="1337632" y="74841"/>
                  <a:pt x="1330490" y="74858"/>
                </a:cubicBezTo>
                <a:cubicBezTo>
                  <a:pt x="1321018" y="74933"/>
                  <a:pt x="1314550" y="76302"/>
                  <a:pt x="1311086" y="78967"/>
                </a:cubicBezTo>
                <a:cubicBezTo>
                  <a:pt x="1307621" y="81631"/>
                  <a:pt x="1305987" y="85141"/>
                  <a:pt x="1306182" y="89498"/>
                </a:cubicBezTo>
                <a:cubicBezTo>
                  <a:pt x="1306165" y="94504"/>
                  <a:pt x="1307926" y="98510"/>
                  <a:pt x="1311465" y="101514"/>
                </a:cubicBezTo>
                <a:cubicBezTo>
                  <a:pt x="1315004" y="104517"/>
                  <a:pt x="1320425" y="107142"/>
                  <a:pt x="1327728" y="109386"/>
                </a:cubicBezTo>
                <a:lnTo>
                  <a:pt x="1342368" y="114082"/>
                </a:lnTo>
                <a:cubicBezTo>
                  <a:pt x="1355414" y="118104"/>
                  <a:pt x="1364955" y="123456"/>
                  <a:pt x="1370992" y="130137"/>
                </a:cubicBezTo>
                <a:cubicBezTo>
                  <a:pt x="1377029" y="136819"/>
                  <a:pt x="1380009" y="145554"/>
                  <a:pt x="1379935" y="156344"/>
                </a:cubicBezTo>
                <a:cubicBezTo>
                  <a:pt x="1379865" y="169114"/>
                  <a:pt x="1375032" y="179346"/>
                  <a:pt x="1365433" y="187040"/>
                </a:cubicBezTo>
                <a:cubicBezTo>
                  <a:pt x="1355834" y="194734"/>
                  <a:pt x="1341885" y="198681"/>
                  <a:pt x="1323585" y="198883"/>
                </a:cubicBezTo>
                <a:cubicBezTo>
                  <a:pt x="1313428" y="198906"/>
                  <a:pt x="1304393" y="198169"/>
                  <a:pt x="1296480" y="196673"/>
                </a:cubicBezTo>
                <a:cubicBezTo>
                  <a:pt x="1288567" y="195177"/>
                  <a:pt x="1281397" y="192783"/>
                  <a:pt x="1274969" y="189491"/>
                </a:cubicBezTo>
                <a:cubicBezTo>
                  <a:pt x="1275245" y="183863"/>
                  <a:pt x="1275729" y="178960"/>
                  <a:pt x="1276419" y="174782"/>
                </a:cubicBezTo>
                <a:cubicBezTo>
                  <a:pt x="1277110" y="170604"/>
                  <a:pt x="1278008" y="166944"/>
                  <a:pt x="1279112" y="163802"/>
                </a:cubicBezTo>
                <a:cubicBezTo>
                  <a:pt x="1285661" y="166985"/>
                  <a:pt x="1292866" y="169390"/>
                  <a:pt x="1300727" y="171019"/>
                </a:cubicBezTo>
                <a:cubicBezTo>
                  <a:pt x="1308588" y="172647"/>
                  <a:pt x="1315931" y="173464"/>
                  <a:pt x="1322756" y="173470"/>
                </a:cubicBezTo>
                <a:cubicBezTo>
                  <a:pt x="1331497" y="173516"/>
                  <a:pt x="1338184" y="172250"/>
                  <a:pt x="1342817" y="169672"/>
                </a:cubicBezTo>
                <a:cubicBezTo>
                  <a:pt x="1347449" y="167094"/>
                  <a:pt x="1349786" y="162928"/>
                  <a:pt x="1349826" y="157173"/>
                </a:cubicBezTo>
                <a:cubicBezTo>
                  <a:pt x="1349757" y="152189"/>
                  <a:pt x="1347823" y="148345"/>
                  <a:pt x="1344025" y="145640"/>
                </a:cubicBezTo>
                <a:cubicBezTo>
                  <a:pt x="1340227" y="142936"/>
                  <a:pt x="1334979" y="140611"/>
                  <a:pt x="1328281" y="138666"/>
                </a:cubicBezTo>
                <a:lnTo>
                  <a:pt x="1314193" y="134246"/>
                </a:lnTo>
                <a:cubicBezTo>
                  <a:pt x="1300434" y="129821"/>
                  <a:pt x="1290731" y="123963"/>
                  <a:pt x="1285086" y="116671"/>
                </a:cubicBezTo>
                <a:cubicBezTo>
                  <a:pt x="1279440" y="109380"/>
                  <a:pt x="1276713" y="100691"/>
                  <a:pt x="1276903" y="90603"/>
                </a:cubicBezTo>
                <a:cubicBezTo>
                  <a:pt x="1276926" y="77781"/>
                  <a:pt x="1281368" y="67791"/>
                  <a:pt x="1290231" y="60632"/>
                </a:cubicBezTo>
                <a:cubicBezTo>
                  <a:pt x="1299093" y="53473"/>
                  <a:pt x="1312236" y="49836"/>
                  <a:pt x="1329662" y="49721"/>
                </a:cubicBezTo>
                <a:close/>
                <a:moveTo>
                  <a:pt x="1238555" y="49721"/>
                </a:moveTo>
                <a:cubicBezTo>
                  <a:pt x="1243354" y="49716"/>
                  <a:pt x="1248119" y="49796"/>
                  <a:pt x="1252850" y="49963"/>
                </a:cubicBezTo>
                <a:cubicBezTo>
                  <a:pt x="1257580" y="50130"/>
                  <a:pt x="1261654" y="50418"/>
                  <a:pt x="1265073" y="50826"/>
                </a:cubicBezTo>
                <a:cubicBezTo>
                  <a:pt x="1265061" y="55534"/>
                  <a:pt x="1264808" y="60275"/>
                  <a:pt x="1264313" y="65052"/>
                </a:cubicBezTo>
                <a:cubicBezTo>
                  <a:pt x="1263818" y="69828"/>
                  <a:pt x="1263151" y="73741"/>
                  <a:pt x="1262310" y="76791"/>
                </a:cubicBezTo>
                <a:cubicBezTo>
                  <a:pt x="1258748" y="76383"/>
                  <a:pt x="1255100" y="76095"/>
                  <a:pt x="1251365" y="75928"/>
                </a:cubicBezTo>
                <a:cubicBezTo>
                  <a:pt x="1247630" y="75761"/>
                  <a:pt x="1243636" y="75681"/>
                  <a:pt x="1239384" y="75686"/>
                </a:cubicBezTo>
                <a:cubicBezTo>
                  <a:pt x="1231926" y="75686"/>
                  <a:pt x="1224468" y="76239"/>
                  <a:pt x="1217010" y="77344"/>
                </a:cubicBezTo>
                <a:lnTo>
                  <a:pt x="1217010" y="195568"/>
                </a:lnTo>
                <a:lnTo>
                  <a:pt x="1186625" y="195568"/>
                </a:lnTo>
                <a:lnTo>
                  <a:pt x="1186625" y="57456"/>
                </a:lnTo>
                <a:cubicBezTo>
                  <a:pt x="1193398" y="55200"/>
                  <a:pt x="1201535" y="53358"/>
                  <a:pt x="1211036" y="51931"/>
                </a:cubicBezTo>
                <a:cubicBezTo>
                  <a:pt x="1220537" y="50504"/>
                  <a:pt x="1229710" y="49767"/>
                  <a:pt x="1238555" y="49721"/>
                </a:cubicBezTo>
                <a:close/>
                <a:moveTo>
                  <a:pt x="1102862" y="49721"/>
                </a:moveTo>
                <a:cubicBezTo>
                  <a:pt x="1124425" y="50182"/>
                  <a:pt x="1140204" y="56374"/>
                  <a:pt x="1150200" y="68297"/>
                </a:cubicBezTo>
                <a:cubicBezTo>
                  <a:pt x="1160196" y="80221"/>
                  <a:pt x="1165133" y="95114"/>
                  <a:pt x="1165012" y="112977"/>
                </a:cubicBezTo>
                <a:cubicBezTo>
                  <a:pt x="1165012" y="117201"/>
                  <a:pt x="1164874" y="121183"/>
                  <a:pt x="1164598" y="124924"/>
                </a:cubicBezTo>
                <a:cubicBezTo>
                  <a:pt x="1164322" y="128664"/>
                  <a:pt x="1163908" y="132508"/>
                  <a:pt x="1163355" y="136456"/>
                </a:cubicBezTo>
                <a:lnTo>
                  <a:pt x="1066400" y="136456"/>
                </a:lnTo>
                <a:cubicBezTo>
                  <a:pt x="1068288" y="148731"/>
                  <a:pt x="1072937" y="157881"/>
                  <a:pt x="1080349" y="163906"/>
                </a:cubicBezTo>
                <a:cubicBezTo>
                  <a:pt x="1087762" y="169931"/>
                  <a:pt x="1098212" y="172935"/>
                  <a:pt x="1111701" y="172918"/>
                </a:cubicBezTo>
                <a:cubicBezTo>
                  <a:pt x="1120028" y="172912"/>
                  <a:pt x="1128303" y="172026"/>
                  <a:pt x="1136527" y="170259"/>
                </a:cubicBezTo>
                <a:cubicBezTo>
                  <a:pt x="1144750" y="168492"/>
                  <a:pt x="1152680" y="165880"/>
                  <a:pt x="1160317" y="162421"/>
                </a:cubicBezTo>
                <a:cubicBezTo>
                  <a:pt x="1159758" y="166507"/>
                  <a:pt x="1159079" y="170973"/>
                  <a:pt x="1158279" y="175818"/>
                </a:cubicBezTo>
                <a:cubicBezTo>
                  <a:pt x="1157479" y="180663"/>
                  <a:pt x="1156593" y="185405"/>
                  <a:pt x="1155621" y="190044"/>
                </a:cubicBezTo>
                <a:cubicBezTo>
                  <a:pt x="1148732" y="193191"/>
                  <a:pt x="1141585" y="195459"/>
                  <a:pt x="1134179" y="196846"/>
                </a:cubicBezTo>
                <a:cubicBezTo>
                  <a:pt x="1126772" y="198233"/>
                  <a:pt x="1119004" y="198912"/>
                  <a:pt x="1110872" y="198883"/>
                </a:cubicBezTo>
                <a:cubicBezTo>
                  <a:pt x="1085494" y="198693"/>
                  <a:pt x="1066573" y="192029"/>
                  <a:pt x="1054108" y="178891"/>
                </a:cubicBezTo>
                <a:cubicBezTo>
                  <a:pt x="1041643" y="165753"/>
                  <a:pt x="1035428" y="147281"/>
                  <a:pt x="1035463" y="123473"/>
                </a:cubicBezTo>
                <a:cubicBezTo>
                  <a:pt x="1035400" y="109606"/>
                  <a:pt x="1037644" y="97135"/>
                  <a:pt x="1042194" y="86060"/>
                </a:cubicBezTo>
                <a:cubicBezTo>
                  <a:pt x="1046745" y="74986"/>
                  <a:pt x="1053982" y="66198"/>
                  <a:pt x="1063904" y="59696"/>
                </a:cubicBezTo>
                <a:cubicBezTo>
                  <a:pt x="1073826" y="53195"/>
                  <a:pt x="1086812" y="49870"/>
                  <a:pt x="1102862"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2" y="162421"/>
                </a:cubicBezTo>
                <a:cubicBezTo>
                  <a:pt x="807333" y="166507"/>
                  <a:pt x="806654" y="170973"/>
                  <a:pt x="805854" y="175818"/>
                </a:cubicBezTo>
                <a:cubicBezTo>
                  <a:pt x="805055"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50" y="76722"/>
                  <a:pt x="259157"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944528" y="28452"/>
                </a:moveTo>
                <a:cubicBezTo>
                  <a:pt x="941173" y="28435"/>
                  <a:pt x="937593" y="28538"/>
                  <a:pt x="933789" y="28763"/>
                </a:cubicBezTo>
                <a:cubicBezTo>
                  <a:pt x="929986" y="28987"/>
                  <a:pt x="926199" y="29436"/>
                  <a:pt x="922430" y="30109"/>
                </a:cubicBezTo>
                <a:lnTo>
                  <a:pt x="922430" y="101375"/>
                </a:lnTo>
                <a:lnTo>
                  <a:pt x="945633" y="101375"/>
                </a:lnTo>
                <a:cubicBezTo>
                  <a:pt x="960790" y="101312"/>
                  <a:pt x="972047" y="98193"/>
                  <a:pt x="979401" y="92018"/>
                </a:cubicBezTo>
                <a:cubicBezTo>
                  <a:pt x="986756" y="85844"/>
                  <a:pt x="990416" y="76993"/>
                  <a:pt x="990381" y="65466"/>
                </a:cubicBezTo>
                <a:cubicBezTo>
                  <a:pt x="990439" y="52927"/>
                  <a:pt x="986733" y="43616"/>
                  <a:pt x="979263" y="37533"/>
                </a:cubicBezTo>
                <a:cubicBezTo>
                  <a:pt x="971793" y="31450"/>
                  <a:pt x="960215" y="28423"/>
                  <a:pt x="944528" y="28452"/>
                </a:cubicBezTo>
                <a:close/>
                <a:moveTo>
                  <a:pt x="2005917" y="4420"/>
                </a:moveTo>
                <a:lnTo>
                  <a:pt x="2120275" y="4420"/>
                </a:lnTo>
                <a:cubicBezTo>
                  <a:pt x="2119998" y="8558"/>
                  <a:pt x="2119584" y="13127"/>
                  <a:pt x="2119032" y="18128"/>
                </a:cubicBezTo>
                <a:cubicBezTo>
                  <a:pt x="2118479" y="23129"/>
                  <a:pt x="2117789" y="27767"/>
                  <a:pt x="2116960" y="32043"/>
                </a:cubicBezTo>
                <a:lnTo>
                  <a:pt x="2036855" y="32043"/>
                </a:lnTo>
                <a:lnTo>
                  <a:pt x="2036855" y="85631"/>
                </a:lnTo>
                <a:lnTo>
                  <a:pt x="2115026" y="85631"/>
                </a:lnTo>
                <a:cubicBezTo>
                  <a:pt x="2114750" y="89636"/>
                  <a:pt x="2114336" y="94124"/>
                  <a:pt x="2113783" y="99097"/>
                </a:cubicBezTo>
                <a:cubicBezTo>
                  <a:pt x="2113231" y="104069"/>
                  <a:pt x="2112540" y="108695"/>
                  <a:pt x="2111712" y="112977"/>
                </a:cubicBezTo>
                <a:lnTo>
                  <a:pt x="2036855" y="112977"/>
                </a:lnTo>
                <a:lnTo>
                  <a:pt x="2036855" y="195568"/>
                </a:lnTo>
                <a:lnTo>
                  <a:pt x="2005917" y="195568"/>
                </a:lnTo>
                <a:close/>
                <a:moveTo>
                  <a:pt x="1902809" y="2211"/>
                </a:moveTo>
                <a:lnTo>
                  <a:pt x="1902809" y="195568"/>
                </a:lnTo>
                <a:lnTo>
                  <a:pt x="1872425" y="195568"/>
                </a:lnTo>
                <a:lnTo>
                  <a:pt x="1872425" y="6630"/>
                </a:lnTo>
                <a:cubicBezTo>
                  <a:pt x="1876488" y="5479"/>
                  <a:pt x="1881345"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1" y="3592"/>
                </a:cubicBezTo>
                <a:cubicBezTo>
                  <a:pt x="644872" y="2717"/>
                  <a:pt x="650143" y="2257"/>
                  <a:pt x="655034" y="2211"/>
                </a:cubicBezTo>
                <a:close/>
                <a:moveTo>
                  <a:pt x="943423" y="1382"/>
                </a:moveTo>
                <a:cubicBezTo>
                  <a:pt x="963261" y="1532"/>
                  <a:pt x="978921" y="4393"/>
                  <a:pt x="990401" y="9965"/>
                </a:cubicBezTo>
                <a:cubicBezTo>
                  <a:pt x="1001882" y="15538"/>
                  <a:pt x="1010032" y="22921"/>
                  <a:pt x="1014852" y="32115"/>
                </a:cubicBezTo>
                <a:cubicBezTo>
                  <a:pt x="1019673" y="41308"/>
                  <a:pt x="1022012" y="51413"/>
                  <a:pt x="1021871" y="62428"/>
                </a:cubicBezTo>
                <a:cubicBezTo>
                  <a:pt x="1021715" y="83283"/>
                  <a:pt x="1015051" y="99373"/>
                  <a:pt x="1001879" y="110698"/>
                </a:cubicBezTo>
                <a:cubicBezTo>
                  <a:pt x="988706" y="122023"/>
                  <a:pt x="969958" y="127755"/>
                  <a:pt x="945633" y="127893"/>
                </a:cubicBezTo>
                <a:lnTo>
                  <a:pt x="922430" y="127893"/>
                </a:lnTo>
                <a:lnTo>
                  <a:pt x="922430" y="195292"/>
                </a:lnTo>
                <a:lnTo>
                  <a:pt x="891492" y="195292"/>
                </a:lnTo>
                <a:lnTo>
                  <a:pt x="891492" y="6906"/>
                </a:lnTo>
                <a:cubicBezTo>
                  <a:pt x="898473" y="5347"/>
                  <a:pt x="906610" y="4046"/>
                  <a:pt x="915904" y="3005"/>
                </a:cubicBezTo>
                <a:cubicBezTo>
                  <a:pt x="925198" y="1963"/>
                  <a:pt x="934371" y="1422"/>
                  <a:pt x="943423" y="1382"/>
                </a:cubicBezTo>
                <a:close/>
                <a:moveTo>
                  <a:pt x="2316242" y="1106"/>
                </a:moveTo>
                <a:cubicBezTo>
                  <a:pt x="2321738" y="1215"/>
                  <a:pt x="2326215" y="2999"/>
                  <a:pt x="2329673" y="6458"/>
                </a:cubicBezTo>
                <a:cubicBezTo>
                  <a:pt x="2333132" y="9916"/>
                  <a:pt x="2334916" y="14393"/>
                  <a:pt x="2335025" y="19889"/>
                </a:cubicBezTo>
                <a:cubicBezTo>
                  <a:pt x="2334916" y="25385"/>
                  <a:pt x="2333132" y="29862"/>
                  <a:pt x="2329673" y="33320"/>
                </a:cubicBezTo>
                <a:cubicBezTo>
                  <a:pt x="2326215" y="36779"/>
                  <a:pt x="2321738" y="38563"/>
                  <a:pt x="2316242" y="38672"/>
                </a:cubicBezTo>
                <a:cubicBezTo>
                  <a:pt x="2310614" y="38563"/>
                  <a:pt x="2306056" y="36779"/>
                  <a:pt x="2302569" y="33320"/>
                </a:cubicBezTo>
                <a:cubicBezTo>
                  <a:pt x="2299082" y="29862"/>
                  <a:pt x="2297286" y="25385"/>
                  <a:pt x="2297183" y="19889"/>
                </a:cubicBezTo>
                <a:cubicBezTo>
                  <a:pt x="2297286" y="14393"/>
                  <a:pt x="2299082" y="9916"/>
                  <a:pt x="2302569" y="6458"/>
                </a:cubicBezTo>
                <a:cubicBezTo>
                  <a:pt x="2306056" y="2999"/>
                  <a:pt x="2310614" y="1215"/>
                  <a:pt x="2316242" y="1106"/>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8"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4"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79"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1"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2"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8" y="112977"/>
                </a:cubicBezTo>
                <a:lnTo>
                  <a:pt x="45301" y="106900"/>
                </a:lnTo>
                <a:cubicBezTo>
                  <a:pt x="32123" y="101473"/>
                  <a:pt x="21603" y="94510"/>
                  <a:pt x="13742" y="86010"/>
                </a:cubicBezTo>
                <a:cubicBezTo>
                  <a:pt x="5881" y="77511"/>
                  <a:pt x="1853" y="66059"/>
                  <a:pt x="1657" y="51655"/>
                </a:cubicBezTo>
                <a:cubicBezTo>
                  <a:pt x="1634" y="35726"/>
                  <a:pt x="7136" y="23181"/>
                  <a:pt x="18162" y="14019"/>
                </a:cubicBezTo>
                <a:cubicBezTo>
                  <a:pt x="29188" y="4858"/>
                  <a:pt x="45877" y="185"/>
                  <a:pt x="68228" y="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5"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7297514" y="5858102"/>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upo 19">
            <a:extLst>
              <a:ext uri="{FF2B5EF4-FFF2-40B4-BE49-F238E27FC236}">
                <a16:creationId xmlns:a16="http://schemas.microsoft.com/office/drawing/2014/main" id="{246620ED-93B0-4966-8E36-4B883B49E634}"/>
              </a:ext>
            </a:extLst>
          </p:cNvPr>
          <p:cNvGrpSpPr/>
          <p:nvPr userDrawn="1"/>
        </p:nvGrpSpPr>
        <p:grpSpPr>
          <a:xfrm>
            <a:off x="9184030" y="5858534"/>
            <a:ext cx="578707" cy="455017"/>
            <a:chOff x="2203451" y="-4230356"/>
            <a:chExt cx="6896100" cy="5422158"/>
          </a:xfrm>
        </p:grpSpPr>
        <p:pic>
          <p:nvPicPr>
            <p:cNvPr id="7"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8"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5" cstate="screen">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9" name="CuadroTexto 22">
            <a:extLst>
              <a:ext uri="{FF2B5EF4-FFF2-40B4-BE49-F238E27FC236}">
                <a16:creationId xmlns:a16="http://schemas.microsoft.com/office/drawing/2014/main" id="{B163354C-97AE-4FC8-BF01-B7FCA9B2C7C0}"/>
              </a:ext>
            </a:extLst>
          </p:cNvPr>
          <p:cNvSpPr txBox="1"/>
          <p:nvPr userDrawn="1"/>
        </p:nvSpPr>
        <p:spPr>
          <a:xfrm>
            <a:off x="7160628" y="657789"/>
            <a:ext cx="3365478" cy="1167948"/>
          </a:xfrm>
          <a:prstGeom prst="rect">
            <a:avLst/>
          </a:prstGeom>
          <a:noFill/>
        </p:spPr>
        <p:txBody>
          <a:bodyPr wrap="square" rtlCol="0">
            <a:spAutoFit/>
          </a:bodyPr>
          <a:lstStyle/>
          <a:p>
            <a:pPr marL="0" marR="0" lvl="0" indent="0" algn="l" defTabSz="913600" rtl="0" eaLnBrk="1" fontAlgn="auto" latinLnBrk="0" hangingPunct="1">
              <a:lnSpc>
                <a:spcPct val="100000"/>
              </a:lnSpc>
              <a:spcBef>
                <a:spcPts val="0"/>
              </a:spcBef>
              <a:spcAft>
                <a:spcPts val="0"/>
              </a:spcAft>
              <a:buClrTx/>
              <a:buSzTx/>
              <a:buFontTx/>
              <a:buNone/>
              <a:tabLst/>
              <a:defRPr/>
            </a:pPr>
            <a:r>
              <a:rPr kumimoji="0" lang="en-U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Our purpose is to help people </a:t>
            </a:r>
            <a:br>
              <a:rPr kumimoji="0" lang="en-U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br>
            <a:r>
              <a:rPr kumimoji="0" lang="en-U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and businesses prosper.</a:t>
            </a:r>
          </a:p>
          <a:p>
            <a:pPr marL="0" marR="0" lvl="0" indent="0" algn="l" defTabSz="913600" rtl="0" eaLnBrk="1" fontAlgn="auto" latinLnBrk="0" hangingPunct="1">
              <a:lnSpc>
                <a:spcPct val="100000"/>
              </a:lnSpc>
              <a:spcBef>
                <a:spcPts val="0"/>
              </a:spcBef>
              <a:spcAft>
                <a:spcPts val="0"/>
              </a:spcAft>
              <a:buClrTx/>
              <a:buSzTx/>
              <a:buFontTx/>
              <a:buNone/>
              <a:tabLst/>
              <a:defRPr/>
            </a:pPr>
            <a:endParaRPr kumimoji="0" lang="en-U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endParaRPr>
          </a:p>
          <a:p>
            <a:pPr marL="0" marR="0" lvl="0" indent="0" algn="l" defTabSz="913600" rtl="0" eaLnBrk="1" fontAlgn="auto" latinLnBrk="0" hangingPunct="1">
              <a:lnSpc>
                <a:spcPct val="100000"/>
              </a:lnSpc>
              <a:spcBef>
                <a:spcPts val="0"/>
              </a:spcBef>
              <a:spcAft>
                <a:spcPts val="0"/>
              </a:spcAft>
              <a:buClrTx/>
              <a:buSzTx/>
              <a:buFontTx/>
              <a:buNone/>
              <a:tabLst/>
              <a:defRPr/>
            </a:pPr>
            <a:r>
              <a:rPr kumimoji="0" lang="en-U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Our culture is based on believing </a:t>
            </a:r>
            <a:br>
              <a:rPr kumimoji="0" lang="en-U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br>
            <a:r>
              <a:rPr kumimoji="0" lang="en-U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that everything we do should be:</a:t>
            </a:r>
          </a:p>
        </p:txBody>
      </p:sp>
      <p:sp>
        <p:nvSpPr>
          <p:cNvPr id="13" name="Espaço Reservado para Texto 12"/>
          <p:cNvSpPr>
            <a:spLocks noGrp="1"/>
          </p:cNvSpPr>
          <p:nvPr>
            <p:ph type="body" sz="quarter" idx="10" hasCustomPrompt="1"/>
          </p:nvPr>
        </p:nvSpPr>
        <p:spPr>
          <a:xfrm>
            <a:off x="7218684" y="3799800"/>
            <a:ext cx="4430713" cy="1495794"/>
          </a:xfrm>
          <a:prstGeom prst="rect">
            <a:avLst/>
          </a:prstGeom>
        </p:spPr>
        <p:txBody>
          <a:bodyPr wrap="square" lIns="0" rIns="0">
            <a:spAutoFit/>
          </a:bodyPr>
          <a:lstStyle>
            <a:lvl1pPr marL="0" indent="0">
              <a:buFontTx/>
              <a:buNone/>
              <a:defRPr lang="pt-BR" sz="5400" b="1" spc="-96" baseline="0" smtClean="0">
                <a:solidFill>
                  <a:schemeClr val="accent1"/>
                </a:solidFill>
                <a:latin typeface="Santander Headline" panose="020B0504020201020104" pitchFamily="34" charset="0"/>
                <a:ea typeface="+mj-ea"/>
                <a:cs typeface="Segoe UI Semibold" panose="020B0702040204020203" pitchFamily="34" charset="0"/>
              </a:defRPr>
            </a:lvl1pPr>
            <a:lvl2pPr>
              <a:defRPr lang="pt-BR" smtClean="0"/>
            </a:lvl2pPr>
            <a:lvl3pPr>
              <a:defRPr lang="pt-BR" smtClean="0"/>
            </a:lvl3pPr>
            <a:lvl4pPr>
              <a:defRPr lang="pt-BR" smtClean="0"/>
            </a:lvl4pPr>
            <a:lvl5pPr>
              <a:defRPr lang="en-US"/>
            </a:lvl5pPr>
          </a:lstStyle>
          <a:p>
            <a:pPr lvl="0" algn="l"/>
            <a:r>
              <a:rPr lang="pt-BR"/>
              <a:t>Editar estilos </a:t>
            </a:r>
            <a:br>
              <a:rPr lang="pt-BR"/>
            </a:br>
            <a:r>
              <a:rPr lang="pt-BR"/>
              <a:t>de texto mestre</a:t>
            </a:r>
          </a:p>
        </p:txBody>
      </p:sp>
    </p:spTree>
    <p:extLst>
      <p:ext uri="{BB962C8B-B14F-4D97-AF65-F5344CB8AC3E}">
        <p14:creationId xmlns:p14="http://schemas.microsoft.com/office/powerpoint/2010/main" val="24457897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5_Obrigado">
    <p:spTree>
      <p:nvGrpSpPr>
        <p:cNvPr id="1" name=""/>
        <p:cNvGrpSpPr/>
        <p:nvPr/>
      </p:nvGrpSpPr>
      <p:grpSpPr>
        <a:xfrm>
          <a:off x="0" y="0"/>
          <a:ext cx="0" cy="0"/>
          <a:chOff x="0" y="0"/>
          <a:chExt cx="0" cy="0"/>
        </a:xfrm>
      </p:grpSpPr>
      <p:pic>
        <p:nvPicPr>
          <p:cNvPr id="11" name="Imagem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 y="5117"/>
            <a:ext cx="12190560" cy="6856620"/>
          </a:xfrm>
          <a:prstGeom prst="rect">
            <a:avLst/>
          </a:prstGeom>
        </p:spPr>
      </p:pic>
      <p:pic>
        <p:nvPicPr>
          <p:cNvPr id="5"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7297514" y="5858102"/>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upo 19">
            <a:extLst>
              <a:ext uri="{FF2B5EF4-FFF2-40B4-BE49-F238E27FC236}">
                <a16:creationId xmlns:a16="http://schemas.microsoft.com/office/drawing/2014/main" id="{246620ED-93B0-4966-8E36-4B883B49E634}"/>
              </a:ext>
            </a:extLst>
          </p:cNvPr>
          <p:cNvGrpSpPr/>
          <p:nvPr userDrawn="1"/>
        </p:nvGrpSpPr>
        <p:grpSpPr>
          <a:xfrm>
            <a:off x="9184030" y="5858534"/>
            <a:ext cx="578707" cy="455017"/>
            <a:chOff x="2203451" y="-4230356"/>
            <a:chExt cx="6896100" cy="5422158"/>
          </a:xfrm>
        </p:grpSpPr>
        <p:pic>
          <p:nvPicPr>
            <p:cNvPr id="7"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8"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5" cstate="screen">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9" name="CuadroTexto 22">
            <a:extLst>
              <a:ext uri="{FF2B5EF4-FFF2-40B4-BE49-F238E27FC236}">
                <a16:creationId xmlns:a16="http://schemas.microsoft.com/office/drawing/2014/main" id="{B163354C-97AE-4FC8-BF01-B7FCA9B2C7C0}"/>
              </a:ext>
            </a:extLst>
          </p:cNvPr>
          <p:cNvSpPr txBox="1"/>
          <p:nvPr userDrawn="1"/>
        </p:nvSpPr>
        <p:spPr>
          <a:xfrm>
            <a:off x="7160628" y="657789"/>
            <a:ext cx="3365478" cy="1167948"/>
          </a:xfrm>
          <a:prstGeom prst="rect">
            <a:avLst/>
          </a:prstGeom>
          <a:noFill/>
        </p:spPr>
        <p:txBody>
          <a:bodyPr wrap="square" rtlCol="0">
            <a:spAutoFit/>
          </a:bodyPr>
          <a:lstStyle/>
          <a:p>
            <a:pPr marL="0" marR="0" lvl="0" indent="0" algn="l" defTabSz="913600" rtl="0" eaLnBrk="1" fontAlgn="auto" latinLnBrk="0" hangingPunct="1">
              <a:lnSpc>
                <a:spcPct val="100000"/>
              </a:lnSpc>
              <a:spcBef>
                <a:spcPts val="0"/>
              </a:spcBef>
              <a:spcAft>
                <a:spcPts val="0"/>
              </a:spcAft>
              <a:buClrTx/>
              <a:buSzTx/>
              <a:buFontTx/>
              <a:buNone/>
              <a:tabLst/>
              <a:defRPr/>
            </a:pPr>
            <a:r>
              <a:rPr kumimoji="0" lang="pt-BR"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Nosso propósito é contribuir para que as pessoas e as empresas prosperem.</a:t>
            </a:r>
          </a:p>
          <a:p>
            <a:pPr marL="0" marR="0" lvl="0" indent="0" algn="l" defTabSz="913600" rtl="0" eaLnBrk="1" fontAlgn="auto" latinLnBrk="0" hangingPunct="1">
              <a:lnSpc>
                <a:spcPct val="100000"/>
              </a:lnSpc>
              <a:spcBef>
                <a:spcPts val="0"/>
              </a:spcBef>
              <a:spcAft>
                <a:spcPts val="0"/>
              </a:spcAft>
              <a:buClrTx/>
              <a:buSzTx/>
              <a:buFontTx/>
              <a:buNone/>
              <a:tabLst/>
              <a:defRPr/>
            </a:pPr>
            <a:endParaRPr kumimoji="0" lang="pt-BR"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endParaRPr>
          </a:p>
          <a:p>
            <a:pPr marL="0" marR="0" lvl="0" indent="0" algn="l" defTabSz="913600" rtl="0" eaLnBrk="1" fontAlgn="auto" latinLnBrk="0" hangingPunct="1">
              <a:lnSpc>
                <a:spcPct val="100000"/>
              </a:lnSpc>
              <a:spcBef>
                <a:spcPts val="0"/>
              </a:spcBef>
              <a:spcAft>
                <a:spcPts val="0"/>
              </a:spcAft>
              <a:buClrTx/>
              <a:buSzTx/>
              <a:buFontTx/>
              <a:buNone/>
              <a:tabLst/>
              <a:defRPr/>
            </a:pPr>
            <a:r>
              <a:rPr kumimoji="0" lang="pt-BR"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Nossa cultura se baseia na crença de que tudo que fazemos deve ser </a:t>
            </a:r>
          </a:p>
        </p:txBody>
      </p:sp>
      <p:sp>
        <p:nvSpPr>
          <p:cNvPr id="13" name="Espaço Reservado para Texto 12"/>
          <p:cNvSpPr>
            <a:spLocks noGrp="1"/>
          </p:cNvSpPr>
          <p:nvPr>
            <p:ph type="body" sz="quarter" idx="10" hasCustomPrompt="1"/>
          </p:nvPr>
        </p:nvSpPr>
        <p:spPr>
          <a:xfrm>
            <a:off x="7218684" y="3799800"/>
            <a:ext cx="4430713" cy="1495794"/>
          </a:xfrm>
          <a:prstGeom prst="rect">
            <a:avLst/>
          </a:prstGeom>
        </p:spPr>
        <p:txBody>
          <a:bodyPr wrap="square" lIns="0" rIns="0">
            <a:spAutoFit/>
          </a:bodyPr>
          <a:lstStyle>
            <a:lvl1pPr marL="0" indent="0">
              <a:buFontTx/>
              <a:buNone/>
              <a:defRPr lang="pt-BR" sz="5400" b="1" spc="-96" baseline="0" smtClean="0">
                <a:solidFill>
                  <a:schemeClr val="accent1"/>
                </a:solidFill>
                <a:latin typeface="Santander Headline" panose="020B0504020201020104" pitchFamily="34" charset="0"/>
                <a:ea typeface="+mj-ea"/>
                <a:cs typeface="Segoe UI Semibold" panose="020B0702040204020203" pitchFamily="34" charset="0"/>
              </a:defRPr>
            </a:lvl1pPr>
            <a:lvl2pPr>
              <a:defRPr lang="pt-BR" smtClean="0"/>
            </a:lvl2pPr>
            <a:lvl3pPr>
              <a:defRPr lang="pt-BR" smtClean="0"/>
            </a:lvl3pPr>
            <a:lvl4pPr>
              <a:defRPr lang="pt-BR" smtClean="0"/>
            </a:lvl4pPr>
            <a:lvl5pPr>
              <a:defRPr lang="en-US"/>
            </a:lvl5pPr>
          </a:lstStyle>
          <a:p>
            <a:pPr lvl="0" algn="l"/>
            <a:r>
              <a:rPr lang="pt-BR"/>
              <a:t>Editar estilos </a:t>
            </a:r>
            <a:br>
              <a:rPr lang="pt-BR"/>
            </a:br>
            <a:r>
              <a:rPr lang="pt-BR"/>
              <a:t>de texto mestre</a:t>
            </a:r>
          </a:p>
        </p:txBody>
      </p:sp>
      <p:sp>
        <p:nvSpPr>
          <p:cNvPr id="12" name="CaixaDeTexto 11">
            <a:extLst>
              <a:ext uri="{FF2B5EF4-FFF2-40B4-BE49-F238E27FC236}">
                <a16:creationId xmlns:a16="http://schemas.microsoft.com/office/drawing/2014/main" id="{0CB90E92-3DEA-4B96-9108-EFBD552F2B47}"/>
              </a:ext>
            </a:extLst>
          </p:cNvPr>
          <p:cNvSpPr txBox="1"/>
          <p:nvPr userDrawn="1"/>
        </p:nvSpPr>
        <p:spPr>
          <a:xfrm>
            <a:off x="7262226" y="2188307"/>
            <a:ext cx="2598049" cy="248603"/>
          </a:xfrm>
          <a:custGeom>
            <a:avLst/>
            <a:gdLst/>
            <a:ahLst/>
            <a:cxnLst/>
            <a:rect l="l" t="t" r="r" b="b"/>
            <a:pathLst>
              <a:path w="2598049" h="248603">
                <a:moveTo>
                  <a:pt x="2526783" y="75686"/>
                </a:moveTo>
                <a:cubicBezTo>
                  <a:pt x="2512741" y="75859"/>
                  <a:pt x="2502360" y="80210"/>
                  <a:pt x="2495638" y="88738"/>
                </a:cubicBezTo>
                <a:cubicBezTo>
                  <a:pt x="2488917" y="97267"/>
                  <a:pt x="2485579" y="108937"/>
                  <a:pt x="2485625" y="123750"/>
                </a:cubicBezTo>
                <a:cubicBezTo>
                  <a:pt x="2485735" y="140663"/>
                  <a:pt x="2489383" y="153104"/>
                  <a:pt x="2496571" y="161075"/>
                </a:cubicBezTo>
                <a:cubicBezTo>
                  <a:pt x="2503758" y="169045"/>
                  <a:pt x="2513829" y="172993"/>
                  <a:pt x="2526783" y="172918"/>
                </a:cubicBezTo>
                <a:cubicBezTo>
                  <a:pt x="2540306" y="172762"/>
                  <a:pt x="2550411" y="168446"/>
                  <a:pt x="2557098" y="159970"/>
                </a:cubicBezTo>
                <a:cubicBezTo>
                  <a:pt x="2563785" y="151493"/>
                  <a:pt x="2567123" y="139788"/>
                  <a:pt x="2567112" y="124855"/>
                </a:cubicBezTo>
                <a:cubicBezTo>
                  <a:pt x="2566985" y="108062"/>
                  <a:pt x="2563371" y="95655"/>
                  <a:pt x="2556270" y="87633"/>
                </a:cubicBezTo>
                <a:cubicBezTo>
                  <a:pt x="2549168" y="79611"/>
                  <a:pt x="2539339" y="75629"/>
                  <a:pt x="2526783"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621908" y="75686"/>
                </a:moveTo>
                <a:cubicBezTo>
                  <a:pt x="1607866" y="75859"/>
                  <a:pt x="1597485" y="80210"/>
                  <a:pt x="1590763" y="88738"/>
                </a:cubicBezTo>
                <a:cubicBezTo>
                  <a:pt x="1584042" y="97267"/>
                  <a:pt x="1580704" y="108937"/>
                  <a:pt x="1580750" y="123750"/>
                </a:cubicBezTo>
                <a:cubicBezTo>
                  <a:pt x="1580859" y="140663"/>
                  <a:pt x="1584508" y="153104"/>
                  <a:pt x="1591696" y="161075"/>
                </a:cubicBezTo>
                <a:cubicBezTo>
                  <a:pt x="1598883" y="169045"/>
                  <a:pt x="1608954" y="172993"/>
                  <a:pt x="1621908" y="172918"/>
                </a:cubicBezTo>
                <a:cubicBezTo>
                  <a:pt x="1635431" y="172762"/>
                  <a:pt x="1645536" y="168446"/>
                  <a:pt x="1652223" y="159970"/>
                </a:cubicBezTo>
                <a:cubicBezTo>
                  <a:pt x="1658910" y="151493"/>
                  <a:pt x="1662248" y="139788"/>
                  <a:pt x="1662236" y="124855"/>
                </a:cubicBezTo>
                <a:cubicBezTo>
                  <a:pt x="1662110" y="108062"/>
                  <a:pt x="1658496" y="95655"/>
                  <a:pt x="1651395" y="87633"/>
                </a:cubicBezTo>
                <a:cubicBezTo>
                  <a:pt x="1644293" y="79611"/>
                  <a:pt x="1634464" y="75629"/>
                  <a:pt x="16219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0" y="140225"/>
                  <a:pt x="570862" y="124302"/>
                </a:cubicBezTo>
                <a:cubicBezTo>
                  <a:pt x="571012" y="109346"/>
                  <a:pt x="567329" y="97549"/>
                  <a:pt x="559813" y="88911"/>
                </a:cubicBezTo>
                <a:cubicBezTo>
                  <a:pt x="552297" y="80273"/>
                  <a:pt x="540051" y="75865"/>
                  <a:pt x="523075" y="75686"/>
                </a:cubicBezTo>
                <a:close/>
                <a:moveTo>
                  <a:pt x="1225029" y="75134"/>
                </a:moveTo>
                <a:cubicBezTo>
                  <a:pt x="1214285" y="75163"/>
                  <a:pt x="1206010" y="78213"/>
                  <a:pt x="1200204" y="84284"/>
                </a:cubicBezTo>
                <a:cubicBezTo>
                  <a:pt x="1194397" y="90355"/>
                  <a:pt x="1190887" y="99275"/>
                  <a:pt x="1189673" y="111043"/>
                </a:cubicBezTo>
                <a:lnTo>
                  <a:pt x="1258176" y="111043"/>
                </a:lnTo>
                <a:cubicBezTo>
                  <a:pt x="1258107" y="99637"/>
                  <a:pt x="1255207" y="90821"/>
                  <a:pt x="1249475" y="84595"/>
                </a:cubicBezTo>
                <a:cubicBezTo>
                  <a:pt x="1243744" y="78368"/>
                  <a:pt x="1235595" y="75215"/>
                  <a:pt x="1225029"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090119" y="53036"/>
                </a:moveTo>
                <a:lnTo>
                  <a:pt x="2120503" y="53036"/>
                </a:lnTo>
                <a:lnTo>
                  <a:pt x="2120503" y="138942"/>
                </a:lnTo>
                <a:cubicBezTo>
                  <a:pt x="2120354" y="150630"/>
                  <a:pt x="2122656" y="159227"/>
                  <a:pt x="2127409" y="164735"/>
                </a:cubicBezTo>
                <a:cubicBezTo>
                  <a:pt x="2132162" y="170242"/>
                  <a:pt x="2140265" y="172969"/>
                  <a:pt x="2151717" y="172918"/>
                </a:cubicBezTo>
                <a:cubicBezTo>
                  <a:pt x="2157281" y="172923"/>
                  <a:pt x="2162656" y="172014"/>
                  <a:pt x="2167841" y="170190"/>
                </a:cubicBezTo>
                <a:cubicBezTo>
                  <a:pt x="2173026" y="168366"/>
                  <a:pt x="2177780" y="165592"/>
                  <a:pt x="2182101" y="161869"/>
                </a:cubicBezTo>
                <a:lnTo>
                  <a:pt x="2182101" y="53036"/>
                </a:lnTo>
                <a:lnTo>
                  <a:pt x="2212486" y="53036"/>
                </a:lnTo>
                <a:lnTo>
                  <a:pt x="2212486" y="195568"/>
                </a:lnTo>
                <a:lnTo>
                  <a:pt x="2184311" y="195568"/>
                </a:lnTo>
                <a:lnTo>
                  <a:pt x="2182654" y="177614"/>
                </a:lnTo>
                <a:cubicBezTo>
                  <a:pt x="2177993" y="183938"/>
                  <a:pt x="2172261" y="189037"/>
                  <a:pt x="2165459" y="192909"/>
                </a:cubicBezTo>
                <a:cubicBezTo>
                  <a:pt x="2158657" y="196782"/>
                  <a:pt x="2150577" y="198773"/>
                  <a:pt x="2141220" y="198883"/>
                </a:cubicBezTo>
                <a:cubicBezTo>
                  <a:pt x="2124468" y="198883"/>
                  <a:pt x="2111773" y="194463"/>
                  <a:pt x="2103136" y="185624"/>
                </a:cubicBezTo>
                <a:cubicBezTo>
                  <a:pt x="2094498" y="176785"/>
                  <a:pt x="2090159" y="163526"/>
                  <a:pt x="2090119" y="145848"/>
                </a:cubicBezTo>
                <a:close/>
                <a:moveTo>
                  <a:pt x="157925" y="53036"/>
                </a:moveTo>
                <a:lnTo>
                  <a:pt x="188309" y="53036"/>
                </a:lnTo>
                <a:lnTo>
                  <a:pt x="188309" y="195568"/>
                </a:lnTo>
                <a:lnTo>
                  <a:pt x="157925" y="195568"/>
                </a:lnTo>
                <a:close/>
                <a:moveTo>
                  <a:pt x="2527611" y="49721"/>
                </a:moveTo>
                <a:cubicBezTo>
                  <a:pt x="2543090" y="49861"/>
                  <a:pt x="2556052" y="53111"/>
                  <a:pt x="2566498" y="59471"/>
                </a:cubicBezTo>
                <a:cubicBezTo>
                  <a:pt x="2576943" y="65831"/>
                  <a:pt x="2584810" y="74462"/>
                  <a:pt x="2590099" y="85365"/>
                </a:cubicBezTo>
                <a:cubicBezTo>
                  <a:pt x="2595389" y="96267"/>
                  <a:pt x="2598038" y="108602"/>
                  <a:pt x="2598049" y="122369"/>
                </a:cubicBezTo>
                <a:cubicBezTo>
                  <a:pt x="2597830" y="146705"/>
                  <a:pt x="2591293" y="165500"/>
                  <a:pt x="2578437" y="178753"/>
                </a:cubicBezTo>
                <a:cubicBezTo>
                  <a:pt x="2565581" y="192006"/>
                  <a:pt x="2547718" y="198716"/>
                  <a:pt x="2524849" y="198883"/>
                </a:cubicBezTo>
                <a:cubicBezTo>
                  <a:pt x="2509635" y="198743"/>
                  <a:pt x="2496819" y="195493"/>
                  <a:pt x="2486403" y="189133"/>
                </a:cubicBezTo>
                <a:cubicBezTo>
                  <a:pt x="2475986" y="182773"/>
                  <a:pt x="2468102" y="174142"/>
                  <a:pt x="2462750" y="163240"/>
                </a:cubicBezTo>
                <a:cubicBezTo>
                  <a:pt x="2457397" y="152337"/>
                  <a:pt x="2454710" y="140003"/>
                  <a:pt x="2454688" y="126236"/>
                </a:cubicBezTo>
                <a:cubicBezTo>
                  <a:pt x="2454929" y="101899"/>
                  <a:pt x="2461490" y="83104"/>
                  <a:pt x="2474369" y="69851"/>
                </a:cubicBezTo>
                <a:cubicBezTo>
                  <a:pt x="2487248" y="56598"/>
                  <a:pt x="2504995" y="49888"/>
                  <a:pt x="2527611" y="49721"/>
                </a:cubicBezTo>
                <a:close/>
                <a:moveTo>
                  <a:pt x="2291686" y="49721"/>
                </a:moveTo>
                <a:cubicBezTo>
                  <a:pt x="2300376" y="49704"/>
                  <a:pt x="2308479" y="50222"/>
                  <a:pt x="2315994" y="51275"/>
                </a:cubicBezTo>
                <a:cubicBezTo>
                  <a:pt x="2323510" y="52328"/>
                  <a:pt x="2330508" y="54020"/>
                  <a:pt x="2336988" y="56351"/>
                </a:cubicBezTo>
                <a:cubicBezTo>
                  <a:pt x="2336734" y="60316"/>
                  <a:pt x="2336274" y="64263"/>
                  <a:pt x="2335606" y="68194"/>
                </a:cubicBezTo>
                <a:cubicBezTo>
                  <a:pt x="2334939" y="72124"/>
                  <a:pt x="2333926" y="76279"/>
                  <a:pt x="2332568" y="80659"/>
                </a:cubicBezTo>
                <a:cubicBezTo>
                  <a:pt x="2326117" y="78604"/>
                  <a:pt x="2319614" y="77119"/>
                  <a:pt x="2313059" y="76204"/>
                </a:cubicBezTo>
                <a:cubicBezTo>
                  <a:pt x="2306505" y="75289"/>
                  <a:pt x="2299657" y="74841"/>
                  <a:pt x="2292515" y="74858"/>
                </a:cubicBezTo>
                <a:cubicBezTo>
                  <a:pt x="2283043" y="74933"/>
                  <a:pt x="2276575" y="76302"/>
                  <a:pt x="2273110" y="78967"/>
                </a:cubicBezTo>
                <a:cubicBezTo>
                  <a:pt x="2269646" y="81631"/>
                  <a:pt x="2268012" y="85141"/>
                  <a:pt x="2268207" y="89498"/>
                </a:cubicBezTo>
                <a:cubicBezTo>
                  <a:pt x="2268190" y="94504"/>
                  <a:pt x="2269951" y="98510"/>
                  <a:pt x="2273490" y="101514"/>
                </a:cubicBezTo>
                <a:cubicBezTo>
                  <a:pt x="2277029" y="104517"/>
                  <a:pt x="2282450" y="107142"/>
                  <a:pt x="2289753" y="109386"/>
                </a:cubicBezTo>
                <a:lnTo>
                  <a:pt x="2304393" y="114082"/>
                </a:lnTo>
                <a:cubicBezTo>
                  <a:pt x="2317439" y="118104"/>
                  <a:pt x="2326980" y="123456"/>
                  <a:pt x="2333017" y="130137"/>
                </a:cubicBezTo>
                <a:cubicBezTo>
                  <a:pt x="2339053" y="136819"/>
                  <a:pt x="2342034" y="145554"/>
                  <a:pt x="2341960" y="156344"/>
                </a:cubicBezTo>
                <a:cubicBezTo>
                  <a:pt x="2341890" y="169114"/>
                  <a:pt x="2337056" y="179346"/>
                  <a:pt x="2327458" y="187040"/>
                </a:cubicBezTo>
                <a:cubicBezTo>
                  <a:pt x="2317859" y="194734"/>
                  <a:pt x="2303909" y="198681"/>
                  <a:pt x="2285610" y="198883"/>
                </a:cubicBezTo>
                <a:cubicBezTo>
                  <a:pt x="2275453" y="198906"/>
                  <a:pt x="2266418" y="198169"/>
                  <a:pt x="2258505" y="196673"/>
                </a:cubicBezTo>
                <a:cubicBezTo>
                  <a:pt x="2250592" y="195177"/>
                  <a:pt x="2243422" y="192783"/>
                  <a:pt x="2236994" y="189491"/>
                </a:cubicBezTo>
                <a:cubicBezTo>
                  <a:pt x="2237270" y="183863"/>
                  <a:pt x="2237754" y="178960"/>
                  <a:pt x="2238444" y="174782"/>
                </a:cubicBezTo>
                <a:cubicBezTo>
                  <a:pt x="2239135" y="170604"/>
                  <a:pt x="2240033" y="166944"/>
                  <a:pt x="2241137" y="163802"/>
                </a:cubicBezTo>
                <a:cubicBezTo>
                  <a:pt x="2247686" y="166985"/>
                  <a:pt x="2254891" y="169390"/>
                  <a:pt x="2262752" y="171019"/>
                </a:cubicBezTo>
                <a:cubicBezTo>
                  <a:pt x="2270613" y="172647"/>
                  <a:pt x="2277956" y="173464"/>
                  <a:pt x="2284781" y="173470"/>
                </a:cubicBezTo>
                <a:cubicBezTo>
                  <a:pt x="2293522" y="173516"/>
                  <a:pt x="2300209" y="172250"/>
                  <a:pt x="2304842" y="169672"/>
                </a:cubicBezTo>
                <a:cubicBezTo>
                  <a:pt x="2309474" y="167094"/>
                  <a:pt x="2311811" y="162928"/>
                  <a:pt x="2311851" y="157173"/>
                </a:cubicBezTo>
                <a:cubicBezTo>
                  <a:pt x="2311782" y="152189"/>
                  <a:pt x="2309848" y="148345"/>
                  <a:pt x="2306050" y="145640"/>
                </a:cubicBezTo>
                <a:cubicBezTo>
                  <a:pt x="2302252" y="142936"/>
                  <a:pt x="2297004" y="140611"/>
                  <a:pt x="2290305" y="138666"/>
                </a:cubicBezTo>
                <a:lnTo>
                  <a:pt x="2276218" y="134246"/>
                </a:lnTo>
                <a:cubicBezTo>
                  <a:pt x="2262458" y="129821"/>
                  <a:pt x="2252756" y="123963"/>
                  <a:pt x="2247111" y="116671"/>
                </a:cubicBezTo>
                <a:cubicBezTo>
                  <a:pt x="2241465" y="109380"/>
                  <a:pt x="2238738" y="100691"/>
                  <a:pt x="2238928" y="90603"/>
                </a:cubicBezTo>
                <a:cubicBezTo>
                  <a:pt x="2238951" y="77781"/>
                  <a:pt x="2243393" y="67791"/>
                  <a:pt x="2252255" y="60632"/>
                </a:cubicBezTo>
                <a:cubicBezTo>
                  <a:pt x="2261118" y="53473"/>
                  <a:pt x="2274261" y="49836"/>
                  <a:pt x="2291686" y="49721"/>
                </a:cubicBezTo>
                <a:close/>
                <a:moveTo>
                  <a:pt x="1789633" y="49721"/>
                </a:moveTo>
                <a:cubicBezTo>
                  <a:pt x="1799508" y="49698"/>
                  <a:pt x="1808693" y="50297"/>
                  <a:pt x="1817187" y="51517"/>
                </a:cubicBezTo>
                <a:cubicBezTo>
                  <a:pt x="1825681" y="52737"/>
                  <a:pt x="1833898"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736" y="49721"/>
                </a:moveTo>
                <a:cubicBezTo>
                  <a:pt x="1638215" y="49861"/>
                  <a:pt x="1651177" y="53111"/>
                  <a:pt x="1661623" y="59471"/>
                </a:cubicBezTo>
                <a:cubicBezTo>
                  <a:pt x="1672068" y="65831"/>
                  <a:pt x="1679935" y="74462"/>
                  <a:pt x="1685225" y="85365"/>
                </a:cubicBezTo>
                <a:cubicBezTo>
                  <a:pt x="1690514" y="96267"/>
                  <a:pt x="1693164" y="108602"/>
                  <a:pt x="1693174" y="122369"/>
                </a:cubicBezTo>
                <a:cubicBezTo>
                  <a:pt x="1692955" y="146705"/>
                  <a:pt x="1686418" y="165500"/>
                  <a:pt x="1673562" y="178753"/>
                </a:cubicBezTo>
                <a:cubicBezTo>
                  <a:pt x="1660706" y="192006"/>
                  <a:pt x="1642843" y="198716"/>
                  <a:pt x="1619974" y="198883"/>
                </a:cubicBezTo>
                <a:cubicBezTo>
                  <a:pt x="1604760" y="198743"/>
                  <a:pt x="1591944" y="195493"/>
                  <a:pt x="1581528" y="189133"/>
                </a:cubicBezTo>
                <a:cubicBezTo>
                  <a:pt x="1571111" y="182773"/>
                  <a:pt x="1563227" y="174142"/>
                  <a:pt x="1557875" y="163240"/>
                </a:cubicBezTo>
                <a:cubicBezTo>
                  <a:pt x="1552522" y="152337"/>
                  <a:pt x="1549835" y="140003"/>
                  <a:pt x="1549813" y="126236"/>
                </a:cubicBezTo>
                <a:cubicBezTo>
                  <a:pt x="1550055" y="101899"/>
                  <a:pt x="1556615" y="83104"/>
                  <a:pt x="1569494" y="69851"/>
                </a:cubicBezTo>
                <a:cubicBezTo>
                  <a:pt x="1582373" y="56598"/>
                  <a:pt x="1600120" y="49888"/>
                  <a:pt x="1622736" y="49721"/>
                </a:cubicBezTo>
                <a:close/>
                <a:moveTo>
                  <a:pt x="1482062" y="49721"/>
                </a:moveTo>
                <a:cubicBezTo>
                  <a:pt x="1490751" y="49704"/>
                  <a:pt x="1498854" y="50222"/>
                  <a:pt x="1506369" y="51275"/>
                </a:cubicBezTo>
                <a:cubicBezTo>
                  <a:pt x="1513885" y="52328"/>
                  <a:pt x="1520883" y="54020"/>
                  <a:pt x="1527363" y="56351"/>
                </a:cubicBezTo>
                <a:cubicBezTo>
                  <a:pt x="1527109" y="60316"/>
                  <a:pt x="1526649" y="64263"/>
                  <a:pt x="1525981" y="68194"/>
                </a:cubicBezTo>
                <a:cubicBezTo>
                  <a:pt x="1525314" y="72124"/>
                  <a:pt x="1524301" y="76279"/>
                  <a:pt x="1522943" y="80659"/>
                </a:cubicBezTo>
                <a:cubicBezTo>
                  <a:pt x="1516492" y="78604"/>
                  <a:pt x="1509989" y="77119"/>
                  <a:pt x="1503435" y="76204"/>
                </a:cubicBezTo>
                <a:cubicBezTo>
                  <a:pt x="1496880" y="75289"/>
                  <a:pt x="1490032" y="74841"/>
                  <a:pt x="1482890" y="74858"/>
                </a:cubicBezTo>
                <a:cubicBezTo>
                  <a:pt x="1473418" y="74933"/>
                  <a:pt x="1466950" y="76302"/>
                  <a:pt x="1463486" y="78967"/>
                </a:cubicBezTo>
                <a:cubicBezTo>
                  <a:pt x="1460021" y="81631"/>
                  <a:pt x="1458387" y="85141"/>
                  <a:pt x="1458582" y="89498"/>
                </a:cubicBezTo>
                <a:cubicBezTo>
                  <a:pt x="1458565" y="94504"/>
                  <a:pt x="1460326" y="98510"/>
                  <a:pt x="1463865" y="101514"/>
                </a:cubicBezTo>
                <a:cubicBezTo>
                  <a:pt x="1467404" y="104517"/>
                  <a:pt x="1472825" y="107142"/>
                  <a:pt x="1480128" y="109386"/>
                </a:cubicBezTo>
                <a:lnTo>
                  <a:pt x="1494768" y="114082"/>
                </a:lnTo>
                <a:cubicBezTo>
                  <a:pt x="1507814" y="118104"/>
                  <a:pt x="1517355" y="123456"/>
                  <a:pt x="1523392" y="130137"/>
                </a:cubicBezTo>
                <a:cubicBezTo>
                  <a:pt x="1529428" y="136819"/>
                  <a:pt x="1532409" y="145554"/>
                  <a:pt x="1532335" y="156344"/>
                </a:cubicBezTo>
                <a:cubicBezTo>
                  <a:pt x="1532265" y="169114"/>
                  <a:pt x="1527432" y="179346"/>
                  <a:pt x="1517833" y="187040"/>
                </a:cubicBezTo>
                <a:cubicBezTo>
                  <a:pt x="1508234" y="194734"/>
                  <a:pt x="1494285" y="198681"/>
                  <a:pt x="1475985" y="198883"/>
                </a:cubicBezTo>
                <a:cubicBezTo>
                  <a:pt x="1465828" y="198906"/>
                  <a:pt x="1456793" y="198169"/>
                  <a:pt x="1448880" y="196673"/>
                </a:cubicBezTo>
                <a:cubicBezTo>
                  <a:pt x="1440967" y="195177"/>
                  <a:pt x="1433797" y="192783"/>
                  <a:pt x="1427369" y="189491"/>
                </a:cubicBezTo>
                <a:cubicBezTo>
                  <a:pt x="1427645" y="183863"/>
                  <a:pt x="1428129" y="178960"/>
                  <a:pt x="1428819" y="174782"/>
                </a:cubicBezTo>
                <a:cubicBezTo>
                  <a:pt x="1429510" y="170604"/>
                  <a:pt x="1430408" y="166944"/>
                  <a:pt x="1431512" y="163802"/>
                </a:cubicBezTo>
                <a:cubicBezTo>
                  <a:pt x="1438061" y="166985"/>
                  <a:pt x="1445266" y="169390"/>
                  <a:pt x="1453127" y="171019"/>
                </a:cubicBezTo>
                <a:cubicBezTo>
                  <a:pt x="1460988" y="172647"/>
                  <a:pt x="1468331" y="173464"/>
                  <a:pt x="1475156" y="173470"/>
                </a:cubicBezTo>
                <a:cubicBezTo>
                  <a:pt x="1483897" y="173516"/>
                  <a:pt x="1490584" y="172250"/>
                  <a:pt x="1495217" y="169672"/>
                </a:cubicBezTo>
                <a:cubicBezTo>
                  <a:pt x="1499849" y="167094"/>
                  <a:pt x="1502186" y="162928"/>
                  <a:pt x="1502226" y="157173"/>
                </a:cubicBezTo>
                <a:cubicBezTo>
                  <a:pt x="1502157" y="152189"/>
                  <a:pt x="1500223" y="148345"/>
                  <a:pt x="1496425" y="145640"/>
                </a:cubicBezTo>
                <a:cubicBezTo>
                  <a:pt x="1492627" y="142936"/>
                  <a:pt x="1487379" y="140611"/>
                  <a:pt x="1480681" y="138666"/>
                </a:cubicBezTo>
                <a:lnTo>
                  <a:pt x="1466593" y="134246"/>
                </a:lnTo>
                <a:cubicBezTo>
                  <a:pt x="1452834" y="129821"/>
                  <a:pt x="1443131" y="123963"/>
                  <a:pt x="1437486" y="116671"/>
                </a:cubicBezTo>
                <a:cubicBezTo>
                  <a:pt x="1431840" y="109380"/>
                  <a:pt x="1429113" y="100691"/>
                  <a:pt x="1429303" y="90603"/>
                </a:cubicBezTo>
                <a:cubicBezTo>
                  <a:pt x="1429326" y="77781"/>
                  <a:pt x="1433768" y="67791"/>
                  <a:pt x="1442631" y="60632"/>
                </a:cubicBezTo>
                <a:cubicBezTo>
                  <a:pt x="1451493" y="53473"/>
                  <a:pt x="1464636" y="49836"/>
                  <a:pt x="1482062" y="49721"/>
                </a:cubicBezTo>
                <a:close/>
                <a:moveTo>
                  <a:pt x="1358237" y="49721"/>
                </a:moveTo>
                <a:cubicBezTo>
                  <a:pt x="1366926" y="49704"/>
                  <a:pt x="1375029" y="50222"/>
                  <a:pt x="1382544" y="51275"/>
                </a:cubicBezTo>
                <a:cubicBezTo>
                  <a:pt x="1390060" y="52328"/>
                  <a:pt x="1397058" y="54020"/>
                  <a:pt x="1403538" y="56351"/>
                </a:cubicBezTo>
                <a:cubicBezTo>
                  <a:pt x="1403284" y="60316"/>
                  <a:pt x="1402824" y="64263"/>
                  <a:pt x="1402156" y="68194"/>
                </a:cubicBezTo>
                <a:cubicBezTo>
                  <a:pt x="1401489" y="72124"/>
                  <a:pt x="1400476" y="76279"/>
                  <a:pt x="1399118" y="80659"/>
                </a:cubicBezTo>
                <a:cubicBezTo>
                  <a:pt x="1392667" y="78604"/>
                  <a:pt x="1386164" y="77119"/>
                  <a:pt x="1379610" y="76204"/>
                </a:cubicBezTo>
                <a:cubicBezTo>
                  <a:pt x="1373055" y="75289"/>
                  <a:pt x="1366207" y="74841"/>
                  <a:pt x="1359065" y="74858"/>
                </a:cubicBezTo>
                <a:cubicBezTo>
                  <a:pt x="1349593" y="74933"/>
                  <a:pt x="1343125" y="76302"/>
                  <a:pt x="1339661" y="78967"/>
                </a:cubicBezTo>
                <a:cubicBezTo>
                  <a:pt x="1336196" y="81631"/>
                  <a:pt x="1334562" y="85141"/>
                  <a:pt x="1334757" y="89498"/>
                </a:cubicBezTo>
                <a:cubicBezTo>
                  <a:pt x="1334740" y="94504"/>
                  <a:pt x="1336501" y="98510"/>
                  <a:pt x="1340040" y="101514"/>
                </a:cubicBezTo>
                <a:cubicBezTo>
                  <a:pt x="1343579" y="104517"/>
                  <a:pt x="1349000" y="107142"/>
                  <a:pt x="1356303" y="109386"/>
                </a:cubicBezTo>
                <a:lnTo>
                  <a:pt x="1370943" y="114082"/>
                </a:lnTo>
                <a:cubicBezTo>
                  <a:pt x="1383989" y="118104"/>
                  <a:pt x="1393530" y="123456"/>
                  <a:pt x="1399567" y="130137"/>
                </a:cubicBezTo>
                <a:cubicBezTo>
                  <a:pt x="1405603" y="136819"/>
                  <a:pt x="1408584" y="145554"/>
                  <a:pt x="1408510" y="156344"/>
                </a:cubicBezTo>
                <a:cubicBezTo>
                  <a:pt x="1408440" y="169114"/>
                  <a:pt x="1403607" y="179346"/>
                  <a:pt x="1394008" y="187040"/>
                </a:cubicBezTo>
                <a:cubicBezTo>
                  <a:pt x="1384409" y="194734"/>
                  <a:pt x="1370460" y="198681"/>
                  <a:pt x="1352160" y="198883"/>
                </a:cubicBezTo>
                <a:cubicBezTo>
                  <a:pt x="1342003" y="198906"/>
                  <a:pt x="1332968" y="198169"/>
                  <a:pt x="1325055" y="196673"/>
                </a:cubicBezTo>
                <a:cubicBezTo>
                  <a:pt x="1317142" y="195177"/>
                  <a:pt x="1309972" y="192783"/>
                  <a:pt x="1303544" y="189491"/>
                </a:cubicBezTo>
                <a:cubicBezTo>
                  <a:pt x="1303820" y="183863"/>
                  <a:pt x="1304304" y="178960"/>
                  <a:pt x="1304994" y="174782"/>
                </a:cubicBezTo>
                <a:cubicBezTo>
                  <a:pt x="1305685" y="170604"/>
                  <a:pt x="1306583" y="166944"/>
                  <a:pt x="1307687" y="163802"/>
                </a:cubicBezTo>
                <a:cubicBezTo>
                  <a:pt x="1314236" y="166985"/>
                  <a:pt x="1321441" y="169390"/>
                  <a:pt x="1329302" y="171019"/>
                </a:cubicBezTo>
                <a:cubicBezTo>
                  <a:pt x="1337163" y="172647"/>
                  <a:pt x="1344506" y="173464"/>
                  <a:pt x="1351331" y="173470"/>
                </a:cubicBezTo>
                <a:cubicBezTo>
                  <a:pt x="1360072" y="173516"/>
                  <a:pt x="1366759" y="172250"/>
                  <a:pt x="1371392" y="169672"/>
                </a:cubicBezTo>
                <a:cubicBezTo>
                  <a:pt x="1376024" y="167094"/>
                  <a:pt x="1378361" y="162928"/>
                  <a:pt x="1378401" y="157173"/>
                </a:cubicBezTo>
                <a:cubicBezTo>
                  <a:pt x="1378332" y="152189"/>
                  <a:pt x="1376398" y="148345"/>
                  <a:pt x="1372600" y="145640"/>
                </a:cubicBezTo>
                <a:cubicBezTo>
                  <a:pt x="1368802" y="142936"/>
                  <a:pt x="1363554" y="140611"/>
                  <a:pt x="1356856" y="138666"/>
                </a:cubicBezTo>
                <a:lnTo>
                  <a:pt x="1342768" y="134246"/>
                </a:lnTo>
                <a:cubicBezTo>
                  <a:pt x="1329009" y="129821"/>
                  <a:pt x="1319306" y="123963"/>
                  <a:pt x="1313661" y="116671"/>
                </a:cubicBezTo>
                <a:cubicBezTo>
                  <a:pt x="1308015" y="109380"/>
                  <a:pt x="1305288" y="100691"/>
                  <a:pt x="1305478" y="90603"/>
                </a:cubicBezTo>
                <a:cubicBezTo>
                  <a:pt x="1305501" y="77781"/>
                  <a:pt x="1309943" y="67791"/>
                  <a:pt x="1318806" y="60632"/>
                </a:cubicBezTo>
                <a:cubicBezTo>
                  <a:pt x="1327668" y="53473"/>
                  <a:pt x="1340811" y="49836"/>
                  <a:pt x="1358237" y="49721"/>
                </a:cubicBezTo>
                <a:close/>
                <a:moveTo>
                  <a:pt x="1226687" y="49721"/>
                </a:moveTo>
                <a:cubicBezTo>
                  <a:pt x="1248250" y="50182"/>
                  <a:pt x="1264029" y="56374"/>
                  <a:pt x="1274025" y="68297"/>
                </a:cubicBezTo>
                <a:cubicBezTo>
                  <a:pt x="1284021" y="80221"/>
                  <a:pt x="1288958" y="95114"/>
                  <a:pt x="1288837" y="112977"/>
                </a:cubicBezTo>
                <a:cubicBezTo>
                  <a:pt x="1288837" y="117201"/>
                  <a:pt x="1288699" y="121183"/>
                  <a:pt x="1288423" y="124924"/>
                </a:cubicBezTo>
                <a:cubicBezTo>
                  <a:pt x="1288147" y="128664"/>
                  <a:pt x="1287733" y="132508"/>
                  <a:pt x="1287180" y="136456"/>
                </a:cubicBezTo>
                <a:lnTo>
                  <a:pt x="1190225" y="136456"/>
                </a:lnTo>
                <a:cubicBezTo>
                  <a:pt x="1192113" y="148731"/>
                  <a:pt x="1196762" y="157881"/>
                  <a:pt x="1204174" y="163906"/>
                </a:cubicBezTo>
                <a:cubicBezTo>
                  <a:pt x="1211586" y="169931"/>
                  <a:pt x="1222037" y="172935"/>
                  <a:pt x="1235526" y="172918"/>
                </a:cubicBezTo>
                <a:cubicBezTo>
                  <a:pt x="1243853" y="172912"/>
                  <a:pt x="1252128" y="172026"/>
                  <a:pt x="1260352" y="170259"/>
                </a:cubicBezTo>
                <a:cubicBezTo>
                  <a:pt x="1268575" y="168492"/>
                  <a:pt x="1276505" y="165880"/>
                  <a:pt x="1284142" y="162421"/>
                </a:cubicBezTo>
                <a:cubicBezTo>
                  <a:pt x="1283583" y="166507"/>
                  <a:pt x="1282904" y="170973"/>
                  <a:pt x="1282104" y="175818"/>
                </a:cubicBezTo>
                <a:cubicBezTo>
                  <a:pt x="1281305" y="180663"/>
                  <a:pt x="1280418" y="185405"/>
                  <a:pt x="1279446" y="190044"/>
                </a:cubicBezTo>
                <a:cubicBezTo>
                  <a:pt x="1272557" y="193191"/>
                  <a:pt x="1265410" y="195459"/>
                  <a:pt x="1258004" y="196846"/>
                </a:cubicBezTo>
                <a:cubicBezTo>
                  <a:pt x="1250598" y="198233"/>
                  <a:pt x="1242829" y="198912"/>
                  <a:pt x="1234697" y="198883"/>
                </a:cubicBezTo>
                <a:cubicBezTo>
                  <a:pt x="1209319" y="198693"/>
                  <a:pt x="1190398" y="192029"/>
                  <a:pt x="1177933" y="178891"/>
                </a:cubicBezTo>
                <a:cubicBezTo>
                  <a:pt x="1165468" y="165753"/>
                  <a:pt x="1159253" y="147281"/>
                  <a:pt x="1159288" y="123473"/>
                </a:cubicBezTo>
                <a:cubicBezTo>
                  <a:pt x="1159225" y="109606"/>
                  <a:pt x="1161469" y="97135"/>
                  <a:pt x="1166020" y="86060"/>
                </a:cubicBezTo>
                <a:cubicBezTo>
                  <a:pt x="1170570" y="74986"/>
                  <a:pt x="1177807" y="66198"/>
                  <a:pt x="1187729" y="59696"/>
                </a:cubicBezTo>
                <a:cubicBezTo>
                  <a:pt x="1197651" y="53195"/>
                  <a:pt x="1210637" y="49870"/>
                  <a:pt x="1226687" y="49721"/>
                </a:cubicBezTo>
                <a:close/>
                <a:moveTo>
                  <a:pt x="881987" y="49721"/>
                </a:moveTo>
                <a:cubicBezTo>
                  <a:pt x="890676" y="49704"/>
                  <a:pt x="898779" y="50222"/>
                  <a:pt x="906294" y="51275"/>
                </a:cubicBezTo>
                <a:cubicBezTo>
                  <a:pt x="913810" y="52328"/>
                  <a:pt x="920808" y="54020"/>
                  <a:pt x="927287" y="56351"/>
                </a:cubicBezTo>
                <a:cubicBezTo>
                  <a:pt x="927034" y="60316"/>
                  <a:pt x="926574" y="64263"/>
                  <a:pt x="925906" y="68194"/>
                </a:cubicBezTo>
                <a:cubicBezTo>
                  <a:pt x="925239" y="72124"/>
                  <a:pt x="924226" y="76279"/>
                  <a:pt x="922868" y="80659"/>
                </a:cubicBezTo>
                <a:cubicBezTo>
                  <a:pt x="916417" y="78604"/>
                  <a:pt x="909914" y="77119"/>
                  <a:pt x="903359" y="76204"/>
                </a:cubicBezTo>
                <a:cubicBezTo>
                  <a:pt x="896805" y="75289"/>
                  <a:pt x="889957" y="74841"/>
                  <a:pt x="882815" y="74858"/>
                </a:cubicBezTo>
                <a:cubicBezTo>
                  <a:pt x="873343" y="74933"/>
                  <a:pt x="866875" y="76302"/>
                  <a:pt x="863410" y="78967"/>
                </a:cubicBezTo>
                <a:cubicBezTo>
                  <a:pt x="859946" y="81631"/>
                  <a:pt x="858312" y="85141"/>
                  <a:pt x="858507" y="89498"/>
                </a:cubicBezTo>
                <a:cubicBezTo>
                  <a:pt x="858490" y="94504"/>
                  <a:pt x="860251" y="98510"/>
                  <a:pt x="863790" y="101514"/>
                </a:cubicBezTo>
                <a:cubicBezTo>
                  <a:pt x="867329" y="104517"/>
                  <a:pt x="872750" y="107142"/>
                  <a:pt x="880053" y="109386"/>
                </a:cubicBezTo>
                <a:lnTo>
                  <a:pt x="894693" y="114082"/>
                </a:lnTo>
                <a:cubicBezTo>
                  <a:pt x="907739" y="118104"/>
                  <a:pt x="917280" y="123456"/>
                  <a:pt x="923317" y="130137"/>
                </a:cubicBezTo>
                <a:cubicBezTo>
                  <a:pt x="929353" y="136819"/>
                  <a:pt x="932334" y="145554"/>
                  <a:pt x="932259" y="156344"/>
                </a:cubicBezTo>
                <a:cubicBezTo>
                  <a:pt x="932190" y="169114"/>
                  <a:pt x="927356" y="179346"/>
                  <a:pt x="917758" y="187040"/>
                </a:cubicBezTo>
                <a:cubicBezTo>
                  <a:pt x="908159" y="194734"/>
                  <a:pt x="894209" y="198681"/>
                  <a:pt x="875910" y="198883"/>
                </a:cubicBezTo>
                <a:cubicBezTo>
                  <a:pt x="865753" y="198906"/>
                  <a:pt x="856718" y="198169"/>
                  <a:pt x="848805" y="196673"/>
                </a:cubicBezTo>
                <a:cubicBezTo>
                  <a:pt x="840892" y="195177"/>
                  <a:pt x="833722" y="192783"/>
                  <a:pt x="827294" y="189491"/>
                </a:cubicBezTo>
                <a:cubicBezTo>
                  <a:pt x="827570" y="183863"/>
                  <a:pt x="828054" y="178960"/>
                  <a:pt x="828744" y="174782"/>
                </a:cubicBezTo>
                <a:cubicBezTo>
                  <a:pt x="829435" y="170604"/>
                  <a:pt x="830332" y="166944"/>
                  <a:pt x="831437" y="163802"/>
                </a:cubicBezTo>
                <a:cubicBezTo>
                  <a:pt x="837986" y="166985"/>
                  <a:pt x="845191" y="169390"/>
                  <a:pt x="853052" y="171019"/>
                </a:cubicBezTo>
                <a:cubicBezTo>
                  <a:pt x="860913" y="172647"/>
                  <a:pt x="868256" y="173464"/>
                  <a:pt x="875081" y="173470"/>
                </a:cubicBezTo>
                <a:cubicBezTo>
                  <a:pt x="883822" y="173516"/>
                  <a:pt x="890509" y="172250"/>
                  <a:pt x="895142" y="169672"/>
                </a:cubicBezTo>
                <a:cubicBezTo>
                  <a:pt x="899774" y="167094"/>
                  <a:pt x="902111" y="162928"/>
                  <a:pt x="902151" y="157173"/>
                </a:cubicBezTo>
                <a:cubicBezTo>
                  <a:pt x="902082" y="152189"/>
                  <a:pt x="900148" y="148345"/>
                  <a:pt x="896350" y="145640"/>
                </a:cubicBezTo>
                <a:cubicBezTo>
                  <a:pt x="892552" y="142936"/>
                  <a:pt x="887304" y="140611"/>
                  <a:pt x="880605" y="138666"/>
                </a:cubicBezTo>
                <a:lnTo>
                  <a:pt x="866518" y="134246"/>
                </a:lnTo>
                <a:cubicBezTo>
                  <a:pt x="852758" y="129821"/>
                  <a:pt x="843056" y="123963"/>
                  <a:pt x="837411" y="116671"/>
                </a:cubicBezTo>
                <a:cubicBezTo>
                  <a:pt x="831765" y="109380"/>
                  <a:pt x="829038" y="100691"/>
                  <a:pt x="829228" y="90603"/>
                </a:cubicBezTo>
                <a:cubicBezTo>
                  <a:pt x="829251" y="77781"/>
                  <a:pt x="833693" y="67791"/>
                  <a:pt x="842555" y="60632"/>
                </a:cubicBezTo>
                <a:cubicBezTo>
                  <a:pt x="851418" y="53473"/>
                  <a:pt x="864561" y="49836"/>
                  <a:pt x="881987"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1" y="162421"/>
                </a:cubicBezTo>
                <a:cubicBezTo>
                  <a:pt x="807333" y="166507"/>
                  <a:pt x="806654" y="170973"/>
                  <a:pt x="805854" y="175818"/>
                </a:cubicBezTo>
                <a:cubicBezTo>
                  <a:pt x="805054"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49" y="76722"/>
                  <a:pt x="259156"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1068353" y="28452"/>
                </a:moveTo>
                <a:cubicBezTo>
                  <a:pt x="1064998" y="28435"/>
                  <a:pt x="1061418" y="28538"/>
                  <a:pt x="1057614" y="28763"/>
                </a:cubicBezTo>
                <a:cubicBezTo>
                  <a:pt x="1053811" y="28987"/>
                  <a:pt x="1050024" y="29436"/>
                  <a:pt x="1046255" y="30109"/>
                </a:cubicBezTo>
                <a:lnTo>
                  <a:pt x="1046255" y="101375"/>
                </a:lnTo>
                <a:lnTo>
                  <a:pt x="1069458" y="101375"/>
                </a:lnTo>
                <a:cubicBezTo>
                  <a:pt x="1084615" y="101312"/>
                  <a:pt x="1095872" y="98193"/>
                  <a:pt x="1103226" y="92018"/>
                </a:cubicBezTo>
                <a:cubicBezTo>
                  <a:pt x="1110581" y="85844"/>
                  <a:pt x="1114241" y="76993"/>
                  <a:pt x="1114206" y="65466"/>
                </a:cubicBezTo>
                <a:cubicBezTo>
                  <a:pt x="1114264" y="52927"/>
                  <a:pt x="1110558" y="43616"/>
                  <a:pt x="1103088" y="37533"/>
                </a:cubicBezTo>
                <a:cubicBezTo>
                  <a:pt x="1095618" y="31450"/>
                  <a:pt x="1084040" y="28423"/>
                  <a:pt x="1068353" y="28452"/>
                </a:cubicBezTo>
                <a:close/>
                <a:moveTo>
                  <a:pt x="2396728" y="2211"/>
                </a:moveTo>
                <a:lnTo>
                  <a:pt x="2396728" y="54417"/>
                </a:lnTo>
                <a:lnTo>
                  <a:pt x="2444791" y="54417"/>
                </a:lnTo>
                <a:cubicBezTo>
                  <a:pt x="2444285" y="63763"/>
                  <a:pt x="2443364" y="72418"/>
                  <a:pt x="2442029" y="80382"/>
                </a:cubicBezTo>
                <a:lnTo>
                  <a:pt x="2396728" y="80382"/>
                </a:lnTo>
                <a:lnTo>
                  <a:pt x="2396728" y="148057"/>
                </a:lnTo>
                <a:cubicBezTo>
                  <a:pt x="2396792" y="156948"/>
                  <a:pt x="2398875" y="163336"/>
                  <a:pt x="2402978" y="167221"/>
                </a:cubicBezTo>
                <a:cubicBezTo>
                  <a:pt x="2407081" y="171105"/>
                  <a:pt x="2412824" y="173004"/>
                  <a:pt x="2420207" y="172918"/>
                </a:cubicBezTo>
                <a:cubicBezTo>
                  <a:pt x="2424650" y="172900"/>
                  <a:pt x="2428885" y="172521"/>
                  <a:pt x="2432914" y="171778"/>
                </a:cubicBezTo>
                <a:cubicBezTo>
                  <a:pt x="2436942" y="171036"/>
                  <a:pt x="2440625" y="170035"/>
                  <a:pt x="2443963" y="168774"/>
                </a:cubicBezTo>
                <a:cubicBezTo>
                  <a:pt x="2443554" y="172969"/>
                  <a:pt x="2443059" y="177285"/>
                  <a:pt x="2442478" y="181722"/>
                </a:cubicBezTo>
                <a:cubicBezTo>
                  <a:pt x="2441897" y="186159"/>
                  <a:pt x="2441195" y="190406"/>
                  <a:pt x="2440372" y="194463"/>
                </a:cubicBezTo>
                <a:cubicBezTo>
                  <a:pt x="2436211" y="196098"/>
                  <a:pt x="2431964" y="197249"/>
                  <a:pt x="2427631" y="197916"/>
                </a:cubicBezTo>
                <a:cubicBezTo>
                  <a:pt x="2423298" y="198584"/>
                  <a:pt x="2418982" y="198906"/>
                  <a:pt x="2414683" y="198883"/>
                </a:cubicBezTo>
                <a:cubicBezTo>
                  <a:pt x="2399738" y="199021"/>
                  <a:pt x="2387987" y="195361"/>
                  <a:pt x="2379430" y="187903"/>
                </a:cubicBezTo>
                <a:cubicBezTo>
                  <a:pt x="2370872" y="180445"/>
                  <a:pt x="2366510" y="168360"/>
                  <a:pt x="2366344" y="151648"/>
                </a:cubicBezTo>
                <a:lnTo>
                  <a:pt x="2366344" y="6630"/>
                </a:lnTo>
                <a:cubicBezTo>
                  <a:pt x="2371131" y="5117"/>
                  <a:pt x="2376196" y="4000"/>
                  <a:pt x="2381536" y="3281"/>
                </a:cubicBezTo>
                <a:cubicBezTo>
                  <a:pt x="2386876" y="2562"/>
                  <a:pt x="2391940" y="2205"/>
                  <a:pt x="2396728" y="2211"/>
                </a:cubicBezTo>
                <a:close/>
                <a:moveTo>
                  <a:pt x="2052742" y="2211"/>
                </a:moveTo>
                <a:lnTo>
                  <a:pt x="2052742" y="138942"/>
                </a:lnTo>
                <a:cubicBezTo>
                  <a:pt x="2052737" y="158266"/>
                  <a:pt x="2047776" y="172722"/>
                  <a:pt x="2037861" y="182309"/>
                </a:cubicBezTo>
                <a:cubicBezTo>
                  <a:pt x="2027945" y="191897"/>
                  <a:pt x="2013110" y="196685"/>
                  <a:pt x="1993354" y="196673"/>
                </a:cubicBezTo>
                <a:cubicBezTo>
                  <a:pt x="1990120" y="196662"/>
                  <a:pt x="1986713" y="196477"/>
                  <a:pt x="1983134" y="196121"/>
                </a:cubicBezTo>
                <a:cubicBezTo>
                  <a:pt x="1979554" y="195764"/>
                  <a:pt x="1976148" y="195303"/>
                  <a:pt x="1972913" y="194739"/>
                </a:cubicBezTo>
                <a:cubicBezTo>
                  <a:pt x="1973057" y="190222"/>
                  <a:pt x="1973322" y="185584"/>
                  <a:pt x="1973708" y="180825"/>
                </a:cubicBezTo>
                <a:cubicBezTo>
                  <a:pt x="1974093" y="176066"/>
                  <a:pt x="1974565" y="171772"/>
                  <a:pt x="1975123" y="167946"/>
                </a:cubicBezTo>
                <a:cubicBezTo>
                  <a:pt x="1977908" y="168498"/>
                  <a:pt x="1980832" y="168912"/>
                  <a:pt x="1983893" y="169189"/>
                </a:cubicBezTo>
                <a:cubicBezTo>
                  <a:pt x="1986955" y="169465"/>
                  <a:pt x="1990016" y="169603"/>
                  <a:pt x="1993078" y="169603"/>
                </a:cubicBezTo>
                <a:cubicBezTo>
                  <a:pt x="2002976" y="169695"/>
                  <a:pt x="2010250" y="167025"/>
                  <a:pt x="2014900" y="161592"/>
                </a:cubicBezTo>
                <a:cubicBezTo>
                  <a:pt x="2019549" y="156160"/>
                  <a:pt x="2021851" y="147413"/>
                  <a:pt x="2021805" y="135351"/>
                </a:cubicBezTo>
                <a:lnTo>
                  <a:pt x="2021805" y="6630"/>
                </a:lnTo>
                <a:cubicBezTo>
                  <a:pt x="2025891" y="5479"/>
                  <a:pt x="2030840" y="4466"/>
                  <a:pt x="2036652" y="3592"/>
                </a:cubicBezTo>
                <a:cubicBezTo>
                  <a:pt x="2042465" y="2717"/>
                  <a:pt x="2047828" y="2257"/>
                  <a:pt x="2052742" y="2211"/>
                </a:cubicBezTo>
                <a:close/>
                <a:moveTo>
                  <a:pt x="1902809" y="2211"/>
                </a:moveTo>
                <a:lnTo>
                  <a:pt x="1902809" y="195568"/>
                </a:lnTo>
                <a:lnTo>
                  <a:pt x="1872425" y="195568"/>
                </a:lnTo>
                <a:lnTo>
                  <a:pt x="1872425" y="6630"/>
                </a:lnTo>
                <a:cubicBezTo>
                  <a:pt x="1876487" y="5479"/>
                  <a:pt x="1881344"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0" y="3592"/>
                </a:cubicBezTo>
                <a:cubicBezTo>
                  <a:pt x="644872" y="2717"/>
                  <a:pt x="650143" y="2257"/>
                  <a:pt x="655034" y="2211"/>
                </a:cubicBezTo>
                <a:close/>
                <a:moveTo>
                  <a:pt x="1067248" y="1382"/>
                </a:moveTo>
                <a:cubicBezTo>
                  <a:pt x="1087086" y="1532"/>
                  <a:pt x="1102746" y="4393"/>
                  <a:pt x="1114226" y="9965"/>
                </a:cubicBezTo>
                <a:cubicBezTo>
                  <a:pt x="1125707" y="15538"/>
                  <a:pt x="1133857" y="22921"/>
                  <a:pt x="1138677" y="32115"/>
                </a:cubicBezTo>
                <a:cubicBezTo>
                  <a:pt x="1143498" y="41308"/>
                  <a:pt x="1145837" y="51413"/>
                  <a:pt x="1145696" y="62428"/>
                </a:cubicBezTo>
                <a:cubicBezTo>
                  <a:pt x="1145540" y="83283"/>
                  <a:pt x="1138876" y="99373"/>
                  <a:pt x="1125704" y="110698"/>
                </a:cubicBezTo>
                <a:cubicBezTo>
                  <a:pt x="1112531" y="122023"/>
                  <a:pt x="1093783" y="127755"/>
                  <a:pt x="1069458" y="127893"/>
                </a:cubicBezTo>
                <a:lnTo>
                  <a:pt x="1046255" y="127893"/>
                </a:lnTo>
                <a:lnTo>
                  <a:pt x="1046255" y="195292"/>
                </a:lnTo>
                <a:lnTo>
                  <a:pt x="1015317" y="195292"/>
                </a:lnTo>
                <a:lnTo>
                  <a:pt x="1015317" y="6906"/>
                </a:lnTo>
                <a:cubicBezTo>
                  <a:pt x="1022298" y="5347"/>
                  <a:pt x="1030435" y="4046"/>
                  <a:pt x="1039729" y="3005"/>
                </a:cubicBezTo>
                <a:cubicBezTo>
                  <a:pt x="1049023" y="1963"/>
                  <a:pt x="1058196" y="1422"/>
                  <a:pt x="1067248" y="1382"/>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7"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5"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80"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2"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1"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9" y="112977"/>
                </a:cubicBezTo>
                <a:lnTo>
                  <a:pt x="45301" y="106900"/>
                </a:lnTo>
                <a:cubicBezTo>
                  <a:pt x="32123" y="101473"/>
                  <a:pt x="21603" y="94510"/>
                  <a:pt x="13742" y="86010"/>
                </a:cubicBezTo>
                <a:cubicBezTo>
                  <a:pt x="5882" y="77511"/>
                  <a:pt x="1853" y="66059"/>
                  <a:pt x="1658" y="51655"/>
                </a:cubicBezTo>
                <a:cubicBezTo>
                  <a:pt x="1635" y="35726"/>
                  <a:pt x="7136" y="23181"/>
                  <a:pt x="18162" y="14019"/>
                </a:cubicBezTo>
                <a:cubicBezTo>
                  <a:pt x="29188" y="4858"/>
                  <a:pt x="45876" y="185"/>
                  <a:pt x="68228" y="1"/>
                </a:cubicBezTo>
                <a:close/>
              </a:path>
            </a:pathLst>
          </a:custGeom>
          <a:solidFill>
            <a:srgbClr val="FF000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ES" sz="2200">
              <a:solidFill>
                <a:srgbClr val="FF0000"/>
              </a:solidFill>
              <a:latin typeface="Santander Logo" panose="020B0504020201010104" pitchFamily="34" charset="0"/>
            </a:endParaRPr>
          </a:p>
        </p:txBody>
      </p:sp>
    </p:spTree>
    <p:extLst>
      <p:ext uri="{BB962C8B-B14F-4D97-AF65-F5344CB8AC3E}">
        <p14:creationId xmlns:p14="http://schemas.microsoft.com/office/powerpoint/2010/main" val="42817397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6_Gracias">
    <p:spTree>
      <p:nvGrpSpPr>
        <p:cNvPr id="1" name=""/>
        <p:cNvGrpSpPr/>
        <p:nvPr/>
      </p:nvGrpSpPr>
      <p:grpSpPr>
        <a:xfrm>
          <a:off x="0" y="0"/>
          <a:ext cx="0" cy="0"/>
          <a:chOff x="0" y="0"/>
          <a:chExt cx="0" cy="0"/>
        </a:xfrm>
      </p:grpSpPr>
      <p:pic>
        <p:nvPicPr>
          <p:cNvPr id="11" name="Imagem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 y="5117"/>
            <a:ext cx="12190560" cy="6856620"/>
          </a:xfrm>
          <a:prstGeom prst="rect">
            <a:avLst/>
          </a:prstGeom>
        </p:spPr>
      </p:pic>
      <p:pic>
        <p:nvPicPr>
          <p:cNvPr id="5"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7297514" y="5858102"/>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upo 19">
            <a:extLst>
              <a:ext uri="{FF2B5EF4-FFF2-40B4-BE49-F238E27FC236}">
                <a16:creationId xmlns:a16="http://schemas.microsoft.com/office/drawing/2014/main" id="{246620ED-93B0-4966-8E36-4B883B49E634}"/>
              </a:ext>
            </a:extLst>
          </p:cNvPr>
          <p:cNvGrpSpPr/>
          <p:nvPr userDrawn="1"/>
        </p:nvGrpSpPr>
        <p:grpSpPr>
          <a:xfrm>
            <a:off x="9184030" y="5858534"/>
            <a:ext cx="578707" cy="455017"/>
            <a:chOff x="2203451" y="-4230356"/>
            <a:chExt cx="6896100" cy="5422158"/>
          </a:xfrm>
        </p:grpSpPr>
        <p:pic>
          <p:nvPicPr>
            <p:cNvPr id="7"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8"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5" cstate="screen">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9" name="CuadroTexto 22">
            <a:extLst>
              <a:ext uri="{FF2B5EF4-FFF2-40B4-BE49-F238E27FC236}">
                <a16:creationId xmlns:a16="http://schemas.microsoft.com/office/drawing/2014/main" id="{B163354C-97AE-4FC8-BF01-B7FCA9B2C7C0}"/>
              </a:ext>
            </a:extLst>
          </p:cNvPr>
          <p:cNvSpPr txBox="1"/>
          <p:nvPr userDrawn="1"/>
        </p:nvSpPr>
        <p:spPr>
          <a:xfrm>
            <a:off x="7160628" y="657789"/>
            <a:ext cx="3365478" cy="1167948"/>
          </a:xfrm>
          <a:prstGeom prst="rect">
            <a:avLst/>
          </a:prstGeom>
          <a:noFill/>
        </p:spPr>
        <p:txBody>
          <a:bodyPr wrap="square" rtlCol="0">
            <a:spAutoFit/>
          </a:bodyPr>
          <a:lstStyle/>
          <a:p>
            <a:pPr marL="0" marR="0" lvl="0" indent="0" algn="l" defTabSz="913600" rtl="0" eaLnBrk="1" fontAlgn="auto" latinLnBrk="0" hangingPunct="1">
              <a:lnSpc>
                <a:spcPct val="100000"/>
              </a:lnSpc>
              <a:spcBef>
                <a:spcPts val="0"/>
              </a:spcBef>
              <a:spcAft>
                <a:spcPts val="0"/>
              </a:spcAft>
              <a:buClrTx/>
              <a:buSzTx/>
              <a:buFontTx/>
              <a:buNone/>
              <a:tabLst/>
              <a:defRPr/>
            </a:pPr>
            <a:r>
              <a:rPr kumimoji="0" lang="es-E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Nuestro propósito es ayudar a personas</a:t>
            </a:r>
          </a:p>
          <a:p>
            <a:pPr marL="0" marR="0" lvl="0" indent="0" algn="l" defTabSz="913600" rtl="0" eaLnBrk="1" fontAlgn="auto" latinLnBrk="0" hangingPunct="1">
              <a:lnSpc>
                <a:spcPct val="100000"/>
              </a:lnSpc>
              <a:spcBef>
                <a:spcPts val="0"/>
              </a:spcBef>
              <a:spcAft>
                <a:spcPts val="0"/>
              </a:spcAft>
              <a:buClrTx/>
              <a:buSzTx/>
              <a:buFontTx/>
              <a:buNone/>
              <a:tabLst/>
              <a:defRPr/>
            </a:pPr>
            <a:r>
              <a:rPr kumimoji="0" lang="es-E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y empresas a prosperar.</a:t>
            </a:r>
          </a:p>
          <a:p>
            <a:pPr marL="0" marR="0" lvl="0" indent="0" algn="l" defTabSz="913600" rtl="0" eaLnBrk="1" fontAlgn="auto" latinLnBrk="0" hangingPunct="1">
              <a:lnSpc>
                <a:spcPct val="100000"/>
              </a:lnSpc>
              <a:spcBef>
                <a:spcPts val="0"/>
              </a:spcBef>
              <a:spcAft>
                <a:spcPts val="0"/>
              </a:spcAft>
              <a:buClrTx/>
              <a:buSzTx/>
              <a:buFontTx/>
              <a:buNone/>
              <a:tabLst/>
              <a:defRPr/>
            </a:pPr>
            <a:endParaRPr kumimoji="0" lang="pt-BR"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endParaRPr>
          </a:p>
          <a:p>
            <a:pPr marL="0" marR="0" lvl="0" indent="0" algn="l" defTabSz="913600" rtl="0" eaLnBrk="1" fontAlgn="auto" latinLnBrk="0" hangingPunct="1">
              <a:lnSpc>
                <a:spcPct val="100000"/>
              </a:lnSpc>
              <a:spcBef>
                <a:spcPts val="0"/>
              </a:spcBef>
              <a:spcAft>
                <a:spcPts val="0"/>
              </a:spcAft>
              <a:buClrTx/>
              <a:buSzTx/>
              <a:buFontTx/>
              <a:buNone/>
              <a:tabLst/>
              <a:defRPr/>
            </a:pPr>
            <a:r>
              <a:rPr kumimoji="0" lang="es-E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Nuestra cultura se basa en la creencia</a:t>
            </a:r>
          </a:p>
          <a:p>
            <a:pPr marL="0" marR="0" lvl="0" indent="0" algn="l" defTabSz="913600" rtl="0" eaLnBrk="1" fontAlgn="auto" latinLnBrk="0" hangingPunct="1">
              <a:lnSpc>
                <a:spcPct val="100000"/>
              </a:lnSpc>
              <a:spcBef>
                <a:spcPts val="0"/>
              </a:spcBef>
              <a:spcAft>
                <a:spcPts val="0"/>
              </a:spcAft>
              <a:buClrTx/>
              <a:buSzTx/>
              <a:buFontTx/>
              <a:buNone/>
              <a:tabLst/>
              <a:defRPr/>
            </a:pPr>
            <a:r>
              <a:rPr kumimoji="0" lang="es-E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de que todo lo que hacemos debe ser</a:t>
            </a:r>
            <a:endParaRPr kumimoji="0" lang="pt-BR"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endParaRPr>
          </a:p>
        </p:txBody>
      </p:sp>
      <p:sp>
        <p:nvSpPr>
          <p:cNvPr id="13" name="Espaço Reservado para Texto 12"/>
          <p:cNvSpPr>
            <a:spLocks noGrp="1"/>
          </p:cNvSpPr>
          <p:nvPr>
            <p:ph type="body" sz="quarter" idx="10" hasCustomPrompt="1"/>
          </p:nvPr>
        </p:nvSpPr>
        <p:spPr>
          <a:xfrm>
            <a:off x="7218684" y="3799800"/>
            <a:ext cx="4430713" cy="1495794"/>
          </a:xfrm>
          <a:prstGeom prst="rect">
            <a:avLst/>
          </a:prstGeom>
        </p:spPr>
        <p:txBody>
          <a:bodyPr wrap="square" lIns="0" rIns="0">
            <a:spAutoFit/>
          </a:bodyPr>
          <a:lstStyle>
            <a:lvl1pPr marL="0" indent="0">
              <a:buFontTx/>
              <a:buNone/>
              <a:defRPr lang="pt-BR" sz="5400" b="1" spc="-96" baseline="0" smtClean="0">
                <a:solidFill>
                  <a:schemeClr val="accent1"/>
                </a:solidFill>
                <a:latin typeface="Santander Headline" panose="020B0504020201020104" pitchFamily="34" charset="0"/>
                <a:ea typeface="+mj-ea"/>
                <a:cs typeface="Segoe UI Semibold" panose="020B0702040204020203" pitchFamily="34" charset="0"/>
              </a:defRPr>
            </a:lvl1pPr>
            <a:lvl2pPr>
              <a:defRPr lang="pt-BR" smtClean="0"/>
            </a:lvl2pPr>
            <a:lvl3pPr>
              <a:defRPr lang="pt-BR" smtClean="0"/>
            </a:lvl3pPr>
            <a:lvl4pPr>
              <a:defRPr lang="pt-BR" smtClean="0"/>
            </a:lvl4pPr>
            <a:lvl5pPr>
              <a:defRPr lang="en-US"/>
            </a:lvl5pPr>
          </a:lstStyle>
          <a:p>
            <a:pPr lvl="0" algn="l"/>
            <a:r>
              <a:rPr lang="pt-BR"/>
              <a:t>Editar estilos </a:t>
            </a:r>
            <a:br>
              <a:rPr lang="pt-BR"/>
            </a:br>
            <a:r>
              <a:rPr lang="pt-BR"/>
              <a:t>de texto mestre</a:t>
            </a:r>
          </a:p>
        </p:txBody>
      </p:sp>
      <p:pic>
        <p:nvPicPr>
          <p:cNvPr id="4" name="Picture 3"/>
          <p:cNvPicPr>
            <a:picLocks noChangeAspect="1"/>
          </p:cNvPicPr>
          <p:nvPr userDrawn="1"/>
        </p:nvPicPr>
        <p:blipFill>
          <a:blip r:embed="rId6"/>
          <a:stretch>
            <a:fillRect/>
          </a:stretch>
        </p:blipFill>
        <p:spPr>
          <a:xfrm>
            <a:off x="7158738" y="2124075"/>
            <a:ext cx="2725148" cy="347502"/>
          </a:xfrm>
          <a:prstGeom prst="rect">
            <a:avLst/>
          </a:prstGeom>
        </p:spPr>
      </p:pic>
    </p:spTree>
    <p:extLst>
      <p:ext uri="{BB962C8B-B14F-4D97-AF65-F5344CB8AC3E}">
        <p14:creationId xmlns:p14="http://schemas.microsoft.com/office/powerpoint/2010/main" val="2944052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ulo y contenido ">
    <p:spTree>
      <p:nvGrpSpPr>
        <p:cNvPr id="1" name=""/>
        <p:cNvGrpSpPr/>
        <p:nvPr/>
      </p:nvGrpSpPr>
      <p:grpSpPr>
        <a:xfrm>
          <a:off x="0" y="0"/>
          <a:ext cx="0" cy="0"/>
          <a:chOff x="0" y="0"/>
          <a:chExt cx="0" cy="0"/>
        </a:xfrm>
      </p:grpSpPr>
      <p:pic>
        <p:nvPicPr>
          <p:cNvPr id="6" name="Gráfico 10"/>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31851" y="6262690"/>
            <a:ext cx="1173163" cy="2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ítulo 1"/>
          <p:cNvSpPr>
            <a:spLocks noGrp="1"/>
          </p:cNvSpPr>
          <p:nvPr>
            <p:ph type="title"/>
          </p:nvPr>
        </p:nvSpPr>
        <p:spPr>
          <a:xfrm>
            <a:off x="722244" y="1087459"/>
            <a:ext cx="5297557" cy="1606047"/>
          </a:xfrm>
        </p:spPr>
        <p:txBody>
          <a:bodyPr anchor="t">
            <a:normAutofit/>
          </a:bodyPr>
          <a:lstStyle>
            <a:lvl1pPr>
              <a:defRPr sz="3600">
                <a:solidFill>
                  <a:schemeClr val="accent1"/>
                </a:solidFill>
              </a:defRPr>
            </a:lvl1pPr>
          </a:lstStyle>
          <a:p>
            <a:r>
              <a:rPr lang="es-ES"/>
              <a:t>Haga clic para modificar el estilo de título del patrón</a:t>
            </a:r>
          </a:p>
        </p:txBody>
      </p:sp>
      <p:sp>
        <p:nvSpPr>
          <p:cNvPr id="15" name="Marcador de texto 14"/>
          <p:cNvSpPr>
            <a:spLocks noGrp="1"/>
          </p:cNvSpPr>
          <p:nvPr>
            <p:ph type="body" sz="quarter" idx="14"/>
          </p:nvPr>
        </p:nvSpPr>
        <p:spPr>
          <a:xfrm>
            <a:off x="711025" y="337100"/>
            <a:ext cx="10758735"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18" name="Marcador de texto 16"/>
          <p:cNvSpPr>
            <a:spLocks noGrp="1"/>
          </p:cNvSpPr>
          <p:nvPr>
            <p:ph type="body" sz="quarter" idx="15"/>
          </p:nvPr>
        </p:nvSpPr>
        <p:spPr>
          <a:xfrm>
            <a:off x="711025" y="3093564"/>
            <a:ext cx="5308776" cy="3083401"/>
          </a:xfr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20" name="Marcador de texto 16"/>
          <p:cNvSpPr>
            <a:spLocks noGrp="1"/>
          </p:cNvSpPr>
          <p:nvPr>
            <p:ph type="body" sz="quarter" idx="16"/>
          </p:nvPr>
        </p:nvSpPr>
        <p:spPr>
          <a:xfrm>
            <a:off x="6399971" y="1087458"/>
            <a:ext cx="5081004" cy="5089506"/>
          </a:xfr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7" name="Marcador de número de diapositiva 5"/>
          <p:cNvSpPr>
            <a:spLocks noGrp="1"/>
          </p:cNvSpPr>
          <p:nvPr>
            <p:ph type="sldNum" sz="quarter" idx="17"/>
          </p:nvPr>
        </p:nvSpPr>
        <p:spPr>
          <a:xfrm>
            <a:off x="8731251" y="6210302"/>
            <a:ext cx="2743200" cy="365125"/>
          </a:xfrm>
        </p:spPr>
        <p:txBody>
          <a:bodyPr/>
          <a:lstStyle>
            <a:lvl1pPr>
              <a:defRPr sz="1300">
                <a:solidFill>
                  <a:schemeClr val="accent1"/>
                </a:solidFill>
              </a:defRPr>
            </a:lvl1pPr>
          </a:lstStyle>
          <a:p>
            <a:pPr>
              <a:defRPr/>
            </a:pPr>
            <a:fld id="{5608D220-1A8D-4453-ABA1-F57847B4A995}" type="slidenum">
              <a:rPr lang="es-ES"/>
              <a:pPr>
                <a:defRPr/>
              </a:pPr>
              <a:t>‹#›</a:t>
            </a:fld>
            <a:endParaRPr lang="es-ES"/>
          </a:p>
        </p:txBody>
      </p:sp>
    </p:spTree>
    <p:extLst>
      <p:ext uri="{BB962C8B-B14F-4D97-AF65-F5344CB8AC3E}">
        <p14:creationId xmlns:p14="http://schemas.microsoft.com/office/powerpoint/2010/main" val="786725909"/>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ierre y contacto">
    <p:spTree>
      <p:nvGrpSpPr>
        <p:cNvPr id="1" name=""/>
        <p:cNvGrpSpPr/>
        <p:nvPr/>
      </p:nvGrpSpPr>
      <p:grpSpPr>
        <a:xfrm>
          <a:off x="0" y="0"/>
          <a:ext cx="0" cy="0"/>
          <a:chOff x="0" y="0"/>
          <a:chExt cx="0" cy="0"/>
        </a:xfrm>
      </p:grpSpPr>
      <p:sp>
        <p:nvSpPr>
          <p:cNvPr id="19" name="Forma libre: forma 18">
            <a:extLst>
              <a:ext uri="{FF2B5EF4-FFF2-40B4-BE49-F238E27FC236}">
                <a16:creationId xmlns:a16="http://schemas.microsoft.com/office/drawing/2014/main" id="{B61CF4CC-ED27-4967-A11A-B838DFD4D9A3}"/>
              </a:ext>
            </a:extLst>
          </p:cNvPr>
          <p:cNvSpPr/>
          <p:nvPr userDrawn="1"/>
        </p:nvSpPr>
        <p:spPr>
          <a:xfrm>
            <a:off x="0" y="5229922"/>
            <a:ext cx="12192000" cy="1628078"/>
          </a:xfrm>
          <a:custGeom>
            <a:avLst/>
            <a:gdLst>
              <a:gd name="connsiteX0" fmla="*/ 8943278 w 12192000"/>
              <a:gd name="connsiteY0" fmla="*/ 0 h 1628078"/>
              <a:gd name="connsiteX1" fmla="*/ 12192000 w 12192000"/>
              <a:gd name="connsiteY1" fmla="*/ 0 h 1628078"/>
              <a:gd name="connsiteX2" fmla="*/ 12192000 w 12192000"/>
              <a:gd name="connsiteY2" fmla="*/ 1628078 h 1628078"/>
              <a:gd name="connsiteX3" fmla="*/ 0 w 12192000"/>
              <a:gd name="connsiteY3" fmla="*/ 1628078 h 1628078"/>
              <a:gd name="connsiteX4" fmla="*/ 0 w 12192000"/>
              <a:gd name="connsiteY4" fmla="*/ 1226634 h 1628078"/>
              <a:gd name="connsiteX5" fmla="*/ 8943278 w 12192000"/>
              <a:gd name="connsiteY5" fmla="*/ 1226634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628078">
                <a:moveTo>
                  <a:pt x="8943278" y="0"/>
                </a:moveTo>
                <a:lnTo>
                  <a:pt x="12192000" y="0"/>
                </a:lnTo>
                <a:lnTo>
                  <a:pt x="12192000" y="1628078"/>
                </a:lnTo>
                <a:lnTo>
                  <a:pt x="0" y="1628078"/>
                </a:lnTo>
                <a:lnTo>
                  <a:pt x="0" y="1226634"/>
                </a:lnTo>
                <a:lnTo>
                  <a:pt x="8943278" y="1226634"/>
                </a:lnTo>
                <a:close/>
              </a:path>
            </a:pathLst>
          </a:cu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Forma libre: forma 14">
            <a:extLst>
              <a:ext uri="{FF2B5EF4-FFF2-40B4-BE49-F238E27FC236}">
                <a16:creationId xmlns:a16="http://schemas.microsoft.com/office/drawing/2014/main" id="{71CCCC0F-2431-4345-A9A9-F2C3CDD0B4A9}"/>
              </a:ext>
            </a:extLst>
          </p:cNvPr>
          <p:cNvSpPr/>
          <p:nvPr userDrawn="1"/>
        </p:nvSpPr>
        <p:spPr>
          <a:xfrm>
            <a:off x="0" y="5229922"/>
            <a:ext cx="12192000" cy="1628078"/>
          </a:xfrm>
          <a:custGeom>
            <a:avLst/>
            <a:gdLst>
              <a:gd name="connsiteX0" fmla="*/ 8943278 w 12192000"/>
              <a:gd name="connsiteY0" fmla="*/ 0 h 1628078"/>
              <a:gd name="connsiteX1" fmla="*/ 12192000 w 12192000"/>
              <a:gd name="connsiteY1" fmla="*/ 0 h 1628078"/>
              <a:gd name="connsiteX2" fmla="*/ 12192000 w 12192000"/>
              <a:gd name="connsiteY2" fmla="*/ 1628078 h 1628078"/>
              <a:gd name="connsiteX3" fmla="*/ 0 w 12192000"/>
              <a:gd name="connsiteY3" fmla="*/ 1628078 h 1628078"/>
              <a:gd name="connsiteX4" fmla="*/ 0 w 12192000"/>
              <a:gd name="connsiteY4" fmla="*/ 1226634 h 1628078"/>
              <a:gd name="connsiteX5" fmla="*/ 8943278 w 12192000"/>
              <a:gd name="connsiteY5" fmla="*/ 1226634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628078">
                <a:moveTo>
                  <a:pt x="8943278" y="0"/>
                </a:moveTo>
                <a:lnTo>
                  <a:pt x="12192000" y="0"/>
                </a:lnTo>
                <a:lnTo>
                  <a:pt x="12192000" y="1628078"/>
                </a:lnTo>
                <a:lnTo>
                  <a:pt x="0" y="1628078"/>
                </a:lnTo>
                <a:lnTo>
                  <a:pt x="0" y="1226634"/>
                </a:lnTo>
                <a:lnTo>
                  <a:pt x="8943278" y="1226634"/>
                </a:lnTo>
                <a:close/>
              </a:path>
            </a:pathLst>
          </a:cu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6" name="Picture 2" descr="Resultado de imagen de DJSI Member Log">
            <a:extLst>
              <a:ext uri="{FF2B5EF4-FFF2-40B4-BE49-F238E27FC236}">
                <a16:creationId xmlns:a16="http://schemas.microsoft.com/office/drawing/2014/main" id="{38607988-B145-4F0E-91F6-611DE541C06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796918" y="5573143"/>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upo 16">
            <a:extLst>
              <a:ext uri="{FF2B5EF4-FFF2-40B4-BE49-F238E27FC236}">
                <a16:creationId xmlns:a16="http://schemas.microsoft.com/office/drawing/2014/main" id="{E06CC9CD-D557-45B9-A836-040FBEECF1C0}"/>
              </a:ext>
            </a:extLst>
          </p:cNvPr>
          <p:cNvGrpSpPr/>
          <p:nvPr userDrawn="1"/>
        </p:nvGrpSpPr>
        <p:grpSpPr>
          <a:xfrm>
            <a:off x="7612559" y="5573576"/>
            <a:ext cx="578707" cy="455017"/>
            <a:chOff x="2203451" y="-4230356"/>
            <a:chExt cx="6896100" cy="5422158"/>
          </a:xfrm>
        </p:grpSpPr>
        <p:pic>
          <p:nvPicPr>
            <p:cNvPr id="18" name="Imagen 17" descr="Imagen relacionada">
              <a:extLst>
                <a:ext uri="{FF2B5EF4-FFF2-40B4-BE49-F238E27FC236}">
                  <a16:creationId xmlns:a16="http://schemas.microsoft.com/office/drawing/2014/main" id="{1680D468-AD85-44FC-8014-E917117710A0}"/>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21" name="Imagen 20" descr="Imagen relacionada">
              <a:extLst>
                <a:ext uri="{FF2B5EF4-FFF2-40B4-BE49-F238E27FC236}">
                  <a16:creationId xmlns:a16="http://schemas.microsoft.com/office/drawing/2014/main" id="{41C06A79-BA0B-468E-98BB-843978CBB00D}"/>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26" name="CuadroTexto 25">
            <a:extLst>
              <a:ext uri="{FF2B5EF4-FFF2-40B4-BE49-F238E27FC236}">
                <a16:creationId xmlns:a16="http://schemas.microsoft.com/office/drawing/2014/main" id="{FC705B30-8348-4ADA-9A52-17520C8CAFA4}"/>
              </a:ext>
            </a:extLst>
          </p:cNvPr>
          <p:cNvSpPr txBox="1"/>
          <p:nvPr userDrawn="1"/>
        </p:nvSpPr>
        <p:spPr>
          <a:xfrm>
            <a:off x="721506" y="628193"/>
            <a:ext cx="3365478" cy="769441"/>
          </a:xfrm>
          <a:prstGeom prst="rect">
            <a:avLst/>
          </a:prstGeom>
          <a:noFill/>
        </p:spPr>
        <p:txBody>
          <a:bodyPr wrap="square" rtlCol="0">
            <a:spAutoFit/>
          </a:bodyPr>
          <a:lstStyle/>
          <a:p>
            <a:r>
              <a:rPr lang="es-ES" sz="4400" err="1">
                <a:solidFill>
                  <a:schemeClr val="accent1"/>
                </a:solidFill>
                <a:latin typeface="Santander Headline" panose="020B0504020201020104" pitchFamily="34" charset="0"/>
              </a:rPr>
              <a:t>Thank</a:t>
            </a:r>
            <a:r>
              <a:rPr lang="es-ES" sz="4400">
                <a:solidFill>
                  <a:schemeClr val="accent1"/>
                </a:solidFill>
                <a:latin typeface="Santander Headline" panose="020B0504020201020104" pitchFamily="34" charset="0"/>
              </a:rPr>
              <a:t> </a:t>
            </a:r>
            <a:r>
              <a:rPr lang="es-ES" sz="4400" err="1">
                <a:solidFill>
                  <a:schemeClr val="accent1"/>
                </a:solidFill>
                <a:latin typeface="Santander Headline" panose="020B0504020201020104" pitchFamily="34" charset="0"/>
              </a:rPr>
              <a:t>You</a:t>
            </a:r>
            <a:r>
              <a:rPr lang="es-ES" sz="4400">
                <a:solidFill>
                  <a:schemeClr val="accent1"/>
                </a:solidFill>
                <a:latin typeface="Santander Headline" panose="020B0504020201020104" pitchFamily="34" charset="0"/>
              </a:rPr>
              <a:t>.</a:t>
            </a:r>
          </a:p>
        </p:txBody>
      </p:sp>
      <p:sp>
        <p:nvSpPr>
          <p:cNvPr id="27" name="Forma libre: forma 26">
            <a:extLst>
              <a:ext uri="{FF2B5EF4-FFF2-40B4-BE49-F238E27FC236}">
                <a16:creationId xmlns:a16="http://schemas.microsoft.com/office/drawing/2014/main" id="{910E5E9C-F6DE-4102-A205-68705BEC8D84}"/>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p>
        </p:txBody>
      </p:sp>
      <p:sp>
        <p:nvSpPr>
          <p:cNvPr id="29" name="CuadroTexto 22">
            <a:extLst>
              <a:ext uri="{FF2B5EF4-FFF2-40B4-BE49-F238E27FC236}">
                <a16:creationId xmlns:a16="http://schemas.microsoft.com/office/drawing/2014/main" id="{4C5074F4-C765-4FDE-A47B-E45BF89CED10}"/>
              </a:ext>
            </a:extLst>
          </p:cNvPr>
          <p:cNvSpPr txBox="1"/>
          <p:nvPr userDrawn="1"/>
        </p:nvSpPr>
        <p:spPr>
          <a:xfrm>
            <a:off x="719288" y="1895911"/>
            <a:ext cx="3365478" cy="116955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tx2"/>
                </a:solidFill>
                <a:latin typeface="Santander Text" panose="020B0504020201020104" pitchFamily="34" charset="0"/>
              </a:rPr>
              <a:t>Our purpose is to help people and businesses prosper.</a:t>
            </a:r>
          </a:p>
          <a:p>
            <a:endParaRPr lang="en-US" sz="1400">
              <a:solidFill>
                <a:schemeClr val="tx2"/>
              </a:solidFill>
              <a:latin typeface="Santander Text" panose="020B0504020201020104" pitchFamily="34" charset="0"/>
            </a:endParaRPr>
          </a:p>
          <a:p>
            <a:r>
              <a:rPr lang="en-US" sz="1400">
                <a:solidFill>
                  <a:schemeClr val="tx2"/>
                </a:solidFill>
                <a:latin typeface="Santander Text" panose="020B0504020201020104" pitchFamily="34" charset="0"/>
              </a:rPr>
              <a:t>Our culture is based on believing </a:t>
            </a:r>
            <a:br>
              <a:rPr lang="en-US" sz="1400">
                <a:solidFill>
                  <a:schemeClr val="tx2"/>
                </a:solidFill>
                <a:latin typeface="Santander Text" panose="020B0504020201020104" pitchFamily="34" charset="0"/>
              </a:rPr>
            </a:br>
            <a:r>
              <a:rPr lang="en-US" sz="1400">
                <a:solidFill>
                  <a:schemeClr val="tx2"/>
                </a:solidFill>
                <a:latin typeface="Santander Text" panose="020B0504020201020104" pitchFamily="34" charset="0"/>
              </a:rPr>
              <a:t>that everything we do should be:</a:t>
            </a:r>
          </a:p>
        </p:txBody>
      </p:sp>
      <p:sp>
        <p:nvSpPr>
          <p:cNvPr id="30" name="Freeform 5">
            <a:extLst>
              <a:ext uri="{FF2B5EF4-FFF2-40B4-BE49-F238E27FC236}">
                <a16:creationId xmlns:a16="http://schemas.microsoft.com/office/drawing/2014/main" id="{50332410-39FF-49DF-9D0A-BE8C70AB2CB2}"/>
              </a:ext>
            </a:extLst>
          </p:cNvPr>
          <p:cNvSpPr>
            <a:spLocks noEditPoints="1"/>
          </p:cNvSpPr>
          <p:nvPr userDrawn="1"/>
        </p:nvSpPr>
        <p:spPr bwMode="auto">
          <a:xfrm>
            <a:off x="822325" y="5727700"/>
            <a:ext cx="1898650" cy="334963"/>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32" name="Freeform: Shape 14">
            <a:extLst>
              <a:ext uri="{FF2B5EF4-FFF2-40B4-BE49-F238E27FC236}">
                <a16:creationId xmlns:a16="http://schemas.microsoft.com/office/drawing/2014/main" id="{FAD5E498-61B1-4785-9A3A-670B307E94CB}"/>
              </a:ext>
            </a:extLst>
          </p:cNvPr>
          <p:cNvSpPr/>
          <p:nvPr userDrawn="1"/>
        </p:nvSpPr>
        <p:spPr>
          <a:xfrm>
            <a:off x="820236" y="3464157"/>
            <a:ext cx="2446172" cy="248603"/>
          </a:xfrm>
          <a:custGeom>
            <a:avLst/>
            <a:gdLst/>
            <a:ahLst/>
            <a:cxnLst/>
            <a:rect l="l" t="t" r="r" b="b"/>
            <a:pathLst>
              <a:path w="2446172" h="248603">
                <a:moveTo>
                  <a:pt x="2218258" y="75686"/>
                </a:moveTo>
                <a:cubicBezTo>
                  <a:pt x="2202560" y="75848"/>
                  <a:pt x="2190935" y="80359"/>
                  <a:pt x="2183385" y="89222"/>
                </a:cubicBezTo>
                <a:cubicBezTo>
                  <a:pt x="2175835" y="98084"/>
                  <a:pt x="2172083" y="110330"/>
                  <a:pt x="2172129" y="125959"/>
                </a:cubicBezTo>
                <a:cubicBezTo>
                  <a:pt x="2172037" y="140289"/>
                  <a:pt x="2175052" y="151821"/>
                  <a:pt x="2181175" y="160557"/>
                </a:cubicBezTo>
                <a:cubicBezTo>
                  <a:pt x="2187298" y="169292"/>
                  <a:pt x="2197081" y="173781"/>
                  <a:pt x="2210524" y="174023"/>
                </a:cubicBezTo>
                <a:cubicBezTo>
                  <a:pt x="2216451" y="173988"/>
                  <a:pt x="2221861" y="173090"/>
                  <a:pt x="2226752" y="171329"/>
                </a:cubicBezTo>
                <a:cubicBezTo>
                  <a:pt x="2231644" y="169568"/>
                  <a:pt x="2236086" y="167151"/>
                  <a:pt x="2240080" y="164078"/>
                </a:cubicBezTo>
                <a:lnTo>
                  <a:pt x="2240080" y="77344"/>
                </a:lnTo>
                <a:cubicBezTo>
                  <a:pt x="2236926" y="76791"/>
                  <a:pt x="2233566" y="76377"/>
                  <a:pt x="2229998" y="76101"/>
                </a:cubicBezTo>
                <a:cubicBezTo>
                  <a:pt x="2226430" y="75825"/>
                  <a:pt x="2222517" y="75686"/>
                  <a:pt x="2218258"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469508" y="75686"/>
                </a:moveTo>
                <a:cubicBezTo>
                  <a:pt x="1455466" y="75859"/>
                  <a:pt x="1445085" y="80210"/>
                  <a:pt x="1438363" y="88738"/>
                </a:cubicBezTo>
                <a:cubicBezTo>
                  <a:pt x="1431642" y="97267"/>
                  <a:pt x="1428304" y="108937"/>
                  <a:pt x="1428350" y="123750"/>
                </a:cubicBezTo>
                <a:cubicBezTo>
                  <a:pt x="1428460" y="140663"/>
                  <a:pt x="1432108" y="153104"/>
                  <a:pt x="1439296" y="161075"/>
                </a:cubicBezTo>
                <a:cubicBezTo>
                  <a:pt x="1446483" y="169045"/>
                  <a:pt x="1456554" y="172993"/>
                  <a:pt x="1469508" y="172918"/>
                </a:cubicBezTo>
                <a:cubicBezTo>
                  <a:pt x="1483031" y="172762"/>
                  <a:pt x="1493136" y="168446"/>
                  <a:pt x="1499823" y="159970"/>
                </a:cubicBezTo>
                <a:cubicBezTo>
                  <a:pt x="1506510" y="151493"/>
                  <a:pt x="1509848" y="139788"/>
                  <a:pt x="1509836" y="124855"/>
                </a:cubicBezTo>
                <a:cubicBezTo>
                  <a:pt x="1509710" y="108062"/>
                  <a:pt x="1506096" y="95655"/>
                  <a:pt x="1498995" y="87633"/>
                </a:cubicBezTo>
                <a:cubicBezTo>
                  <a:pt x="1491894" y="79611"/>
                  <a:pt x="1482064" y="75629"/>
                  <a:pt x="14695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1" y="140225"/>
                  <a:pt x="570862" y="124302"/>
                </a:cubicBezTo>
                <a:cubicBezTo>
                  <a:pt x="571012" y="109346"/>
                  <a:pt x="567329" y="97549"/>
                  <a:pt x="559813" y="88911"/>
                </a:cubicBezTo>
                <a:cubicBezTo>
                  <a:pt x="552297" y="80273"/>
                  <a:pt x="540051" y="75865"/>
                  <a:pt x="523075" y="75686"/>
                </a:cubicBezTo>
                <a:close/>
                <a:moveTo>
                  <a:pt x="1101204" y="75134"/>
                </a:moveTo>
                <a:cubicBezTo>
                  <a:pt x="1090460" y="75163"/>
                  <a:pt x="1082185" y="78213"/>
                  <a:pt x="1076379" y="84284"/>
                </a:cubicBezTo>
                <a:cubicBezTo>
                  <a:pt x="1070572" y="90355"/>
                  <a:pt x="1067062" y="99275"/>
                  <a:pt x="1065848" y="111043"/>
                </a:cubicBezTo>
                <a:lnTo>
                  <a:pt x="1134351" y="111043"/>
                </a:lnTo>
                <a:cubicBezTo>
                  <a:pt x="1134282" y="99637"/>
                  <a:pt x="1131382" y="90821"/>
                  <a:pt x="1125650" y="84595"/>
                </a:cubicBezTo>
                <a:cubicBezTo>
                  <a:pt x="1119919" y="78368"/>
                  <a:pt x="1111770" y="75215"/>
                  <a:pt x="1101204"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301050" y="53036"/>
                </a:moveTo>
                <a:lnTo>
                  <a:pt x="2331434" y="53036"/>
                </a:lnTo>
                <a:lnTo>
                  <a:pt x="2331434" y="195568"/>
                </a:lnTo>
                <a:lnTo>
                  <a:pt x="2301050" y="195568"/>
                </a:lnTo>
                <a:close/>
                <a:moveTo>
                  <a:pt x="157925" y="53036"/>
                </a:moveTo>
                <a:lnTo>
                  <a:pt x="188309" y="53036"/>
                </a:lnTo>
                <a:lnTo>
                  <a:pt x="188309" y="195568"/>
                </a:lnTo>
                <a:lnTo>
                  <a:pt x="157925" y="195568"/>
                </a:lnTo>
                <a:close/>
                <a:moveTo>
                  <a:pt x="2419655" y="49721"/>
                </a:moveTo>
                <a:cubicBezTo>
                  <a:pt x="2424454" y="49716"/>
                  <a:pt x="2429219" y="49796"/>
                  <a:pt x="2433950" y="49963"/>
                </a:cubicBezTo>
                <a:cubicBezTo>
                  <a:pt x="2438680" y="50130"/>
                  <a:pt x="2442754" y="50418"/>
                  <a:pt x="2446172" y="50826"/>
                </a:cubicBezTo>
                <a:cubicBezTo>
                  <a:pt x="2446161" y="55534"/>
                  <a:pt x="2445908" y="60275"/>
                  <a:pt x="2445413" y="65052"/>
                </a:cubicBezTo>
                <a:cubicBezTo>
                  <a:pt x="2444918" y="69828"/>
                  <a:pt x="2444250" y="73741"/>
                  <a:pt x="2443410" y="76791"/>
                </a:cubicBezTo>
                <a:cubicBezTo>
                  <a:pt x="2439848" y="76383"/>
                  <a:pt x="2436200" y="76095"/>
                  <a:pt x="2432465" y="75928"/>
                </a:cubicBezTo>
                <a:cubicBezTo>
                  <a:pt x="2428730" y="75761"/>
                  <a:pt x="2424736" y="75681"/>
                  <a:pt x="2420484" y="75686"/>
                </a:cubicBezTo>
                <a:cubicBezTo>
                  <a:pt x="2413026" y="75686"/>
                  <a:pt x="2405567" y="76239"/>
                  <a:pt x="2398109" y="77344"/>
                </a:cubicBezTo>
                <a:lnTo>
                  <a:pt x="2398109" y="195568"/>
                </a:lnTo>
                <a:lnTo>
                  <a:pt x="2367725" y="195568"/>
                </a:lnTo>
                <a:lnTo>
                  <a:pt x="2367725" y="57456"/>
                </a:lnTo>
                <a:cubicBezTo>
                  <a:pt x="2374498" y="55200"/>
                  <a:pt x="2382635" y="53358"/>
                  <a:pt x="2392136" y="51931"/>
                </a:cubicBezTo>
                <a:cubicBezTo>
                  <a:pt x="2401637" y="50504"/>
                  <a:pt x="2410810" y="49767"/>
                  <a:pt x="2419655" y="49721"/>
                </a:cubicBezTo>
                <a:close/>
                <a:moveTo>
                  <a:pt x="2218258" y="49721"/>
                </a:moveTo>
                <a:cubicBezTo>
                  <a:pt x="2228133" y="49698"/>
                  <a:pt x="2237318" y="50297"/>
                  <a:pt x="2245812" y="51517"/>
                </a:cubicBezTo>
                <a:cubicBezTo>
                  <a:pt x="2254306" y="52737"/>
                  <a:pt x="2262523" y="54716"/>
                  <a:pt x="2270465" y="57456"/>
                </a:cubicBezTo>
                <a:lnTo>
                  <a:pt x="2270465" y="195568"/>
                </a:lnTo>
                <a:lnTo>
                  <a:pt x="2242566" y="195568"/>
                </a:lnTo>
                <a:lnTo>
                  <a:pt x="2240909" y="178995"/>
                </a:lnTo>
                <a:cubicBezTo>
                  <a:pt x="2237111" y="185141"/>
                  <a:pt x="2232069" y="189975"/>
                  <a:pt x="2225785" y="193496"/>
                </a:cubicBezTo>
                <a:cubicBezTo>
                  <a:pt x="2219501" y="197018"/>
                  <a:pt x="2211560" y="198814"/>
                  <a:pt x="2201961" y="198883"/>
                </a:cubicBezTo>
                <a:cubicBezTo>
                  <a:pt x="2183477" y="198745"/>
                  <a:pt x="2168791" y="192392"/>
                  <a:pt x="2157903" y="179823"/>
                </a:cubicBezTo>
                <a:cubicBezTo>
                  <a:pt x="2147015" y="167255"/>
                  <a:pt x="2141445" y="149300"/>
                  <a:pt x="2141191" y="125959"/>
                </a:cubicBezTo>
                <a:cubicBezTo>
                  <a:pt x="2141209" y="101514"/>
                  <a:pt x="2147665" y="82730"/>
                  <a:pt x="2160562" y="69610"/>
                </a:cubicBezTo>
                <a:cubicBezTo>
                  <a:pt x="2173458" y="56489"/>
                  <a:pt x="2192690" y="49859"/>
                  <a:pt x="2218258" y="49721"/>
                </a:cubicBezTo>
                <a:close/>
                <a:moveTo>
                  <a:pt x="1789633" y="49721"/>
                </a:moveTo>
                <a:cubicBezTo>
                  <a:pt x="1799508" y="49698"/>
                  <a:pt x="1808693" y="50297"/>
                  <a:pt x="1817187" y="51517"/>
                </a:cubicBezTo>
                <a:cubicBezTo>
                  <a:pt x="1825681" y="52737"/>
                  <a:pt x="1833899"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870" y="49721"/>
                </a:moveTo>
                <a:cubicBezTo>
                  <a:pt x="1647903" y="49842"/>
                  <a:pt x="1665443" y="54503"/>
                  <a:pt x="1675491" y="63705"/>
                </a:cubicBezTo>
                <a:cubicBezTo>
                  <a:pt x="1685538" y="72907"/>
                  <a:pt x="1690372" y="85924"/>
                  <a:pt x="1689992" y="102757"/>
                </a:cubicBezTo>
                <a:lnTo>
                  <a:pt x="1689992" y="195568"/>
                </a:lnTo>
                <a:lnTo>
                  <a:pt x="1659608" y="195568"/>
                </a:lnTo>
                <a:lnTo>
                  <a:pt x="1659608" y="108005"/>
                </a:lnTo>
                <a:cubicBezTo>
                  <a:pt x="1659941" y="97111"/>
                  <a:pt x="1657478" y="88997"/>
                  <a:pt x="1652219" y="83662"/>
                </a:cubicBezTo>
                <a:cubicBezTo>
                  <a:pt x="1646959" y="78328"/>
                  <a:pt x="1636900" y="75669"/>
                  <a:pt x="1622041" y="75686"/>
                </a:cubicBezTo>
                <a:cubicBezTo>
                  <a:pt x="1618416" y="75692"/>
                  <a:pt x="1614548" y="75888"/>
                  <a:pt x="1610440" y="76273"/>
                </a:cubicBezTo>
                <a:cubicBezTo>
                  <a:pt x="1606331" y="76659"/>
                  <a:pt x="1602187" y="77200"/>
                  <a:pt x="1598009" y="77896"/>
                </a:cubicBezTo>
                <a:lnTo>
                  <a:pt x="1598009" y="195568"/>
                </a:lnTo>
                <a:lnTo>
                  <a:pt x="1567625" y="195568"/>
                </a:lnTo>
                <a:lnTo>
                  <a:pt x="1567625" y="57456"/>
                </a:lnTo>
                <a:cubicBezTo>
                  <a:pt x="1577471" y="55079"/>
                  <a:pt x="1587265" y="53203"/>
                  <a:pt x="1597008" y="51828"/>
                </a:cubicBezTo>
                <a:cubicBezTo>
                  <a:pt x="1606751" y="50452"/>
                  <a:pt x="1615371" y="49750"/>
                  <a:pt x="1622870" y="49721"/>
                </a:cubicBezTo>
                <a:close/>
                <a:moveTo>
                  <a:pt x="1470336" y="49721"/>
                </a:moveTo>
                <a:cubicBezTo>
                  <a:pt x="1485815" y="49861"/>
                  <a:pt x="1498777" y="53111"/>
                  <a:pt x="1509223" y="59471"/>
                </a:cubicBezTo>
                <a:cubicBezTo>
                  <a:pt x="1519668" y="65831"/>
                  <a:pt x="1527535" y="74462"/>
                  <a:pt x="1532825" y="85365"/>
                </a:cubicBezTo>
                <a:cubicBezTo>
                  <a:pt x="1538114" y="96267"/>
                  <a:pt x="1540764" y="108602"/>
                  <a:pt x="1540774" y="122369"/>
                </a:cubicBezTo>
                <a:cubicBezTo>
                  <a:pt x="1540555" y="146705"/>
                  <a:pt x="1534018" y="165500"/>
                  <a:pt x="1521162" y="178753"/>
                </a:cubicBezTo>
                <a:cubicBezTo>
                  <a:pt x="1508306" y="192006"/>
                  <a:pt x="1490443" y="198716"/>
                  <a:pt x="1467574" y="198883"/>
                </a:cubicBezTo>
                <a:cubicBezTo>
                  <a:pt x="1452360" y="198743"/>
                  <a:pt x="1439544" y="195493"/>
                  <a:pt x="1429128" y="189133"/>
                </a:cubicBezTo>
                <a:cubicBezTo>
                  <a:pt x="1418711" y="182773"/>
                  <a:pt x="1410827" y="174142"/>
                  <a:pt x="1405475" y="163240"/>
                </a:cubicBezTo>
                <a:cubicBezTo>
                  <a:pt x="1400122" y="152337"/>
                  <a:pt x="1397435" y="140003"/>
                  <a:pt x="1397413" y="126236"/>
                </a:cubicBezTo>
                <a:cubicBezTo>
                  <a:pt x="1397655" y="101899"/>
                  <a:pt x="1404215" y="83104"/>
                  <a:pt x="1417094" y="69851"/>
                </a:cubicBezTo>
                <a:cubicBezTo>
                  <a:pt x="1429973" y="56598"/>
                  <a:pt x="1447720" y="49888"/>
                  <a:pt x="1470336" y="49721"/>
                </a:cubicBezTo>
                <a:close/>
                <a:moveTo>
                  <a:pt x="1329662" y="49721"/>
                </a:moveTo>
                <a:cubicBezTo>
                  <a:pt x="1338351" y="49704"/>
                  <a:pt x="1346454" y="50222"/>
                  <a:pt x="1353969" y="51275"/>
                </a:cubicBezTo>
                <a:cubicBezTo>
                  <a:pt x="1361485" y="52328"/>
                  <a:pt x="1368483" y="54020"/>
                  <a:pt x="1374963" y="56351"/>
                </a:cubicBezTo>
                <a:cubicBezTo>
                  <a:pt x="1374709" y="60316"/>
                  <a:pt x="1374249" y="64263"/>
                  <a:pt x="1373581" y="68194"/>
                </a:cubicBezTo>
                <a:cubicBezTo>
                  <a:pt x="1372914" y="72124"/>
                  <a:pt x="1371901" y="76279"/>
                  <a:pt x="1370543" y="80659"/>
                </a:cubicBezTo>
                <a:cubicBezTo>
                  <a:pt x="1364092" y="78604"/>
                  <a:pt x="1357589" y="77119"/>
                  <a:pt x="1351035" y="76204"/>
                </a:cubicBezTo>
                <a:cubicBezTo>
                  <a:pt x="1344480" y="75289"/>
                  <a:pt x="1337632" y="74841"/>
                  <a:pt x="1330490" y="74858"/>
                </a:cubicBezTo>
                <a:cubicBezTo>
                  <a:pt x="1321018" y="74933"/>
                  <a:pt x="1314550" y="76302"/>
                  <a:pt x="1311086" y="78967"/>
                </a:cubicBezTo>
                <a:cubicBezTo>
                  <a:pt x="1307621" y="81631"/>
                  <a:pt x="1305987" y="85141"/>
                  <a:pt x="1306182" y="89498"/>
                </a:cubicBezTo>
                <a:cubicBezTo>
                  <a:pt x="1306165" y="94504"/>
                  <a:pt x="1307926" y="98510"/>
                  <a:pt x="1311465" y="101514"/>
                </a:cubicBezTo>
                <a:cubicBezTo>
                  <a:pt x="1315004" y="104517"/>
                  <a:pt x="1320425" y="107142"/>
                  <a:pt x="1327728" y="109386"/>
                </a:cubicBezTo>
                <a:lnTo>
                  <a:pt x="1342368" y="114082"/>
                </a:lnTo>
                <a:cubicBezTo>
                  <a:pt x="1355414" y="118104"/>
                  <a:pt x="1364955" y="123456"/>
                  <a:pt x="1370992" y="130137"/>
                </a:cubicBezTo>
                <a:cubicBezTo>
                  <a:pt x="1377029" y="136819"/>
                  <a:pt x="1380009" y="145554"/>
                  <a:pt x="1379935" y="156344"/>
                </a:cubicBezTo>
                <a:cubicBezTo>
                  <a:pt x="1379865" y="169114"/>
                  <a:pt x="1375032" y="179346"/>
                  <a:pt x="1365433" y="187040"/>
                </a:cubicBezTo>
                <a:cubicBezTo>
                  <a:pt x="1355834" y="194734"/>
                  <a:pt x="1341885" y="198681"/>
                  <a:pt x="1323585" y="198883"/>
                </a:cubicBezTo>
                <a:cubicBezTo>
                  <a:pt x="1313428" y="198906"/>
                  <a:pt x="1304393" y="198169"/>
                  <a:pt x="1296480" y="196673"/>
                </a:cubicBezTo>
                <a:cubicBezTo>
                  <a:pt x="1288567" y="195177"/>
                  <a:pt x="1281397" y="192783"/>
                  <a:pt x="1274969" y="189491"/>
                </a:cubicBezTo>
                <a:cubicBezTo>
                  <a:pt x="1275245" y="183863"/>
                  <a:pt x="1275729" y="178960"/>
                  <a:pt x="1276419" y="174782"/>
                </a:cubicBezTo>
                <a:cubicBezTo>
                  <a:pt x="1277110" y="170604"/>
                  <a:pt x="1278008" y="166944"/>
                  <a:pt x="1279112" y="163802"/>
                </a:cubicBezTo>
                <a:cubicBezTo>
                  <a:pt x="1285661" y="166985"/>
                  <a:pt x="1292866" y="169390"/>
                  <a:pt x="1300727" y="171019"/>
                </a:cubicBezTo>
                <a:cubicBezTo>
                  <a:pt x="1308588" y="172647"/>
                  <a:pt x="1315931" y="173464"/>
                  <a:pt x="1322756" y="173470"/>
                </a:cubicBezTo>
                <a:cubicBezTo>
                  <a:pt x="1331497" y="173516"/>
                  <a:pt x="1338184" y="172250"/>
                  <a:pt x="1342817" y="169672"/>
                </a:cubicBezTo>
                <a:cubicBezTo>
                  <a:pt x="1347449" y="167094"/>
                  <a:pt x="1349786" y="162928"/>
                  <a:pt x="1349826" y="157173"/>
                </a:cubicBezTo>
                <a:cubicBezTo>
                  <a:pt x="1349757" y="152189"/>
                  <a:pt x="1347823" y="148345"/>
                  <a:pt x="1344025" y="145640"/>
                </a:cubicBezTo>
                <a:cubicBezTo>
                  <a:pt x="1340227" y="142936"/>
                  <a:pt x="1334979" y="140611"/>
                  <a:pt x="1328281" y="138666"/>
                </a:cubicBezTo>
                <a:lnTo>
                  <a:pt x="1314193" y="134246"/>
                </a:lnTo>
                <a:cubicBezTo>
                  <a:pt x="1300434" y="129821"/>
                  <a:pt x="1290731" y="123963"/>
                  <a:pt x="1285086" y="116671"/>
                </a:cubicBezTo>
                <a:cubicBezTo>
                  <a:pt x="1279440" y="109380"/>
                  <a:pt x="1276713" y="100691"/>
                  <a:pt x="1276903" y="90603"/>
                </a:cubicBezTo>
                <a:cubicBezTo>
                  <a:pt x="1276926" y="77781"/>
                  <a:pt x="1281368" y="67791"/>
                  <a:pt x="1290231" y="60632"/>
                </a:cubicBezTo>
                <a:cubicBezTo>
                  <a:pt x="1299093" y="53473"/>
                  <a:pt x="1312236" y="49836"/>
                  <a:pt x="1329662" y="49721"/>
                </a:cubicBezTo>
                <a:close/>
                <a:moveTo>
                  <a:pt x="1238555" y="49721"/>
                </a:moveTo>
                <a:cubicBezTo>
                  <a:pt x="1243354" y="49716"/>
                  <a:pt x="1248119" y="49796"/>
                  <a:pt x="1252850" y="49963"/>
                </a:cubicBezTo>
                <a:cubicBezTo>
                  <a:pt x="1257580" y="50130"/>
                  <a:pt x="1261654" y="50418"/>
                  <a:pt x="1265073" y="50826"/>
                </a:cubicBezTo>
                <a:cubicBezTo>
                  <a:pt x="1265061" y="55534"/>
                  <a:pt x="1264808" y="60275"/>
                  <a:pt x="1264313" y="65052"/>
                </a:cubicBezTo>
                <a:cubicBezTo>
                  <a:pt x="1263818" y="69828"/>
                  <a:pt x="1263151" y="73741"/>
                  <a:pt x="1262310" y="76791"/>
                </a:cubicBezTo>
                <a:cubicBezTo>
                  <a:pt x="1258748" y="76383"/>
                  <a:pt x="1255100" y="76095"/>
                  <a:pt x="1251365" y="75928"/>
                </a:cubicBezTo>
                <a:cubicBezTo>
                  <a:pt x="1247630" y="75761"/>
                  <a:pt x="1243636" y="75681"/>
                  <a:pt x="1239384" y="75686"/>
                </a:cubicBezTo>
                <a:cubicBezTo>
                  <a:pt x="1231926" y="75686"/>
                  <a:pt x="1224468" y="76239"/>
                  <a:pt x="1217010" y="77344"/>
                </a:cubicBezTo>
                <a:lnTo>
                  <a:pt x="1217010" y="195568"/>
                </a:lnTo>
                <a:lnTo>
                  <a:pt x="1186625" y="195568"/>
                </a:lnTo>
                <a:lnTo>
                  <a:pt x="1186625" y="57456"/>
                </a:lnTo>
                <a:cubicBezTo>
                  <a:pt x="1193398" y="55200"/>
                  <a:pt x="1201535" y="53358"/>
                  <a:pt x="1211036" y="51931"/>
                </a:cubicBezTo>
                <a:cubicBezTo>
                  <a:pt x="1220537" y="50504"/>
                  <a:pt x="1229710" y="49767"/>
                  <a:pt x="1238555" y="49721"/>
                </a:cubicBezTo>
                <a:close/>
                <a:moveTo>
                  <a:pt x="1102862" y="49721"/>
                </a:moveTo>
                <a:cubicBezTo>
                  <a:pt x="1124425" y="50182"/>
                  <a:pt x="1140204" y="56374"/>
                  <a:pt x="1150200" y="68297"/>
                </a:cubicBezTo>
                <a:cubicBezTo>
                  <a:pt x="1160196" y="80221"/>
                  <a:pt x="1165133" y="95114"/>
                  <a:pt x="1165012" y="112977"/>
                </a:cubicBezTo>
                <a:cubicBezTo>
                  <a:pt x="1165012" y="117201"/>
                  <a:pt x="1164874" y="121183"/>
                  <a:pt x="1164598" y="124924"/>
                </a:cubicBezTo>
                <a:cubicBezTo>
                  <a:pt x="1164322" y="128664"/>
                  <a:pt x="1163908" y="132508"/>
                  <a:pt x="1163355" y="136456"/>
                </a:cubicBezTo>
                <a:lnTo>
                  <a:pt x="1066400" y="136456"/>
                </a:lnTo>
                <a:cubicBezTo>
                  <a:pt x="1068288" y="148731"/>
                  <a:pt x="1072937" y="157881"/>
                  <a:pt x="1080349" y="163906"/>
                </a:cubicBezTo>
                <a:cubicBezTo>
                  <a:pt x="1087762" y="169931"/>
                  <a:pt x="1098212" y="172935"/>
                  <a:pt x="1111701" y="172918"/>
                </a:cubicBezTo>
                <a:cubicBezTo>
                  <a:pt x="1120028" y="172912"/>
                  <a:pt x="1128303" y="172026"/>
                  <a:pt x="1136527" y="170259"/>
                </a:cubicBezTo>
                <a:cubicBezTo>
                  <a:pt x="1144750" y="168492"/>
                  <a:pt x="1152680" y="165880"/>
                  <a:pt x="1160317" y="162421"/>
                </a:cubicBezTo>
                <a:cubicBezTo>
                  <a:pt x="1159758" y="166507"/>
                  <a:pt x="1159079" y="170973"/>
                  <a:pt x="1158279" y="175818"/>
                </a:cubicBezTo>
                <a:cubicBezTo>
                  <a:pt x="1157479" y="180663"/>
                  <a:pt x="1156593" y="185405"/>
                  <a:pt x="1155621" y="190044"/>
                </a:cubicBezTo>
                <a:cubicBezTo>
                  <a:pt x="1148732" y="193191"/>
                  <a:pt x="1141585" y="195459"/>
                  <a:pt x="1134179" y="196846"/>
                </a:cubicBezTo>
                <a:cubicBezTo>
                  <a:pt x="1126772" y="198233"/>
                  <a:pt x="1119004" y="198912"/>
                  <a:pt x="1110872" y="198883"/>
                </a:cubicBezTo>
                <a:cubicBezTo>
                  <a:pt x="1085494" y="198693"/>
                  <a:pt x="1066573" y="192029"/>
                  <a:pt x="1054108" y="178891"/>
                </a:cubicBezTo>
                <a:cubicBezTo>
                  <a:pt x="1041643" y="165753"/>
                  <a:pt x="1035428" y="147281"/>
                  <a:pt x="1035463" y="123473"/>
                </a:cubicBezTo>
                <a:cubicBezTo>
                  <a:pt x="1035400" y="109606"/>
                  <a:pt x="1037644" y="97135"/>
                  <a:pt x="1042194" y="86060"/>
                </a:cubicBezTo>
                <a:cubicBezTo>
                  <a:pt x="1046745" y="74986"/>
                  <a:pt x="1053982" y="66198"/>
                  <a:pt x="1063904" y="59696"/>
                </a:cubicBezTo>
                <a:cubicBezTo>
                  <a:pt x="1073826" y="53195"/>
                  <a:pt x="1086812" y="49870"/>
                  <a:pt x="1102862"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2" y="162421"/>
                </a:cubicBezTo>
                <a:cubicBezTo>
                  <a:pt x="807333" y="166507"/>
                  <a:pt x="806654" y="170973"/>
                  <a:pt x="805854" y="175818"/>
                </a:cubicBezTo>
                <a:cubicBezTo>
                  <a:pt x="805055"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50" y="76722"/>
                  <a:pt x="259157"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944528" y="28452"/>
                </a:moveTo>
                <a:cubicBezTo>
                  <a:pt x="941173" y="28435"/>
                  <a:pt x="937593" y="28538"/>
                  <a:pt x="933789" y="28763"/>
                </a:cubicBezTo>
                <a:cubicBezTo>
                  <a:pt x="929986" y="28987"/>
                  <a:pt x="926199" y="29436"/>
                  <a:pt x="922430" y="30109"/>
                </a:cubicBezTo>
                <a:lnTo>
                  <a:pt x="922430" y="101375"/>
                </a:lnTo>
                <a:lnTo>
                  <a:pt x="945633" y="101375"/>
                </a:lnTo>
                <a:cubicBezTo>
                  <a:pt x="960790" y="101312"/>
                  <a:pt x="972047" y="98193"/>
                  <a:pt x="979401" y="92018"/>
                </a:cubicBezTo>
                <a:cubicBezTo>
                  <a:pt x="986756" y="85844"/>
                  <a:pt x="990416" y="76993"/>
                  <a:pt x="990381" y="65466"/>
                </a:cubicBezTo>
                <a:cubicBezTo>
                  <a:pt x="990439" y="52927"/>
                  <a:pt x="986733" y="43616"/>
                  <a:pt x="979263" y="37533"/>
                </a:cubicBezTo>
                <a:cubicBezTo>
                  <a:pt x="971793" y="31450"/>
                  <a:pt x="960215" y="28423"/>
                  <a:pt x="944528" y="28452"/>
                </a:cubicBezTo>
                <a:close/>
                <a:moveTo>
                  <a:pt x="2005917" y="4420"/>
                </a:moveTo>
                <a:lnTo>
                  <a:pt x="2120275" y="4420"/>
                </a:lnTo>
                <a:cubicBezTo>
                  <a:pt x="2119998" y="8558"/>
                  <a:pt x="2119584" y="13127"/>
                  <a:pt x="2119032" y="18128"/>
                </a:cubicBezTo>
                <a:cubicBezTo>
                  <a:pt x="2118479" y="23129"/>
                  <a:pt x="2117789" y="27767"/>
                  <a:pt x="2116960" y="32043"/>
                </a:cubicBezTo>
                <a:lnTo>
                  <a:pt x="2036855" y="32043"/>
                </a:lnTo>
                <a:lnTo>
                  <a:pt x="2036855" y="85631"/>
                </a:lnTo>
                <a:lnTo>
                  <a:pt x="2115026" y="85631"/>
                </a:lnTo>
                <a:cubicBezTo>
                  <a:pt x="2114750" y="89636"/>
                  <a:pt x="2114336" y="94124"/>
                  <a:pt x="2113783" y="99097"/>
                </a:cubicBezTo>
                <a:cubicBezTo>
                  <a:pt x="2113231" y="104069"/>
                  <a:pt x="2112540" y="108695"/>
                  <a:pt x="2111712" y="112977"/>
                </a:cubicBezTo>
                <a:lnTo>
                  <a:pt x="2036855" y="112977"/>
                </a:lnTo>
                <a:lnTo>
                  <a:pt x="2036855" y="195568"/>
                </a:lnTo>
                <a:lnTo>
                  <a:pt x="2005917" y="195568"/>
                </a:lnTo>
                <a:close/>
                <a:moveTo>
                  <a:pt x="1902809" y="2211"/>
                </a:moveTo>
                <a:lnTo>
                  <a:pt x="1902809" y="195568"/>
                </a:lnTo>
                <a:lnTo>
                  <a:pt x="1872425" y="195568"/>
                </a:lnTo>
                <a:lnTo>
                  <a:pt x="1872425" y="6630"/>
                </a:lnTo>
                <a:cubicBezTo>
                  <a:pt x="1876488" y="5479"/>
                  <a:pt x="1881345"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1" y="3592"/>
                </a:cubicBezTo>
                <a:cubicBezTo>
                  <a:pt x="644872" y="2717"/>
                  <a:pt x="650143" y="2257"/>
                  <a:pt x="655034" y="2211"/>
                </a:cubicBezTo>
                <a:close/>
                <a:moveTo>
                  <a:pt x="943423" y="1382"/>
                </a:moveTo>
                <a:cubicBezTo>
                  <a:pt x="963261" y="1532"/>
                  <a:pt x="978921" y="4393"/>
                  <a:pt x="990401" y="9965"/>
                </a:cubicBezTo>
                <a:cubicBezTo>
                  <a:pt x="1001882" y="15538"/>
                  <a:pt x="1010032" y="22921"/>
                  <a:pt x="1014852" y="32115"/>
                </a:cubicBezTo>
                <a:cubicBezTo>
                  <a:pt x="1019673" y="41308"/>
                  <a:pt x="1022012" y="51413"/>
                  <a:pt x="1021871" y="62428"/>
                </a:cubicBezTo>
                <a:cubicBezTo>
                  <a:pt x="1021715" y="83283"/>
                  <a:pt x="1015051" y="99373"/>
                  <a:pt x="1001879" y="110698"/>
                </a:cubicBezTo>
                <a:cubicBezTo>
                  <a:pt x="988706" y="122023"/>
                  <a:pt x="969958" y="127755"/>
                  <a:pt x="945633" y="127893"/>
                </a:cubicBezTo>
                <a:lnTo>
                  <a:pt x="922430" y="127893"/>
                </a:lnTo>
                <a:lnTo>
                  <a:pt x="922430" y="195292"/>
                </a:lnTo>
                <a:lnTo>
                  <a:pt x="891492" y="195292"/>
                </a:lnTo>
                <a:lnTo>
                  <a:pt x="891492" y="6906"/>
                </a:lnTo>
                <a:cubicBezTo>
                  <a:pt x="898473" y="5347"/>
                  <a:pt x="906610" y="4046"/>
                  <a:pt x="915904" y="3005"/>
                </a:cubicBezTo>
                <a:cubicBezTo>
                  <a:pt x="925198" y="1963"/>
                  <a:pt x="934371" y="1422"/>
                  <a:pt x="943423" y="1382"/>
                </a:cubicBezTo>
                <a:close/>
                <a:moveTo>
                  <a:pt x="2316242" y="1106"/>
                </a:moveTo>
                <a:cubicBezTo>
                  <a:pt x="2321738" y="1215"/>
                  <a:pt x="2326215" y="2999"/>
                  <a:pt x="2329673" y="6458"/>
                </a:cubicBezTo>
                <a:cubicBezTo>
                  <a:pt x="2333132" y="9916"/>
                  <a:pt x="2334916" y="14393"/>
                  <a:pt x="2335025" y="19889"/>
                </a:cubicBezTo>
                <a:cubicBezTo>
                  <a:pt x="2334916" y="25385"/>
                  <a:pt x="2333132" y="29862"/>
                  <a:pt x="2329673" y="33320"/>
                </a:cubicBezTo>
                <a:cubicBezTo>
                  <a:pt x="2326215" y="36779"/>
                  <a:pt x="2321738" y="38563"/>
                  <a:pt x="2316242" y="38672"/>
                </a:cubicBezTo>
                <a:cubicBezTo>
                  <a:pt x="2310614" y="38563"/>
                  <a:pt x="2306056" y="36779"/>
                  <a:pt x="2302569" y="33320"/>
                </a:cubicBezTo>
                <a:cubicBezTo>
                  <a:pt x="2299082" y="29862"/>
                  <a:pt x="2297286" y="25385"/>
                  <a:pt x="2297183" y="19889"/>
                </a:cubicBezTo>
                <a:cubicBezTo>
                  <a:pt x="2297286" y="14393"/>
                  <a:pt x="2299082" y="9916"/>
                  <a:pt x="2302569" y="6458"/>
                </a:cubicBezTo>
                <a:cubicBezTo>
                  <a:pt x="2306056" y="2999"/>
                  <a:pt x="2310614" y="1215"/>
                  <a:pt x="2316242" y="1106"/>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8"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4"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79"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1"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2"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8" y="112977"/>
                </a:cubicBezTo>
                <a:lnTo>
                  <a:pt x="45301" y="106900"/>
                </a:lnTo>
                <a:cubicBezTo>
                  <a:pt x="32123" y="101473"/>
                  <a:pt x="21603" y="94510"/>
                  <a:pt x="13742" y="86010"/>
                </a:cubicBezTo>
                <a:cubicBezTo>
                  <a:pt x="5881" y="77511"/>
                  <a:pt x="1853" y="66059"/>
                  <a:pt x="1657" y="51655"/>
                </a:cubicBezTo>
                <a:cubicBezTo>
                  <a:pt x="1634" y="35726"/>
                  <a:pt x="7136" y="23181"/>
                  <a:pt x="18162" y="14019"/>
                </a:cubicBezTo>
                <a:cubicBezTo>
                  <a:pt x="29188" y="4858"/>
                  <a:pt x="45877" y="185"/>
                  <a:pt x="68228" y="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171632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1283">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spTree>
    <p:extLst>
      <p:ext uri="{BB962C8B-B14F-4D97-AF65-F5344CB8AC3E}">
        <p14:creationId xmlns:p14="http://schemas.microsoft.com/office/powerpoint/2010/main" val="1221145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2_1/4">
    <p:spTree>
      <p:nvGrpSpPr>
        <p:cNvPr id="1" name=""/>
        <p:cNvGrpSpPr/>
        <p:nvPr/>
      </p:nvGrpSpPr>
      <p:grpSpPr>
        <a:xfrm>
          <a:off x="0" y="0"/>
          <a:ext cx="0" cy="0"/>
          <a:chOff x="0" y="0"/>
          <a:chExt cx="0" cy="0"/>
        </a:xfrm>
      </p:grpSpPr>
      <p:sp>
        <p:nvSpPr>
          <p:cNvPr id="2"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3" name="CuadroTexto 5">
            <a:extLst>
              <a:ext uri="{FF2B5EF4-FFF2-40B4-BE49-F238E27FC236}">
                <a16:creationId xmlns:a16="http://schemas.microsoft.com/office/drawing/2014/main" id="{222FF7D7-7B77-4EEC-8205-A031C02EC565}"/>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pic>
        <p:nvPicPr>
          <p:cNvPr id="4"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5" y="6467037"/>
            <a:ext cx="1223683" cy="214585"/>
          </a:xfrm>
          <a:prstGeom prst="rect">
            <a:avLst/>
          </a:prstGeom>
        </p:spPr>
      </p:pic>
      <p:sp>
        <p:nvSpPr>
          <p:cNvPr id="5"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p:spPr>
        <p:txBody>
          <a:bodyPr anchor="b" anchorCtr="0"/>
          <a:lstStyle>
            <a:lvl1pPr>
              <a:defRPr sz="1000"/>
            </a:lvl1pPr>
          </a:lstStyle>
          <a:p>
            <a:pPr lvl="0"/>
            <a:r>
              <a:rPr lang="en-US" noProof="0"/>
              <a:t>Click to add footnotes</a:t>
            </a:r>
          </a:p>
        </p:txBody>
      </p:sp>
      <p:sp>
        <p:nvSpPr>
          <p:cNvPr id="1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1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cxnSp>
        <p:nvCxnSpPr>
          <p:cNvPr id="13" name="Straight Connector 12">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7BA9BCE-A3E8-411D-907B-B79FCB4A37A3}"/>
              </a:ext>
            </a:extLst>
          </p:cNvPr>
          <p:cNvCxnSpPr/>
          <p:nvPr userDrawn="1"/>
        </p:nvCxnSpPr>
        <p:spPr>
          <a:xfrm>
            <a:off x="550863" y="6421143"/>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p:spPr>
        <p:txBody>
          <a:bodyPr tIns="36000" anchor="t" anchorCtr="0"/>
          <a:lstStyle>
            <a:lvl1pPr>
              <a:defRPr sz="1000"/>
            </a:lvl1pPr>
          </a:lstStyle>
          <a:p>
            <a:pPr lvl="0"/>
            <a:r>
              <a:rPr lang="en-US" noProof="0"/>
              <a:t>Click to add source</a:t>
            </a:r>
          </a:p>
        </p:txBody>
      </p:sp>
      <p:sp>
        <p:nvSpPr>
          <p:cNvPr id="20" name="Rectangle 19">
            <a:extLst>
              <a:ext uri="{FF2B5EF4-FFF2-40B4-BE49-F238E27FC236}">
                <a16:creationId xmlns:a16="http://schemas.microsoft.com/office/drawing/2014/main" id="{974A453A-D419-44F6-8B0F-84C43FCFA567}"/>
              </a:ext>
            </a:extLst>
          </p:cNvPr>
          <p:cNvSpPr/>
          <p:nvPr userDrawn="1"/>
        </p:nvSpPr>
        <p:spPr>
          <a:xfrm>
            <a:off x="8780016" y="1196974"/>
            <a:ext cx="2857012" cy="486092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Content Placeholder 3"/>
          <p:cNvSpPr>
            <a:spLocks noGrp="1"/>
          </p:cNvSpPr>
          <p:nvPr>
            <p:ph sz="quarter" idx="15" hasCustomPrompt="1"/>
          </p:nvPr>
        </p:nvSpPr>
        <p:spPr>
          <a:xfrm>
            <a:off x="550862" y="1240519"/>
            <a:ext cx="7937786"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22" name="Content Placeholder 3"/>
          <p:cNvSpPr>
            <a:spLocks noGrp="1"/>
          </p:cNvSpPr>
          <p:nvPr>
            <p:ph sz="quarter" idx="16" hasCustomPrompt="1"/>
          </p:nvPr>
        </p:nvSpPr>
        <p:spPr>
          <a:xfrm>
            <a:off x="9039225" y="1240518"/>
            <a:ext cx="2438400"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23" name="Content Placeholder 2"/>
          <p:cNvSpPr>
            <a:spLocks noGrp="1"/>
          </p:cNvSpPr>
          <p:nvPr>
            <p:ph sz="quarter" idx="17"/>
          </p:nvPr>
        </p:nvSpPr>
        <p:spPr>
          <a:xfrm>
            <a:off x="9038484" y="1628775"/>
            <a:ext cx="2439141" cy="4176713"/>
          </a:xfrm>
        </p:spPr>
        <p:txBody>
          <a:bodyPr anchor="ctr"/>
          <a:lstStyle>
            <a:lvl1pPr>
              <a:lnSpc>
                <a:spcPct val="100000"/>
              </a:lnSpc>
              <a:spcAft>
                <a:spcPts val="600"/>
              </a:spcAft>
              <a:defRPr/>
            </a:lvl1pPr>
            <a:lvl2pPr>
              <a:lnSpc>
                <a:spcPct val="100000"/>
              </a:lnSpc>
              <a:spcAft>
                <a:spcPts val="600"/>
              </a:spcAft>
              <a:defRPr/>
            </a:lvl2pPr>
            <a:lvl3pPr>
              <a:lnSpc>
                <a:spcPct val="100000"/>
              </a:lnSpc>
              <a:spcAft>
                <a:spcPts val="600"/>
              </a:spcAft>
              <a:defRPr/>
            </a:lvl3pPr>
            <a:lvl4pPr>
              <a:lnSpc>
                <a:spcPct val="100000"/>
              </a:lnSpc>
              <a:spcAft>
                <a:spcPts val="600"/>
              </a:spcAft>
              <a:defRPr/>
            </a:lvl4pPr>
            <a:lvl5pPr>
              <a:lnSpc>
                <a:spcPct val="100000"/>
              </a:lnSpc>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Tree>
    <p:extLst>
      <p:ext uri="{BB962C8B-B14F-4D97-AF65-F5344CB8AC3E}">
        <p14:creationId xmlns:p14="http://schemas.microsoft.com/office/powerpoint/2010/main" val="248087683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7" y="0"/>
            <a:ext cx="12187103" cy="6858000"/>
          </a:xfrm>
          <a:prstGeom prst="rect">
            <a:avLst/>
          </a:prstGeom>
        </p:spPr>
      </p:pic>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spTree>
    <p:extLst>
      <p:ext uri="{BB962C8B-B14F-4D97-AF65-F5344CB8AC3E}">
        <p14:creationId xmlns:p14="http://schemas.microsoft.com/office/powerpoint/2010/main" val="375514601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2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46" y="0"/>
            <a:ext cx="12182205" cy="6858000"/>
          </a:xfrm>
          <a:prstGeom prst="rect">
            <a:avLst/>
          </a:prstGeom>
        </p:spPr>
      </p:pic>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spTree>
    <p:extLst>
      <p:ext uri="{BB962C8B-B14F-4D97-AF65-F5344CB8AC3E}">
        <p14:creationId xmlns:p14="http://schemas.microsoft.com/office/powerpoint/2010/main" val="15789866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2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7" y="0"/>
            <a:ext cx="12187103" cy="6858000"/>
          </a:xfrm>
          <a:prstGeom prst="rect">
            <a:avLst/>
          </a:prstGeom>
        </p:spPr>
      </p:pic>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spTree>
    <p:extLst>
      <p:ext uri="{BB962C8B-B14F-4D97-AF65-F5344CB8AC3E}">
        <p14:creationId xmlns:p14="http://schemas.microsoft.com/office/powerpoint/2010/main" val="301328866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6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7" y="0"/>
            <a:ext cx="12187103" cy="6857999"/>
          </a:xfrm>
          <a:prstGeom prst="rect">
            <a:avLst/>
          </a:prstGeom>
        </p:spPr>
      </p:pic>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spTree>
    <p:extLst>
      <p:ext uri="{BB962C8B-B14F-4D97-AF65-F5344CB8AC3E}">
        <p14:creationId xmlns:p14="http://schemas.microsoft.com/office/powerpoint/2010/main" val="2337941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3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8" y="0"/>
            <a:ext cx="12187102" cy="6857999"/>
          </a:xfrm>
          <a:prstGeom prst="rect">
            <a:avLst/>
          </a:prstGeom>
        </p:spPr>
      </p:pic>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spTree>
    <p:extLst>
      <p:ext uri="{BB962C8B-B14F-4D97-AF65-F5344CB8AC3E}">
        <p14:creationId xmlns:p14="http://schemas.microsoft.com/office/powerpoint/2010/main" val="74182131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4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8" y="0"/>
            <a:ext cx="12187102" cy="6857998"/>
          </a:xfrm>
          <a:prstGeom prst="rect">
            <a:avLst/>
          </a:prstGeom>
        </p:spPr>
      </p:pic>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spTree>
    <p:extLst>
      <p:ext uri="{BB962C8B-B14F-4D97-AF65-F5344CB8AC3E}">
        <p14:creationId xmlns:p14="http://schemas.microsoft.com/office/powerpoint/2010/main" val="130925524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5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9" y="0"/>
            <a:ext cx="12187101" cy="6857998"/>
          </a:xfrm>
          <a:prstGeom prst="rect">
            <a:avLst/>
          </a:prstGeom>
        </p:spPr>
      </p:pic>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spTree>
    <p:extLst>
      <p:ext uri="{BB962C8B-B14F-4D97-AF65-F5344CB8AC3E}">
        <p14:creationId xmlns:p14="http://schemas.microsoft.com/office/powerpoint/2010/main" val="38675489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7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9" y="0"/>
            <a:ext cx="12187101" cy="6857997"/>
          </a:xfrm>
          <a:prstGeom prst="rect">
            <a:avLst/>
          </a:prstGeom>
        </p:spPr>
      </p:pic>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spTree>
    <p:extLst>
      <p:ext uri="{BB962C8B-B14F-4D97-AF65-F5344CB8AC3E}">
        <p14:creationId xmlns:p14="http://schemas.microsoft.com/office/powerpoint/2010/main" val="104344251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8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8" y="0"/>
            <a:ext cx="12187101" cy="6857997"/>
          </a:xfrm>
          <a:prstGeom prst="rect">
            <a:avLst/>
          </a:prstGeom>
        </p:spPr>
      </p:pic>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spTree>
    <p:extLst>
      <p:ext uri="{BB962C8B-B14F-4D97-AF65-F5344CB8AC3E}">
        <p14:creationId xmlns:p14="http://schemas.microsoft.com/office/powerpoint/2010/main" val="1212110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9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8" y="0"/>
            <a:ext cx="12187101" cy="6857996"/>
          </a:xfrm>
          <a:prstGeom prst="rect">
            <a:avLst/>
          </a:prstGeom>
        </p:spPr>
      </p:pic>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spTree>
    <p:extLst>
      <p:ext uri="{BB962C8B-B14F-4D97-AF65-F5344CB8AC3E}">
        <p14:creationId xmlns:p14="http://schemas.microsoft.com/office/powerpoint/2010/main" val="7935935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_Takeaway Layout">
    <p:spTree>
      <p:nvGrpSpPr>
        <p:cNvPr id="1" name=""/>
        <p:cNvGrpSpPr/>
        <p:nvPr/>
      </p:nvGrpSpPr>
      <p:grpSpPr>
        <a:xfrm>
          <a:off x="0" y="0"/>
          <a:ext cx="0" cy="0"/>
          <a:chOff x="0" y="0"/>
          <a:chExt cx="0" cy="0"/>
        </a:xfrm>
      </p:grpSpPr>
      <p:sp>
        <p:nvSpPr>
          <p:cNvPr id="25"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28" name="CuadroTexto 5">
            <a:extLst>
              <a:ext uri="{FF2B5EF4-FFF2-40B4-BE49-F238E27FC236}">
                <a16:creationId xmlns:a16="http://schemas.microsoft.com/office/drawing/2014/main" id="{222FF7D7-7B77-4EEC-8205-A031C02EC565}"/>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pic>
        <p:nvPicPr>
          <p:cNvPr id="29"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5" y="6467037"/>
            <a:ext cx="1223683" cy="214585"/>
          </a:xfrm>
          <a:prstGeom prst="rect">
            <a:avLst/>
          </a:prstGeom>
        </p:spPr>
      </p:pic>
      <p:sp>
        <p:nvSpPr>
          <p:cNvPr id="30"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p:spPr>
        <p:txBody>
          <a:bodyPr anchor="b" anchorCtr="0"/>
          <a:lstStyle>
            <a:lvl1pPr>
              <a:defRPr sz="1000"/>
            </a:lvl1pPr>
          </a:lstStyle>
          <a:p>
            <a:pPr lvl="0"/>
            <a:r>
              <a:rPr lang="en-US" noProof="0"/>
              <a:t>Click to add footnotes</a:t>
            </a:r>
          </a:p>
        </p:txBody>
      </p:sp>
      <p:sp>
        <p:nvSpPr>
          <p:cNvPr id="35" name="Content Placeholder 2"/>
          <p:cNvSpPr>
            <a:spLocks noGrp="1"/>
          </p:cNvSpPr>
          <p:nvPr>
            <p:ph sz="quarter" idx="17"/>
          </p:nvPr>
        </p:nvSpPr>
        <p:spPr>
          <a:xfrm>
            <a:off x="770022" y="5443538"/>
            <a:ext cx="10621846" cy="568988"/>
          </a:xfrm>
        </p:spPr>
        <p:txBody>
          <a:bodyPr tIns="0" rIns="0" anchor="ctr"/>
          <a:lstStyle>
            <a:lvl1pPr>
              <a:lnSpc>
                <a:spcPct val="100000"/>
              </a:lnSpc>
              <a:defRPr/>
            </a:lvl1pPr>
            <a:lvl2pPr>
              <a:buNone/>
              <a:defRPr/>
            </a:lvl2pPr>
          </a:lstStyle>
          <a:p>
            <a:pPr lvl="0"/>
            <a:r>
              <a:rPr lang="en-US"/>
              <a:t>Edit Master text styles</a:t>
            </a:r>
          </a:p>
        </p:txBody>
      </p:sp>
      <p:sp>
        <p:nvSpPr>
          <p:cNvPr id="36"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37"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cxnSp>
        <p:nvCxnSpPr>
          <p:cNvPr id="38" name="Straight Connector 37">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BA9BCE-A3E8-411D-907B-B79FCB4A37A3}"/>
              </a:ext>
            </a:extLst>
          </p:cNvPr>
          <p:cNvCxnSpPr/>
          <p:nvPr userDrawn="1"/>
        </p:nvCxnSpPr>
        <p:spPr>
          <a:xfrm>
            <a:off x="550863" y="6421143"/>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p:spPr>
        <p:txBody>
          <a:bodyPr tIns="36000" anchor="t" anchorCtr="0"/>
          <a:lstStyle>
            <a:lvl1pPr>
              <a:defRPr sz="1000"/>
            </a:lvl1pPr>
          </a:lstStyle>
          <a:p>
            <a:pPr lvl="0"/>
            <a:r>
              <a:rPr lang="en-US" noProof="0"/>
              <a:t>Click to add source</a:t>
            </a:r>
          </a:p>
        </p:txBody>
      </p:sp>
      <p:sp>
        <p:nvSpPr>
          <p:cNvPr id="14" name="Content Placeholder 3"/>
          <p:cNvSpPr>
            <a:spLocks noGrp="1"/>
          </p:cNvSpPr>
          <p:nvPr>
            <p:ph sz="quarter" idx="15" hasCustomPrompt="1"/>
          </p:nvPr>
        </p:nvSpPr>
        <p:spPr>
          <a:xfrm>
            <a:off x="550861" y="1240519"/>
            <a:ext cx="11090275"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Tree>
    <p:extLst>
      <p:ext uri="{BB962C8B-B14F-4D97-AF65-F5344CB8AC3E}">
        <p14:creationId xmlns:p14="http://schemas.microsoft.com/office/powerpoint/2010/main" val="208544382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0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00" y="0"/>
            <a:ext cx="12187100" cy="6857996"/>
          </a:xfrm>
          <a:prstGeom prst="rect">
            <a:avLst/>
          </a:prstGeom>
        </p:spPr>
      </p:pic>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spTree>
    <p:extLst>
      <p:ext uri="{BB962C8B-B14F-4D97-AF65-F5344CB8AC3E}">
        <p14:creationId xmlns:p14="http://schemas.microsoft.com/office/powerpoint/2010/main" val="264826100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1_Cover 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1EAE77AD-5E63-4D2A-9B8E-15EF457951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00" y="0"/>
            <a:ext cx="12187100" cy="6857995"/>
          </a:xfrm>
          <a:prstGeom prst="rect">
            <a:avLst/>
          </a:prstGeom>
        </p:spPr>
      </p:pic>
      <p:sp>
        <p:nvSpPr>
          <p:cNvPr id="2" name="Título 2"/>
          <p:cNvSpPr>
            <a:spLocks noGrp="1"/>
          </p:cNvSpPr>
          <p:nvPr>
            <p:ph type="title"/>
          </p:nvPr>
        </p:nvSpPr>
        <p:spPr>
          <a:xfrm>
            <a:off x="550862" y="2031458"/>
            <a:ext cx="5352397" cy="1962317"/>
          </a:xfrm>
          <a:prstGeom prst="rect">
            <a:avLst/>
          </a:prstGeom>
        </p:spPr>
        <p:txBody>
          <a:bodyPr wrap="square" anchor="b" anchorCtr="0">
            <a:noAutofit/>
          </a:bodyPr>
          <a:lstStyle>
            <a:lvl1pPr>
              <a:defRPr sz="4800">
                <a:solidFill>
                  <a:schemeClr val="tx1"/>
                </a:solidFill>
                <a:latin typeface="Santander Headline" panose="020B0504020201020104" pitchFamily="34" charset="0"/>
              </a:defRPr>
            </a:lvl1pPr>
          </a:lstStyle>
          <a:p>
            <a:r>
              <a:rPr lang="en-US"/>
              <a:t>Click to edit Master title style</a:t>
            </a:r>
            <a:endParaRPr lang="es-ES"/>
          </a:p>
        </p:txBody>
      </p:sp>
      <p:pic>
        <p:nvPicPr>
          <p:cNvPr id="3" name="Gráfico 11">
            <a:extLst>
              <a:ext uri="{FF2B5EF4-FFF2-40B4-BE49-F238E27FC236}">
                <a16:creationId xmlns:a16="http://schemas.microsoft.com/office/drawing/2014/main" id="{EDCB2114-B0DF-45E5-A962-470281EAA2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862" y="415458"/>
            <a:ext cx="2385145" cy="418259"/>
          </a:xfrm>
          <a:prstGeom prst="rect">
            <a:avLst/>
          </a:prstGeom>
        </p:spPr>
      </p:pic>
      <p:sp>
        <p:nvSpPr>
          <p:cNvPr id="4" name="Marcador de texto 2">
            <a:extLst>
              <a:ext uri="{FF2B5EF4-FFF2-40B4-BE49-F238E27FC236}">
                <a16:creationId xmlns:a16="http://schemas.microsoft.com/office/drawing/2014/main" id="{0C171654-C94F-459E-B550-71E092838756}"/>
              </a:ext>
            </a:extLst>
          </p:cNvPr>
          <p:cNvSpPr>
            <a:spLocks noGrp="1"/>
          </p:cNvSpPr>
          <p:nvPr>
            <p:ph idx="1" hasCustomPrompt="1"/>
          </p:nvPr>
        </p:nvSpPr>
        <p:spPr>
          <a:xfrm>
            <a:off x="550863" y="4101353"/>
            <a:ext cx="5352396" cy="309282"/>
          </a:xfrm>
          <a:prstGeom prst="rect">
            <a:avLst/>
          </a:prstGeom>
        </p:spPr>
        <p:txBody>
          <a:bodyPr vert="horz" lIns="0" tIns="0" rIns="0" bIns="0" rtlCol="0">
            <a:noAutofit/>
          </a:bodyPr>
          <a:lstStyle>
            <a:lvl1pPr>
              <a:defRPr sz="2000" b="0">
                <a:solidFill>
                  <a:schemeClr val="bg2"/>
                </a:solidFill>
                <a:latin typeface="Santander Headline" panose="020B0504020201020104"/>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lick to edit Master subtitle style</a:t>
            </a:r>
          </a:p>
        </p:txBody>
      </p:sp>
      <p:sp>
        <p:nvSpPr>
          <p:cNvPr id="5" name="Marcador de texto 2">
            <a:extLst>
              <a:ext uri="{FF2B5EF4-FFF2-40B4-BE49-F238E27FC236}">
                <a16:creationId xmlns:a16="http://schemas.microsoft.com/office/drawing/2014/main" id="{8E960CE4-A643-4C37-9B2B-798AF93711CA}"/>
              </a:ext>
            </a:extLst>
          </p:cNvPr>
          <p:cNvSpPr>
            <a:spLocks noGrp="1"/>
          </p:cNvSpPr>
          <p:nvPr>
            <p:ph idx="10" hasCustomPrompt="1"/>
          </p:nvPr>
        </p:nvSpPr>
        <p:spPr>
          <a:xfrm>
            <a:off x="550863" y="4518212"/>
            <a:ext cx="5352396" cy="188259"/>
          </a:xfrm>
          <a:prstGeom prst="rect">
            <a:avLst/>
          </a:prstGeom>
        </p:spPr>
        <p:txBody>
          <a:bodyPr vert="horz" lIns="0" tIns="0" rIns="0" bIns="0" rtlCol="0">
            <a:noAutofit/>
          </a:bodyPr>
          <a:lstStyle>
            <a:lvl1pPr>
              <a:defRPr sz="16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date or title/role</a:t>
            </a:r>
          </a:p>
        </p:txBody>
      </p:sp>
      <p:sp>
        <p:nvSpPr>
          <p:cNvPr id="7" name="Picture Placeholder 6">
            <a:extLst>
              <a:ext uri="{FF2B5EF4-FFF2-40B4-BE49-F238E27FC236}">
                <a16:creationId xmlns:a16="http://schemas.microsoft.com/office/drawing/2014/main" id="{4C8F069C-8E22-4A63-A1DD-9032013032A9}"/>
              </a:ext>
            </a:extLst>
          </p:cNvPr>
          <p:cNvSpPr>
            <a:spLocks noGrp="1"/>
          </p:cNvSpPr>
          <p:nvPr>
            <p:ph type="pic" sz="quarter" idx="11" hasCustomPrompt="1"/>
          </p:nvPr>
        </p:nvSpPr>
        <p:spPr>
          <a:xfrm>
            <a:off x="550863" y="5002213"/>
            <a:ext cx="1882775" cy="1022350"/>
          </a:xfrm>
          <a:prstGeom prst="rect">
            <a:avLst/>
          </a:prstGeom>
        </p:spPr>
        <p:txBody>
          <a:bodyPr/>
          <a:lstStyle>
            <a:lvl1pPr algn="ctr">
              <a:defRPr sz="1200">
                <a:latin typeface="Santander Text"/>
              </a:defRPr>
            </a:lvl1pPr>
          </a:lstStyle>
          <a:p>
            <a:r>
              <a:rPr lang="en-US" noProof="0"/>
              <a:t>BU/Project logo goes here</a:t>
            </a:r>
          </a:p>
        </p:txBody>
      </p:sp>
      <p:sp>
        <p:nvSpPr>
          <p:cNvPr id="9" name="Marcador de texto 2">
            <a:extLst>
              <a:ext uri="{FF2B5EF4-FFF2-40B4-BE49-F238E27FC236}">
                <a16:creationId xmlns:a16="http://schemas.microsoft.com/office/drawing/2014/main" id="{9A0181DD-A516-4407-94C1-ABC5CEF2F4A6}"/>
              </a:ext>
            </a:extLst>
          </p:cNvPr>
          <p:cNvSpPr>
            <a:spLocks noGrp="1"/>
          </p:cNvSpPr>
          <p:nvPr>
            <p:ph idx="12" hasCustomPrompt="1"/>
          </p:nvPr>
        </p:nvSpPr>
        <p:spPr>
          <a:xfrm>
            <a:off x="550863" y="6226175"/>
            <a:ext cx="5352396" cy="188259"/>
          </a:xfrm>
          <a:prstGeom prst="rect">
            <a:avLst/>
          </a:prstGeom>
        </p:spPr>
        <p:txBody>
          <a:bodyPr vert="horz" lIns="0" tIns="0" rIns="0" bIns="0" rtlCol="0">
            <a:noAutofit/>
          </a:bodyPr>
          <a:lstStyle>
            <a:lvl1pPr>
              <a:defRPr sz="1000">
                <a:solidFill>
                  <a:schemeClr val="bg2"/>
                </a:solidFill>
                <a:latin typeface="Santander Text"/>
              </a:defRPr>
            </a:lvl1p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CONFIDENTIAL</a:t>
            </a:r>
          </a:p>
        </p:txBody>
      </p:sp>
    </p:spTree>
    <p:extLst>
      <p:ext uri="{BB962C8B-B14F-4D97-AF65-F5344CB8AC3E}">
        <p14:creationId xmlns:p14="http://schemas.microsoft.com/office/powerpoint/2010/main" val="98184084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6_Index">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spTree>
    <p:extLst>
      <p:ext uri="{BB962C8B-B14F-4D97-AF65-F5344CB8AC3E}">
        <p14:creationId xmlns:p14="http://schemas.microsoft.com/office/powerpoint/2010/main" val="2293921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7_Layout w/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72C7637-E198-4E44-B59C-3194989054AC}"/>
              </a:ext>
            </a:extLst>
          </p:cNvPr>
          <p:cNvSpPr>
            <a:spLocks noGrp="1"/>
          </p:cNvSpPr>
          <p:nvPr>
            <p:ph type="body" sz="quarter" idx="13"/>
          </p:nvPr>
        </p:nvSpPr>
        <p:spPr>
          <a:xfrm>
            <a:off x="550863" y="1628774"/>
            <a:ext cx="11090275" cy="4500564"/>
          </a:xfrm>
        </p:spPr>
        <p:txBody>
          <a:bodyPr tIns="180000"/>
          <a:lstStyle>
            <a:lvl1pPr>
              <a:lnSpc>
                <a:spcPct val="100000"/>
              </a:lnSpc>
              <a:spcAft>
                <a:spcPts val="600"/>
              </a:spcAft>
              <a:defRPr sz="1600"/>
            </a:lvl1pPr>
            <a:lvl2pPr>
              <a:lnSpc>
                <a:spcPct val="100000"/>
              </a:lnSpc>
              <a:spcAft>
                <a:spcPts val="600"/>
              </a:spcAft>
              <a:defRPr sz="1600"/>
            </a:lvl2pPr>
            <a:lvl3pPr>
              <a:lnSpc>
                <a:spcPct val="100000"/>
              </a:lnSpc>
              <a:spcAft>
                <a:spcPts val="600"/>
              </a:spcAft>
              <a:defRPr sz="1600"/>
            </a:lvl3pPr>
            <a:lvl4pPr>
              <a:lnSpc>
                <a:spcPct val="100000"/>
              </a:lnSpc>
              <a:spcAft>
                <a:spcPts val="600"/>
              </a:spcAft>
              <a:defRPr sz="1600"/>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3"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14"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p:spPr>
        <p:txBody>
          <a:bodyPr anchor="b" anchorCtr="0"/>
          <a:lstStyle>
            <a:lvl1pPr>
              <a:defRPr sz="1000"/>
            </a:lvl1pPr>
          </a:lstStyle>
          <a:p>
            <a:pPr lvl="0"/>
            <a:r>
              <a:rPr lang="en-US" noProof="0"/>
              <a:t>Click to add footnotes</a:t>
            </a:r>
          </a:p>
        </p:txBody>
      </p:sp>
      <p:sp>
        <p:nvSpPr>
          <p:cNvPr id="2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8"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p:spPr>
        <p:txBody>
          <a:bodyPr tIns="36000" anchor="t" anchorCtr="0"/>
          <a:lstStyle>
            <a:lvl1pPr>
              <a:defRPr sz="1000"/>
            </a:lvl1pPr>
          </a:lstStyle>
          <a:p>
            <a:pPr lvl="0"/>
            <a:r>
              <a:rPr lang="en-US" noProof="0"/>
              <a:t>Click to add source</a:t>
            </a:r>
          </a:p>
        </p:txBody>
      </p:sp>
      <p:sp>
        <p:nvSpPr>
          <p:cNvPr id="9"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sp>
        <p:nvSpPr>
          <p:cNvPr id="11" name="Content Placeholder 3"/>
          <p:cNvSpPr>
            <a:spLocks noGrp="1"/>
          </p:cNvSpPr>
          <p:nvPr>
            <p:ph sz="quarter" idx="15" hasCustomPrompt="1"/>
          </p:nvPr>
        </p:nvSpPr>
        <p:spPr>
          <a:xfrm>
            <a:off x="550862" y="1240519"/>
            <a:ext cx="11090275"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table title</a:t>
            </a:r>
          </a:p>
        </p:txBody>
      </p:sp>
    </p:spTree>
    <p:extLst>
      <p:ext uri="{BB962C8B-B14F-4D97-AF65-F5344CB8AC3E}">
        <p14:creationId xmlns:p14="http://schemas.microsoft.com/office/powerpoint/2010/main" val="20934348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Layout wo/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72C7637-E198-4E44-B59C-3194989054AC}"/>
              </a:ext>
            </a:extLst>
          </p:cNvPr>
          <p:cNvSpPr>
            <a:spLocks noGrp="1"/>
          </p:cNvSpPr>
          <p:nvPr>
            <p:ph type="body" sz="quarter" idx="13"/>
          </p:nvPr>
        </p:nvSpPr>
        <p:spPr>
          <a:xfrm>
            <a:off x="550863" y="1628774"/>
            <a:ext cx="11090275" cy="4500564"/>
          </a:xfrm>
        </p:spPr>
        <p:txBody>
          <a:bodyPr tIns="0"/>
          <a:lstStyle>
            <a:lvl1pPr>
              <a:lnSpc>
                <a:spcPct val="100000"/>
              </a:lnSpc>
              <a:spcAft>
                <a:spcPts val="600"/>
              </a:spcAft>
              <a:defRPr sz="1600"/>
            </a:lvl1pPr>
            <a:lvl2pPr>
              <a:lnSpc>
                <a:spcPct val="100000"/>
              </a:lnSpc>
              <a:spcAft>
                <a:spcPts val="600"/>
              </a:spcAft>
              <a:defRPr sz="1600"/>
            </a:lvl2pPr>
            <a:lvl3pPr>
              <a:lnSpc>
                <a:spcPct val="100000"/>
              </a:lnSpc>
              <a:spcAft>
                <a:spcPts val="600"/>
              </a:spcAft>
              <a:defRPr sz="1600"/>
            </a:lvl3pPr>
            <a:lvl4pPr>
              <a:lnSpc>
                <a:spcPct val="100000"/>
              </a:lnSpc>
              <a:spcAft>
                <a:spcPts val="600"/>
              </a:spcAft>
              <a:defRPr sz="1600"/>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3"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14"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p:spPr>
        <p:txBody>
          <a:bodyPr anchor="b" anchorCtr="0"/>
          <a:lstStyle>
            <a:lvl1pPr>
              <a:defRPr sz="1000"/>
            </a:lvl1pPr>
          </a:lstStyle>
          <a:p>
            <a:pPr lvl="0"/>
            <a:r>
              <a:rPr lang="en-US" noProof="0"/>
              <a:t>Click to add footnotes</a:t>
            </a:r>
          </a:p>
        </p:txBody>
      </p:sp>
      <p:sp>
        <p:nvSpPr>
          <p:cNvPr id="2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8"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p:spPr>
        <p:txBody>
          <a:bodyPr tIns="36000" anchor="t" anchorCtr="0"/>
          <a:lstStyle>
            <a:lvl1pPr>
              <a:defRPr sz="1000"/>
            </a:lvl1pPr>
          </a:lstStyle>
          <a:p>
            <a:pPr lvl="0"/>
            <a:r>
              <a:rPr lang="en-US" noProof="0"/>
              <a:t>Click to add source</a:t>
            </a:r>
          </a:p>
        </p:txBody>
      </p:sp>
      <p:sp>
        <p:nvSpPr>
          <p:cNvPr id="9"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spTree>
    <p:extLst>
      <p:ext uri="{BB962C8B-B14F-4D97-AF65-F5344CB8AC3E}">
        <p14:creationId xmlns:p14="http://schemas.microsoft.com/office/powerpoint/2010/main" val="214163417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0_1/2">
    <p:spTree>
      <p:nvGrpSpPr>
        <p:cNvPr id="1" name=""/>
        <p:cNvGrpSpPr/>
        <p:nvPr/>
      </p:nvGrpSpPr>
      <p:grpSpPr>
        <a:xfrm>
          <a:off x="0" y="0"/>
          <a:ext cx="0" cy="0"/>
          <a:chOff x="0" y="0"/>
          <a:chExt cx="0" cy="0"/>
        </a:xfrm>
      </p:grpSpPr>
      <p:sp>
        <p:nvSpPr>
          <p:cNvPr id="2"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3" name="CuadroTexto 5">
            <a:extLst>
              <a:ext uri="{FF2B5EF4-FFF2-40B4-BE49-F238E27FC236}">
                <a16:creationId xmlns:a16="http://schemas.microsoft.com/office/drawing/2014/main" id="{222FF7D7-7B77-4EEC-8205-A031C02EC565}"/>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pic>
        <p:nvPicPr>
          <p:cNvPr id="4"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5" y="6467037"/>
            <a:ext cx="1223683" cy="214585"/>
          </a:xfrm>
          <a:prstGeom prst="rect">
            <a:avLst/>
          </a:prstGeom>
        </p:spPr>
      </p:pic>
      <p:sp>
        <p:nvSpPr>
          <p:cNvPr id="5"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p:spPr>
        <p:txBody>
          <a:bodyPr anchor="b" anchorCtr="0"/>
          <a:lstStyle>
            <a:lvl1pPr>
              <a:defRPr sz="1000"/>
            </a:lvl1pPr>
          </a:lstStyle>
          <a:p>
            <a:pPr lvl="0"/>
            <a:r>
              <a:rPr lang="en-US" noProof="0"/>
              <a:t>Click to add footnotes</a:t>
            </a:r>
          </a:p>
        </p:txBody>
      </p:sp>
      <p:sp>
        <p:nvSpPr>
          <p:cNvPr id="7" name="Rectangle 6">
            <a:extLst>
              <a:ext uri="{FF2B5EF4-FFF2-40B4-BE49-F238E27FC236}">
                <a16:creationId xmlns:a16="http://schemas.microsoft.com/office/drawing/2014/main" id="{974A453A-D419-44F6-8B0F-84C43FCFA567}"/>
              </a:ext>
            </a:extLst>
          </p:cNvPr>
          <p:cNvSpPr/>
          <p:nvPr userDrawn="1"/>
        </p:nvSpPr>
        <p:spPr>
          <a:xfrm>
            <a:off x="6098960" y="1196974"/>
            <a:ext cx="5555824" cy="486092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3"/>
          <p:cNvSpPr>
            <a:spLocks noGrp="1"/>
          </p:cNvSpPr>
          <p:nvPr>
            <p:ph sz="quarter" idx="15" hasCustomPrompt="1"/>
          </p:nvPr>
        </p:nvSpPr>
        <p:spPr>
          <a:xfrm>
            <a:off x="550862" y="1240519"/>
            <a:ext cx="5221219"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9" name="Content Placeholder 3"/>
          <p:cNvSpPr>
            <a:spLocks noGrp="1"/>
          </p:cNvSpPr>
          <p:nvPr>
            <p:ph sz="quarter" idx="16" hasCustomPrompt="1"/>
          </p:nvPr>
        </p:nvSpPr>
        <p:spPr>
          <a:xfrm>
            <a:off x="6381750" y="1240518"/>
            <a:ext cx="5101410"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10" name="Content Placeholder 2"/>
          <p:cNvSpPr>
            <a:spLocks noGrp="1"/>
          </p:cNvSpPr>
          <p:nvPr>
            <p:ph sz="quarter" idx="17"/>
          </p:nvPr>
        </p:nvSpPr>
        <p:spPr>
          <a:xfrm>
            <a:off x="6381532" y="1628775"/>
            <a:ext cx="5115144" cy="4176713"/>
          </a:xfrm>
        </p:spPr>
        <p:txBody>
          <a:bodyPr anchor="ctr"/>
          <a:lstStyle>
            <a:lvl1pPr>
              <a:lnSpc>
                <a:spcPct val="100000"/>
              </a:lnSpc>
              <a:spcAft>
                <a:spcPts val="600"/>
              </a:spcAft>
              <a:defRPr/>
            </a:lvl1pPr>
            <a:lvl2pPr>
              <a:lnSpc>
                <a:spcPct val="100000"/>
              </a:lnSpc>
              <a:spcAft>
                <a:spcPts val="600"/>
              </a:spcAft>
              <a:defRPr/>
            </a:lvl2pPr>
            <a:lvl3pPr>
              <a:lnSpc>
                <a:spcPct val="100000"/>
              </a:lnSpc>
              <a:spcAft>
                <a:spcPts val="600"/>
              </a:spcAft>
              <a:defRPr/>
            </a:lvl3pPr>
            <a:lvl4pPr>
              <a:lnSpc>
                <a:spcPct val="100000"/>
              </a:lnSpc>
              <a:spcAft>
                <a:spcPts val="600"/>
              </a:spcAft>
              <a:defRPr/>
            </a:lvl4pPr>
            <a:lvl5pPr>
              <a:lnSpc>
                <a:spcPct val="100000"/>
              </a:lnSpc>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1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1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cxnSp>
        <p:nvCxnSpPr>
          <p:cNvPr id="13" name="Straight Connector 12">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7BA9BCE-A3E8-411D-907B-B79FCB4A37A3}"/>
              </a:ext>
            </a:extLst>
          </p:cNvPr>
          <p:cNvCxnSpPr/>
          <p:nvPr userDrawn="1"/>
        </p:nvCxnSpPr>
        <p:spPr>
          <a:xfrm>
            <a:off x="550863" y="642140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p:spPr>
        <p:txBody>
          <a:bodyPr tIns="36000" anchor="t" anchorCtr="0"/>
          <a:lstStyle>
            <a:lvl1pPr>
              <a:defRPr sz="1000"/>
            </a:lvl1pPr>
          </a:lstStyle>
          <a:p>
            <a:pPr lvl="0"/>
            <a:r>
              <a:rPr lang="en-US" noProof="0"/>
              <a:t>Click to add source</a:t>
            </a:r>
          </a:p>
        </p:txBody>
      </p:sp>
    </p:spTree>
    <p:extLst>
      <p:ext uri="{BB962C8B-B14F-4D97-AF65-F5344CB8AC3E}">
        <p14:creationId xmlns:p14="http://schemas.microsoft.com/office/powerpoint/2010/main" val="187860495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2_1/4">
    <p:spTree>
      <p:nvGrpSpPr>
        <p:cNvPr id="1" name=""/>
        <p:cNvGrpSpPr/>
        <p:nvPr/>
      </p:nvGrpSpPr>
      <p:grpSpPr>
        <a:xfrm>
          <a:off x="0" y="0"/>
          <a:ext cx="0" cy="0"/>
          <a:chOff x="0" y="0"/>
          <a:chExt cx="0" cy="0"/>
        </a:xfrm>
      </p:grpSpPr>
      <p:sp>
        <p:nvSpPr>
          <p:cNvPr id="2"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3" name="CuadroTexto 5">
            <a:extLst>
              <a:ext uri="{FF2B5EF4-FFF2-40B4-BE49-F238E27FC236}">
                <a16:creationId xmlns:a16="http://schemas.microsoft.com/office/drawing/2014/main" id="{222FF7D7-7B77-4EEC-8205-A031C02EC565}"/>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pic>
        <p:nvPicPr>
          <p:cNvPr id="4"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5" y="6467037"/>
            <a:ext cx="1223683" cy="214585"/>
          </a:xfrm>
          <a:prstGeom prst="rect">
            <a:avLst/>
          </a:prstGeom>
        </p:spPr>
      </p:pic>
      <p:sp>
        <p:nvSpPr>
          <p:cNvPr id="5"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p:spPr>
        <p:txBody>
          <a:bodyPr anchor="b" anchorCtr="0"/>
          <a:lstStyle>
            <a:lvl1pPr>
              <a:defRPr sz="1000"/>
            </a:lvl1pPr>
          </a:lstStyle>
          <a:p>
            <a:pPr lvl="0"/>
            <a:r>
              <a:rPr lang="en-US" noProof="0"/>
              <a:t>Click to add footnotes</a:t>
            </a:r>
          </a:p>
        </p:txBody>
      </p:sp>
      <p:sp>
        <p:nvSpPr>
          <p:cNvPr id="11"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12"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cxnSp>
        <p:nvCxnSpPr>
          <p:cNvPr id="13" name="Straight Connector 12">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7BA9BCE-A3E8-411D-907B-B79FCB4A37A3}"/>
              </a:ext>
            </a:extLst>
          </p:cNvPr>
          <p:cNvCxnSpPr/>
          <p:nvPr userDrawn="1"/>
        </p:nvCxnSpPr>
        <p:spPr>
          <a:xfrm>
            <a:off x="550863" y="6421143"/>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p:spPr>
        <p:txBody>
          <a:bodyPr tIns="36000" anchor="t" anchorCtr="0"/>
          <a:lstStyle>
            <a:lvl1pPr>
              <a:defRPr sz="1000"/>
            </a:lvl1pPr>
          </a:lstStyle>
          <a:p>
            <a:pPr lvl="0"/>
            <a:r>
              <a:rPr lang="en-US" noProof="0"/>
              <a:t>Click to add source</a:t>
            </a:r>
          </a:p>
        </p:txBody>
      </p:sp>
      <p:sp>
        <p:nvSpPr>
          <p:cNvPr id="20" name="Rectangle 19">
            <a:extLst>
              <a:ext uri="{FF2B5EF4-FFF2-40B4-BE49-F238E27FC236}">
                <a16:creationId xmlns:a16="http://schemas.microsoft.com/office/drawing/2014/main" id="{974A453A-D419-44F6-8B0F-84C43FCFA567}"/>
              </a:ext>
            </a:extLst>
          </p:cNvPr>
          <p:cNvSpPr/>
          <p:nvPr userDrawn="1"/>
        </p:nvSpPr>
        <p:spPr>
          <a:xfrm>
            <a:off x="8780016" y="1196974"/>
            <a:ext cx="2857012" cy="486092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Content Placeholder 3"/>
          <p:cNvSpPr>
            <a:spLocks noGrp="1"/>
          </p:cNvSpPr>
          <p:nvPr>
            <p:ph sz="quarter" idx="15" hasCustomPrompt="1"/>
          </p:nvPr>
        </p:nvSpPr>
        <p:spPr>
          <a:xfrm>
            <a:off x="550862" y="1240519"/>
            <a:ext cx="7937786"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22" name="Content Placeholder 3"/>
          <p:cNvSpPr>
            <a:spLocks noGrp="1"/>
          </p:cNvSpPr>
          <p:nvPr>
            <p:ph sz="quarter" idx="16" hasCustomPrompt="1"/>
          </p:nvPr>
        </p:nvSpPr>
        <p:spPr>
          <a:xfrm>
            <a:off x="9039225" y="1240518"/>
            <a:ext cx="2438400"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
        <p:nvSpPr>
          <p:cNvPr id="23" name="Content Placeholder 2"/>
          <p:cNvSpPr>
            <a:spLocks noGrp="1"/>
          </p:cNvSpPr>
          <p:nvPr>
            <p:ph sz="quarter" idx="17"/>
          </p:nvPr>
        </p:nvSpPr>
        <p:spPr>
          <a:xfrm>
            <a:off x="9038484" y="1628775"/>
            <a:ext cx="2439141" cy="4176713"/>
          </a:xfrm>
        </p:spPr>
        <p:txBody>
          <a:bodyPr anchor="ctr"/>
          <a:lstStyle>
            <a:lvl1pPr>
              <a:lnSpc>
                <a:spcPct val="100000"/>
              </a:lnSpc>
              <a:spcAft>
                <a:spcPts val="600"/>
              </a:spcAft>
              <a:defRPr/>
            </a:lvl1pPr>
            <a:lvl2pPr>
              <a:lnSpc>
                <a:spcPct val="100000"/>
              </a:lnSpc>
              <a:spcAft>
                <a:spcPts val="600"/>
              </a:spcAft>
              <a:defRPr/>
            </a:lvl2pPr>
            <a:lvl3pPr>
              <a:lnSpc>
                <a:spcPct val="100000"/>
              </a:lnSpc>
              <a:spcAft>
                <a:spcPts val="600"/>
              </a:spcAft>
              <a:defRPr/>
            </a:lvl3pPr>
            <a:lvl4pPr>
              <a:lnSpc>
                <a:spcPct val="100000"/>
              </a:lnSpc>
              <a:spcAft>
                <a:spcPts val="600"/>
              </a:spcAft>
              <a:defRPr/>
            </a:lvl4pPr>
            <a:lvl5pPr>
              <a:lnSpc>
                <a:spcPct val="100000"/>
              </a:lnSpc>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BR"/>
          </a:p>
        </p:txBody>
      </p:sp>
    </p:spTree>
    <p:extLst>
      <p:ext uri="{BB962C8B-B14F-4D97-AF65-F5344CB8AC3E}">
        <p14:creationId xmlns:p14="http://schemas.microsoft.com/office/powerpoint/2010/main" val="26523972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3_Takeaway Layout">
    <p:spTree>
      <p:nvGrpSpPr>
        <p:cNvPr id="1" name=""/>
        <p:cNvGrpSpPr/>
        <p:nvPr/>
      </p:nvGrpSpPr>
      <p:grpSpPr>
        <a:xfrm>
          <a:off x="0" y="0"/>
          <a:ext cx="0" cy="0"/>
          <a:chOff x="0" y="0"/>
          <a:chExt cx="0" cy="0"/>
        </a:xfrm>
      </p:grpSpPr>
      <p:sp>
        <p:nvSpPr>
          <p:cNvPr id="25" name="CuadroTexto 5">
            <a:extLst>
              <a:ext uri="{FF2B5EF4-FFF2-40B4-BE49-F238E27FC236}">
                <a16:creationId xmlns:a16="http://schemas.microsoft.com/office/drawing/2014/main" id="{4355AB1E-66FF-4C7B-95B6-6E8B522B05A6}"/>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sp>
        <p:nvSpPr>
          <p:cNvPr id="28" name="CuadroTexto 5">
            <a:extLst>
              <a:ext uri="{FF2B5EF4-FFF2-40B4-BE49-F238E27FC236}">
                <a16:creationId xmlns:a16="http://schemas.microsoft.com/office/drawing/2014/main" id="{222FF7D7-7B77-4EEC-8205-A031C02EC565}"/>
              </a:ext>
            </a:extLst>
          </p:cNvPr>
          <p:cNvSpPr txBox="1"/>
          <p:nvPr userDrawn="1"/>
        </p:nvSpPr>
        <p:spPr>
          <a:xfrm>
            <a:off x="9948535" y="6456770"/>
            <a:ext cx="1706251" cy="292388"/>
          </a:xfrm>
          <a:prstGeom prst="rect">
            <a:avLst/>
          </a:prstGeom>
          <a:noFill/>
        </p:spPr>
        <p:txBody>
          <a:bodyPr wrap="square" lIns="0" tIns="0" rIns="0" bIns="0" rtlCol="0" anchor="ctr" anchorCtr="0">
            <a:noAutofit/>
          </a:bodyPr>
          <a:lstStyle/>
          <a:p>
            <a:pPr algn="r" defTabSz="912754"/>
            <a:fld id="{DB0C6F71-F88D-45D5-A0AB-EA235CD66EB9}" type="slidenum">
              <a:rPr lang="en-US" sz="1298" noProof="0" smtClean="0">
                <a:solidFill>
                  <a:schemeClr val="tx1"/>
                </a:solidFill>
                <a:latin typeface="Santander Text" panose="020B0504020201020104" pitchFamily="34" charset="0"/>
              </a:rPr>
              <a:pPr algn="r" defTabSz="912754"/>
              <a:t>‹#›</a:t>
            </a:fld>
            <a:endParaRPr lang="en-US" sz="1298" noProof="0">
              <a:solidFill>
                <a:schemeClr val="tx1"/>
              </a:solidFill>
              <a:latin typeface="Santander Text" panose="020B0504020201020104" pitchFamily="34" charset="0"/>
            </a:endParaRPr>
          </a:p>
        </p:txBody>
      </p:sp>
      <p:pic>
        <p:nvPicPr>
          <p:cNvPr id="29" name="Gráfico 11">
            <a:extLst>
              <a:ext uri="{FF2B5EF4-FFF2-40B4-BE49-F238E27FC236}">
                <a16:creationId xmlns:a16="http://schemas.microsoft.com/office/drawing/2014/main" id="{7A2AEEF6-6218-4506-9DAB-E72E2C284B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68185" y="6467037"/>
            <a:ext cx="1223683" cy="214585"/>
          </a:xfrm>
          <a:prstGeom prst="rect">
            <a:avLst/>
          </a:prstGeom>
        </p:spPr>
      </p:pic>
      <p:sp>
        <p:nvSpPr>
          <p:cNvPr id="30" name="Text Placeholder 5">
            <a:extLst>
              <a:ext uri="{FF2B5EF4-FFF2-40B4-BE49-F238E27FC236}">
                <a16:creationId xmlns:a16="http://schemas.microsoft.com/office/drawing/2014/main" id="{FF1E6C11-1D2B-4A31-B63D-7ABD56F26F13}"/>
              </a:ext>
            </a:extLst>
          </p:cNvPr>
          <p:cNvSpPr>
            <a:spLocks noGrp="1"/>
          </p:cNvSpPr>
          <p:nvPr>
            <p:ph type="body" sz="quarter" idx="11" hasCustomPrompt="1"/>
          </p:nvPr>
        </p:nvSpPr>
        <p:spPr>
          <a:xfrm>
            <a:off x="550863" y="6163969"/>
            <a:ext cx="11090275" cy="225519"/>
          </a:xfrm>
        </p:spPr>
        <p:txBody>
          <a:bodyPr anchor="b" anchorCtr="0"/>
          <a:lstStyle>
            <a:lvl1pPr>
              <a:defRPr sz="1000"/>
            </a:lvl1pPr>
          </a:lstStyle>
          <a:p>
            <a:pPr lvl="0"/>
            <a:r>
              <a:rPr lang="en-US" noProof="0"/>
              <a:t>Click to add footnotes</a:t>
            </a:r>
          </a:p>
        </p:txBody>
      </p:sp>
      <p:sp>
        <p:nvSpPr>
          <p:cNvPr id="32" name="Rectangle 31">
            <a:extLst>
              <a:ext uri="{FF2B5EF4-FFF2-40B4-BE49-F238E27FC236}">
                <a16:creationId xmlns:a16="http://schemas.microsoft.com/office/drawing/2014/main" id="{974A453A-D419-44F6-8B0F-84C43FCFA567}"/>
              </a:ext>
            </a:extLst>
          </p:cNvPr>
          <p:cNvSpPr/>
          <p:nvPr userDrawn="1"/>
        </p:nvSpPr>
        <p:spPr>
          <a:xfrm>
            <a:off x="550861" y="5376863"/>
            <a:ext cx="11103922" cy="6791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Content Placeholder 2"/>
          <p:cNvSpPr>
            <a:spLocks noGrp="1"/>
          </p:cNvSpPr>
          <p:nvPr>
            <p:ph sz="quarter" idx="17"/>
          </p:nvPr>
        </p:nvSpPr>
        <p:spPr>
          <a:xfrm>
            <a:off x="770022" y="5443538"/>
            <a:ext cx="10621846" cy="568988"/>
          </a:xfrm>
        </p:spPr>
        <p:txBody>
          <a:bodyPr tIns="0" rIns="0" anchor="ctr"/>
          <a:lstStyle>
            <a:lvl1pPr>
              <a:lnSpc>
                <a:spcPct val="100000"/>
              </a:lnSpc>
              <a:defRPr/>
            </a:lvl1pPr>
            <a:lvl2pPr>
              <a:buNone/>
              <a:defRPr/>
            </a:lvl2pPr>
          </a:lstStyle>
          <a:p>
            <a:pPr lvl="0"/>
            <a:r>
              <a:rPr lang="en-US"/>
              <a:t>Edit Master text styles</a:t>
            </a:r>
          </a:p>
        </p:txBody>
      </p:sp>
      <p:sp>
        <p:nvSpPr>
          <p:cNvPr id="36" name="Text Placeholder 11">
            <a:extLst>
              <a:ext uri="{FF2B5EF4-FFF2-40B4-BE49-F238E27FC236}">
                <a16:creationId xmlns:a16="http://schemas.microsoft.com/office/drawing/2014/main" id="{C263FE03-C867-440D-AA56-D5EC4928C162}"/>
              </a:ext>
            </a:extLst>
          </p:cNvPr>
          <p:cNvSpPr>
            <a:spLocks noGrp="1"/>
          </p:cNvSpPr>
          <p:nvPr>
            <p:ph type="body" sz="quarter" idx="14" hasCustomPrompt="1"/>
          </p:nvPr>
        </p:nvSpPr>
        <p:spPr>
          <a:xfrm>
            <a:off x="8942388" y="36032"/>
            <a:ext cx="2698750" cy="201613"/>
          </a:xfrm>
        </p:spPr>
        <p:txBody>
          <a:bodyPr anchor="b"/>
          <a:lstStyle>
            <a:lvl1pPr algn="r">
              <a:defRPr sz="1000"/>
            </a:lvl1pPr>
          </a:lstStyle>
          <a:p>
            <a:pPr lvl="0"/>
            <a:r>
              <a:rPr lang="en-US" noProof="0"/>
              <a:t>Chapter # &gt; Topic</a:t>
            </a:r>
          </a:p>
        </p:txBody>
      </p:sp>
      <p:sp>
        <p:nvSpPr>
          <p:cNvPr id="37" name="Marcador de título 1">
            <a:extLst>
              <a:ext uri="{FF2B5EF4-FFF2-40B4-BE49-F238E27FC236}">
                <a16:creationId xmlns:a16="http://schemas.microsoft.com/office/drawing/2014/main" id="{A508141E-100E-4635-9FC3-353399DFCC84}"/>
              </a:ext>
            </a:extLst>
          </p:cNvPr>
          <p:cNvSpPr>
            <a:spLocks noGrp="1"/>
          </p:cNvSpPr>
          <p:nvPr>
            <p:ph type="title" hasCustomPrompt="1"/>
          </p:nvPr>
        </p:nvSpPr>
        <p:spPr>
          <a:xfrm>
            <a:off x="550862" y="264279"/>
            <a:ext cx="11090275" cy="614413"/>
          </a:xfrm>
          <a:prstGeom prst="rect">
            <a:avLst/>
          </a:prstGeom>
        </p:spPr>
        <p:txBody>
          <a:bodyPr vert="horz" lIns="0" tIns="0" rIns="0" bIns="0" rtlCol="0" anchor="b">
            <a:noAutofit/>
          </a:bodyPr>
          <a:lstStyle>
            <a:lvl1pPr>
              <a:lnSpc>
                <a:spcPts val="2400"/>
              </a:lnSpc>
              <a:defRPr/>
            </a:lvl1pPr>
          </a:lstStyle>
          <a:p>
            <a:r>
              <a:rPr lang="en-US"/>
              <a:t>Click to edit title</a:t>
            </a:r>
            <a:endParaRPr lang="es-ES"/>
          </a:p>
        </p:txBody>
      </p:sp>
      <p:cxnSp>
        <p:nvCxnSpPr>
          <p:cNvPr id="38" name="Straight Connector 37">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BA9BCE-A3E8-411D-907B-B79FCB4A37A3}"/>
              </a:ext>
            </a:extLst>
          </p:cNvPr>
          <p:cNvCxnSpPr/>
          <p:nvPr userDrawn="1"/>
        </p:nvCxnSpPr>
        <p:spPr>
          <a:xfrm>
            <a:off x="550863" y="6421143"/>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0F67991D-861B-4E66-A805-196556818936}"/>
              </a:ext>
            </a:extLst>
          </p:cNvPr>
          <p:cNvSpPr>
            <a:spLocks noGrp="1"/>
          </p:cNvSpPr>
          <p:nvPr>
            <p:ph type="body" sz="quarter" idx="12" hasCustomPrompt="1"/>
          </p:nvPr>
        </p:nvSpPr>
        <p:spPr>
          <a:xfrm>
            <a:off x="550863" y="6426494"/>
            <a:ext cx="9561512" cy="230187"/>
          </a:xfrm>
        </p:spPr>
        <p:txBody>
          <a:bodyPr tIns="36000" anchor="t" anchorCtr="0"/>
          <a:lstStyle>
            <a:lvl1pPr>
              <a:defRPr sz="1000"/>
            </a:lvl1pPr>
          </a:lstStyle>
          <a:p>
            <a:pPr lvl="0"/>
            <a:r>
              <a:rPr lang="en-US" noProof="0"/>
              <a:t>Click to add source</a:t>
            </a:r>
          </a:p>
        </p:txBody>
      </p:sp>
      <p:sp>
        <p:nvSpPr>
          <p:cNvPr id="14" name="Content Placeholder 3"/>
          <p:cNvSpPr>
            <a:spLocks noGrp="1"/>
          </p:cNvSpPr>
          <p:nvPr>
            <p:ph sz="quarter" idx="15" hasCustomPrompt="1"/>
          </p:nvPr>
        </p:nvSpPr>
        <p:spPr>
          <a:xfrm>
            <a:off x="550861" y="1240519"/>
            <a:ext cx="11090275" cy="278374"/>
          </a:xfrm>
        </p:spPr>
        <p:txBody>
          <a:bodyPr anchor="b"/>
          <a:lstStyle>
            <a:lvl1pPr>
              <a:defRPr lang="en-US" sz="1800" b="1" kern="1200" baseline="0" dirty="0" smtClean="0">
                <a:solidFill>
                  <a:schemeClr val="tx2"/>
                </a:solidFill>
                <a:latin typeface="Santander Text"/>
                <a:ea typeface="+mn-ea"/>
                <a:cs typeface="+mn-cs"/>
              </a:defRPr>
            </a:lvl1pPr>
          </a:lstStyle>
          <a:p>
            <a:pPr lvl="0"/>
            <a:r>
              <a:rPr lang="en-US"/>
              <a:t>Chart title</a:t>
            </a:r>
          </a:p>
        </p:txBody>
      </p:sp>
    </p:spTree>
    <p:extLst>
      <p:ext uri="{BB962C8B-B14F-4D97-AF65-F5344CB8AC3E}">
        <p14:creationId xmlns:p14="http://schemas.microsoft.com/office/powerpoint/2010/main" val="240233119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4_ThankYou">
    <p:spTree>
      <p:nvGrpSpPr>
        <p:cNvPr id="1" name=""/>
        <p:cNvGrpSpPr/>
        <p:nvPr/>
      </p:nvGrpSpPr>
      <p:grpSpPr>
        <a:xfrm>
          <a:off x="0" y="0"/>
          <a:ext cx="0" cy="0"/>
          <a:chOff x="0" y="0"/>
          <a:chExt cx="0" cy="0"/>
        </a:xfrm>
      </p:grpSpPr>
      <p:pic>
        <p:nvPicPr>
          <p:cNvPr id="11" name="Imagem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 y="5117"/>
            <a:ext cx="12190560" cy="6856620"/>
          </a:xfrm>
          <a:prstGeom prst="rect">
            <a:avLst/>
          </a:prstGeom>
        </p:spPr>
      </p:pic>
      <p:sp>
        <p:nvSpPr>
          <p:cNvPr id="4" name="Freeform: Shape 14">
            <a:extLst>
              <a:ext uri="{FF2B5EF4-FFF2-40B4-BE49-F238E27FC236}">
                <a16:creationId xmlns:a16="http://schemas.microsoft.com/office/drawing/2014/main" id="{80DAC009-2BB8-4885-AC03-9FD05C47BE65}"/>
              </a:ext>
            </a:extLst>
          </p:cNvPr>
          <p:cNvSpPr/>
          <p:nvPr userDrawn="1"/>
        </p:nvSpPr>
        <p:spPr>
          <a:xfrm>
            <a:off x="7262226" y="2188307"/>
            <a:ext cx="2446172" cy="248603"/>
          </a:xfrm>
          <a:custGeom>
            <a:avLst/>
            <a:gdLst/>
            <a:ahLst/>
            <a:cxnLst/>
            <a:rect l="l" t="t" r="r" b="b"/>
            <a:pathLst>
              <a:path w="2446172" h="248603">
                <a:moveTo>
                  <a:pt x="2218258" y="75686"/>
                </a:moveTo>
                <a:cubicBezTo>
                  <a:pt x="2202560" y="75848"/>
                  <a:pt x="2190935" y="80359"/>
                  <a:pt x="2183385" y="89222"/>
                </a:cubicBezTo>
                <a:cubicBezTo>
                  <a:pt x="2175835" y="98084"/>
                  <a:pt x="2172083" y="110330"/>
                  <a:pt x="2172129" y="125959"/>
                </a:cubicBezTo>
                <a:cubicBezTo>
                  <a:pt x="2172037" y="140289"/>
                  <a:pt x="2175052" y="151821"/>
                  <a:pt x="2181175" y="160557"/>
                </a:cubicBezTo>
                <a:cubicBezTo>
                  <a:pt x="2187298" y="169292"/>
                  <a:pt x="2197081" y="173781"/>
                  <a:pt x="2210524" y="174023"/>
                </a:cubicBezTo>
                <a:cubicBezTo>
                  <a:pt x="2216451" y="173988"/>
                  <a:pt x="2221861" y="173090"/>
                  <a:pt x="2226752" y="171329"/>
                </a:cubicBezTo>
                <a:cubicBezTo>
                  <a:pt x="2231644" y="169568"/>
                  <a:pt x="2236086" y="167151"/>
                  <a:pt x="2240080" y="164078"/>
                </a:cubicBezTo>
                <a:lnTo>
                  <a:pt x="2240080" y="77344"/>
                </a:lnTo>
                <a:cubicBezTo>
                  <a:pt x="2236926" y="76791"/>
                  <a:pt x="2233566" y="76377"/>
                  <a:pt x="2229998" y="76101"/>
                </a:cubicBezTo>
                <a:cubicBezTo>
                  <a:pt x="2226430" y="75825"/>
                  <a:pt x="2222517" y="75686"/>
                  <a:pt x="2218258"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469508" y="75686"/>
                </a:moveTo>
                <a:cubicBezTo>
                  <a:pt x="1455466" y="75859"/>
                  <a:pt x="1445085" y="80210"/>
                  <a:pt x="1438363" y="88738"/>
                </a:cubicBezTo>
                <a:cubicBezTo>
                  <a:pt x="1431642" y="97267"/>
                  <a:pt x="1428304" y="108937"/>
                  <a:pt x="1428350" y="123750"/>
                </a:cubicBezTo>
                <a:cubicBezTo>
                  <a:pt x="1428460" y="140663"/>
                  <a:pt x="1432108" y="153104"/>
                  <a:pt x="1439296" y="161075"/>
                </a:cubicBezTo>
                <a:cubicBezTo>
                  <a:pt x="1446483" y="169045"/>
                  <a:pt x="1456554" y="172993"/>
                  <a:pt x="1469508" y="172918"/>
                </a:cubicBezTo>
                <a:cubicBezTo>
                  <a:pt x="1483031" y="172762"/>
                  <a:pt x="1493136" y="168446"/>
                  <a:pt x="1499823" y="159970"/>
                </a:cubicBezTo>
                <a:cubicBezTo>
                  <a:pt x="1506510" y="151493"/>
                  <a:pt x="1509848" y="139788"/>
                  <a:pt x="1509836" y="124855"/>
                </a:cubicBezTo>
                <a:cubicBezTo>
                  <a:pt x="1509710" y="108062"/>
                  <a:pt x="1506096" y="95655"/>
                  <a:pt x="1498995" y="87633"/>
                </a:cubicBezTo>
                <a:cubicBezTo>
                  <a:pt x="1491894" y="79611"/>
                  <a:pt x="1482064" y="75629"/>
                  <a:pt x="14695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1" y="140225"/>
                  <a:pt x="570862" y="124302"/>
                </a:cubicBezTo>
                <a:cubicBezTo>
                  <a:pt x="571012" y="109346"/>
                  <a:pt x="567329" y="97549"/>
                  <a:pt x="559813" y="88911"/>
                </a:cubicBezTo>
                <a:cubicBezTo>
                  <a:pt x="552297" y="80273"/>
                  <a:pt x="540051" y="75865"/>
                  <a:pt x="523075" y="75686"/>
                </a:cubicBezTo>
                <a:close/>
                <a:moveTo>
                  <a:pt x="1101204" y="75134"/>
                </a:moveTo>
                <a:cubicBezTo>
                  <a:pt x="1090460" y="75163"/>
                  <a:pt x="1082185" y="78213"/>
                  <a:pt x="1076379" y="84284"/>
                </a:cubicBezTo>
                <a:cubicBezTo>
                  <a:pt x="1070572" y="90355"/>
                  <a:pt x="1067062" y="99275"/>
                  <a:pt x="1065848" y="111043"/>
                </a:cubicBezTo>
                <a:lnTo>
                  <a:pt x="1134351" y="111043"/>
                </a:lnTo>
                <a:cubicBezTo>
                  <a:pt x="1134282" y="99637"/>
                  <a:pt x="1131382" y="90821"/>
                  <a:pt x="1125650" y="84595"/>
                </a:cubicBezTo>
                <a:cubicBezTo>
                  <a:pt x="1119919" y="78368"/>
                  <a:pt x="1111770" y="75215"/>
                  <a:pt x="1101204"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301050" y="53036"/>
                </a:moveTo>
                <a:lnTo>
                  <a:pt x="2331434" y="53036"/>
                </a:lnTo>
                <a:lnTo>
                  <a:pt x="2331434" y="195568"/>
                </a:lnTo>
                <a:lnTo>
                  <a:pt x="2301050" y="195568"/>
                </a:lnTo>
                <a:close/>
                <a:moveTo>
                  <a:pt x="157925" y="53036"/>
                </a:moveTo>
                <a:lnTo>
                  <a:pt x="188309" y="53036"/>
                </a:lnTo>
                <a:lnTo>
                  <a:pt x="188309" y="195568"/>
                </a:lnTo>
                <a:lnTo>
                  <a:pt x="157925" y="195568"/>
                </a:lnTo>
                <a:close/>
                <a:moveTo>
                  <a:pt x="2419655" y="49721"/>
                </a:moveTo>
                <a:cubicBezTo>
                  <a:pt x="2424454" y="49716"/>
                  <a:pt x="2429219" y="49796"/>
                  <a:pt x="2433950" y="49963"/>
                </a:cubicBezTo>
                <a:cubicBezTo>
                  <a:pt x="2438680" y="50130"/>
                  <a:pt x="2442754" y="50418"/>
                  <a:pt x="2446172" y="50826"/>
                </a:cubicBezTo>
                <a:cubicBezTo>
                  <a:pt x="2446161" y="55534"/>
                  <a:pt x="2445908" y="60275"/>
                  <a:pt x="2445413" y="65052"/>
                </a:cubicBezTo>
                <a:cubicBezTo>
                  <a:pt x="2444918" y="69828"/>
                  <a:pt x="2444250" y="73741"/>
                  <a:pt x="2443410" y="76791"/>
                </a:cubicBezTo>
                <a:cubicBezTo>
                  <a:pt x="2439848" y="76383"/>
                  <a:pt x="2436200" y="76095"/>
                  <a:pt x="2432465" y="75928"/>
                </a:cubicBezTo>
                <a:cubicBezTo>
                  <a:pt x="2428730" y="75761"/>
                  <a:pt x="2424736" y="75681"/>
                  <a:pt x="2420484" y="75686"/>
                </a:cubicBezTo>
                <a:cubicBezTo>
                  <a:pt x="2413026" y="75686"/>
                  <a:pt x="2405567" y="76239"/>
                  <a:pt x="2398109" y="77344"/>
                </a:cubicBezTo>
                <a:lnTo>
                  <a:pt x="2398109" y="195568"/>
                </a:lnTo>
                <a:lnTo>
                  <a:pt x="2367725" y="195568"/>
                </a:lnTo>
                <a:lnTo>
                  <a:pt x="2367725" y="57456"/>
                </a:lnTo>
                <a:cubicBezTo>
                  <a:pt x="2374498" y="55200"/>
                  <a:pt x="2382635" y="53358"/>
                  <a:pt x="2392136" y="51931"/>
                </a:cubicBezTo>
                <a:cubicBezTo>
                  <a:pt x="2401637" y="50504"/>
                  <a:pt x="2410810" y="49767"/>
                  <a:pt x="2419655" y="49721"/>
                </a:cubicBezTo>
                <a:close/>
                <a:moveTo>
                  <a:pt x="2218258" y="49721"/>
                </a:moveTo>
                <a:cubicBezTo>
                  <a:pt x="2228133" y="49698"/>
                  <a:pt x="2237318" y="50297"/>
                  <a:pt x="2245812" y="51517"/>
                </a:cubicBezTo>
                <a:cubicBezTo>
                  <a:pt x="2254306" y="52737"/>
                  <a:pt x="2262523" y="54716"/>
                  <a:pt x="2270465" y="57456"/>
                </a:cubicBezTo>
                <a:lnTo>
                  <a:pt x="2270465" y="195568"/>
                </a:lnTo>
                <a:lnTo>
                  <a:pt x="2242566" y="195568"/>
                </a:lnTo>
                <a:lnTo>
                  <a:pt x="2240909" y="178995"/>
                </a:lnTo>
                <a:cubicBezTo>
                  <a:pt x="2237111" y="185141"/>
                  <a:pt x="2232069" y="189975"/>
                  <a:pt x="2225785" y="193496"/>
                </a:cubicBezTo>
                <a:cubicBezTo>
                  <a:pt x="2219501" y="197018"/>
                  <a:pt x="2211560" y="198814"/>
                  <a:pt x="2201961" y="198883"/>
                </a:cubicBezTo>
                <a:cubicBezTo>
                  <a:pt x="2183477" y="198745"/>
                  <a:pt x="2168791" y="192392"/>
                  <a:pt x="2157903" y="179823"/>
                </a:cubicBezTo>
                <a:cubicBezTo>
                  <a:pt x="2147015" y="167255"/>
                  <a:pt x="2141445" y="149300"/>
                  <a:pt x="2141191" y="125959"/>
                </a:cubicBezTo>
                <a:cubicBezTo>
                  <a:pt x="2141209" y="101514"/>
                  <a:pt x="2147665" y="82730"/>
                  <a:pt x="2160562" y="69610"/>
                </a:cubicBezTo>
                <a:cubicBezTo>
                  <a:pt x="2173458" y="56489"/>
                  <a:pt x="2192690" y="49859"/>
                  <a:pt x="2218258" y="49721"/>
                </a:cubicBezTo>
                <a:close/>
                <a:moveTo>
                  <a:pt x="1789633" y="49721"/>
                </a:moveTo>
                <a:cubicBezTo>
                  <a:pt x="1799508" y="49698"/>
                  <a:pt x="1808693" y="50297"/>
                  <a:pt x="1817187" y="51517"/>
                </a:cubicBezTo>
                <a:cubicBezTo>
                  <a:pt x="1825681" y="52737"/>
                  <a:pt x="1833899"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870" y="49721"/>
                </a:moveTo>
                <a:cubicBezTo>
                  <a:pt x="1647903" y="49842"/>
                  <a:pt x="1665443" y="54503"/>
                  <a:pt x="1675491" y="63705"/>
                </a:cubicBezTo>
                <a:cubicBezTo>
                  <a:pt x="1685538" y="72907"/>
                  <a:pt x="1690372" y="85924"/>
                  <a:pt x="1689992" y="102757"/>
                </a:cubicBezTo>
                <a:lnTo>
                  <a:pt x="1689992" y="195568"/>
                </a:lnTo>
                <a:lnTo>
                  <a:pt x="1659608" y="195568"/>
                </a:lnTo>
                <a:lnTo>
                  <a:pt x="1659608" y="108005"/>
                </a:lnTo>
                <a:cubicBezTo>
                  <a:pt x="1659941" y="97111"/>
                  <a:pt x="1657478" y="88997"/>
                  <a:pt x="1652219" y="83662"/>
                </a:cubicBezTo>
                <a:cubicBezTo>
                  <a:pt x="1646959" y="78328"/>
                  <a:pt x="1636900" y="75669"/>
                  <a:pt x="1622041" y="75686"/>
                </a:cubicBezTo>
                <a:cubicBezTo>
                  <a:pt x="1618416" y="75692"/>
                  <a:pt x="1614548" y="75888"/>
                  <a:pt x="1610440" y="76273"/>
                </a:cubicBezTo>
                <a:cubicBezTo>
                  <a:pt x="1606331" y="76659"/>
                  <a:pt x="1602187" y="77200"/>
                  <a:pt x="1598009" y="77896"/>
                </a:cubicBezTo>
                <a:lnTo>
                  <a:pt x="1598009" y="195568"/>
                </a:lnTo>
                <a:lnTo>
                  <a:pt x="1567625" y="195568"/>
                </a:lnTo>
                <a:lnTo>
                  <a:pt x="1567625" y="57456"/>
                </a:lnTo>
                <a:cubicBezTo>
                  <a:pt x="1577471" y="55079"/>
                  <a:pt x="1587265" y="53203"/>
                  <a:pt x="1597008" y="51828"/>
                </a:cubicBezTo>
                <a:cubicBezTo>
                  <a:pt x="1606751" y="50452"/>
                  <a:pt x="1615371" y="49750"/>
                  <a:pt x="1622870" y="49721"/>
                </a:cubicBezTo>
                <a:close/>
                <a:moveTo>
                  <a:pt x="1470336" y="49721"/>
                </a:moveTo>
                <a:cubicBezTo>
                  <a:pt x="1485815" y="49861"/>
                  <a:pt x="1498777" y="53111"/>
                  <a:pt x="1509223" y="59471"/>
                </a:cubicBezTo>
                <a:cubicBezTo>
                  <a:pt x="1519668" y="65831"/>
                  <a:pt x="1527535" y="74462"/>
                  <a:pt x="1532825" y="85365"/>
                </a:cubicBezTo>
                <a:cubicBezTo>
                  <a:pt x="1538114" y="96267"/>
                  <a:pt x="1540764" y="108602"/>
                  <a:pt x="1540774" y="122369"/>
                </a:cubicBezTo>
                <a:cubicBezTo>
                  <a:pt x="1540555" y="146705"/>
                  <a:pt x="1534018" y="165500"/>
                  <a:pt x="1521162" y="178753"/>
                </a:cubicBezTo>
                <a:cubicBezTo>
                  <a:pt x="1508306" y="192006"/>
                  <a:pt x="1490443" y="198716"/>
                  <a:pt x="1467574" y="198883"/>
                </a:cubicBezTo>
                <a:cubicBezTo>
                  <a:pt x="1452360" y="198743"/>
                  <a:pt x="1439544" y="195493"/>
                  <a:pt x="1429128" y="189133"/>
                </a:cubicBezTo>
                <a:cubicBezTo>
                  <a:pt x="1418711" y="182773"/>
                  <a:pt x="1410827" y="174142"/>
                  <a:pt x="1405475" y="163240"/>
                </a:cubicBezTo>
                <a:cubicBezTo>
                  <a:pt x="1400122" y="152337"/>
                  <a:pt x="1397435" y="140003"/>
                  <a:pt x="1397413" y="126236"/>
                </a:cubicBezTo>
                <a:cubicBezTo>
                  <a:pt x="1397655" y="101899"/>
                  <a:pt x="1404215" y="83104"/>
                  <a:pt x="1417094" y="69851"/>
                </a:cubicBezTo>
                <a:cubicBezTo>
                  <a:pt x="1429973" y="56598"/>
                  <a:pt x="1447720" y="49888"/>
                  <a:pt x="1470336" y="49721"/>
                </a:cubicBezTo>
                <a:close/>
                <a:moveTo>
                  <a:pt x="1329662" y="49721"/>
                </a:moveTo>
                <a:cubicBezTo>
                  <a:pt x="1338351" y="49704"/>
                  <a:pt x="1346454" y="50222"/>
                  <a:pt x="1353969" y="51275"/>
                </a:cubicBezTo>
                <a:cubicBezTo>
                  <a:pt x="1361485" y="52328"/>
                  <a:pt x="1368483" y="54020"/>
                  <a:pt x="1374963" y="56351"/>
                </a:cubicBezTo>
                <a:cubicBezTo>
                  <a:pt x="1374709" y="60316"/>
                  <a:pt x="1374249" y="64263"/>
                  <a:pt x="1373581" y="68194"/>
                </a:cubicBezTo>
                <a:cubicBezTo>
                  <a:pt x="1372914" y="72124"/>
                  <a:pt x="1371901" y="76279"/>
                  <a:pt x="1370543" y="80659"/>
                </a:cubicBezTo>
                <a:cubicBezTo>
                  <a:pt x="1364092" y="78604"/>
                  <a:pt x="1357589" y="77119"/>
                  <a:pt x="1351035" y="76204"/>
                </a:cubicBezTo>
                <a:cubicBezTo>
                  <a:pt x="1344480" y="75289"/>
                  <a:pt x="1337632" y="74841"/>
                  <a:pt x="1330490" y="74858"/>
                </a:cubicBezTo>
                <a:cubicBezTo>
                  <a:pt x="1321018" y="74933"/>
                  <a:pt x="1314550" y="76302"/>
                  <a:pt x="1311086" y="78967"/>
                </a:cubicBezTo>
                <a:cubicBezTo>
                  <a:pt x="1307621" y="81631"/>
                  <a:pt x="1305987" y="85141"/>
                  <a:pt x="1306182" y="89498"/>
                </a:cubicBezTo>
                <a:cubicBezTo>
                  <a:pt x="1306165" y="94504"/>
                  <a:pt x="1307926" y="98510"/>
                  <a:pt x="1311465" y="101514"/>
                </a:cubicBezTo>
                <a:cubicBezTo>
                  <a:pt x="1315004" y="104517"/>
                  <a:pt x="1320425" y="107142"/>
                  <a:pt x="1327728" y="109386"/>
                </a:cubicBezTo>
                <a:lnTo>
                  <a:pt x="1342368" y="114082"/>
                </a:lnTo>
                <a:cubicBezTo>
                  <a:pt x="1355414" y="118104"/>
                  <a:pt x="1364955" y="123456"/>
                  <a:pt x="1370992" y="130137"/>
                </a:cubicBezTo>
                <a:cubicBezTo>
                  <a:pt x="1377029" y="136819"/>
                  <a:pt x="1380009" y="145554"/>
                  <a:pt x="1379935" y="156344"/>
                </a:cubicBezTo>
                <a:cubicBezTo>
                  <a:pt x="1379865" y="169114"/>
                  <a:pt x="1375032" y="179346"/>
                  <a:pt x="1365433" y="187040"/>
                </a:cubicBezTo>
                <a:cubicBezTo>
                  <a:pt x="1355834" y="194734"/>
                  <a:pt x="1341885" y="198681"/>
                  <a:pt x="1323585" y="198883"/>
                </a:cubicBezTo>
                <a:cubicBezTo>
                  <a:pt x="1313428" y="198906"/>
                  <a:pt x="1304393" y="198169"/>
                  <a:pt x="1296480" y="196673"/>
                </a:cubicBezTo>
                <a:cubicBezTo>
                  <a:pt x="1288567" y="195177"/>
                  <a:pt x="1281397" y="192783"/>
                  <a:pt x="1274969" y="189491"/>
                </a:cubicBezTo>
                <a:cubicBezTo>
                  <a:pt x="1275245" y="183863"/>
                  <a:pt x="1275729" y="178960"/>
                  <a:pt x="1276419" y="174782"/>
                </a:cubicBezTo>
                <a:cubicBezTo>
                  <a:pt x="1277110" y="170604"/>
                  <a:pt x="1278008" y="166944"/>
                  <a:pt x="1279112" y="163802"/>
                </a:cubicBezTo>
                <a:cubicBezTo>
                  <a:pt x="1285661" y="166985"/>
                  <a:pt x="1292866" y="169390"/>
                  <a:pt x="1300727" y="171019"/>
                </a:cubicBezTo>
                <a:cubicBezTo>
                  <a:pt x="1308588" y="172647"/>
                  <a:pt x="1315931" y="173464"/>
                  <a:pt x="1322756" y="173470"/>
                </a:cubicBezTo>
                <a:cubicBezTo>
                  <a:pt x="1331497" y="173516"/>
                  <a:pt x="1338184" y="172250"/>
                  <a:pt x="1342817" y="169672"/>
                </a:cubicBezTo>
                <a:cubicBezTo>
                  <a:pt x="1347449" y="167094"/>
                  <a:pt x="1349786" y="162928"/>
                  <a:pt x="1349826" y="157173"/>
                </a:cubicBezTo>
                <a:cubicBezTo>
                  <a:pt x="1349757" y="152189"/>
                  <a:pt x="1347823" y="148345"/>
                  <a:pt x="1344025" y="145640"/>
                </a:cubicBezTo>
                <a:cubicBezTo>
                  <a:pt x="1340227" y="142936"/>
                  <a:pt x="1334979" y="140611"/>
                  <a:pt x="1328281" y="138666"/>
                </a:cubicBezTo>
                <a:lnTo>
                  <a:pt x="1314193" y="134246"/>
                </a:lnTo>
                <a:cubicBezTo>
                  <a:pt x="1300434" y="129821"/>
                  <a:pt x="1290731" y="123963"/>
                  <a:pt x="1285086" y="116671"/>
                </a:cubicBezTo>
                <a:cubicBezTo>
                  <a:pt x="1279440" y="109380"/>
                  <a:pt x="1276713" y="100691"/>
                  <a:pt x="1276903" y="90603"/>
                </a:cubicBezTo>
                <a:cubicBezTo>
                  <a:pt x="1276926" y="77781"/>
                  <a:pt x="1281368" y="67791"/>
                  <a:pt x="1290231" y="60632"/>
                </a:cubicBezTo>
                <a:cubicBezTo>
                  <a:pt x="1299093" y="53473"/>
                  <a:pt x="1312236" y="49836"/>
                  <a:pt x="1329662" y="49721"/>
                </a:cubicBezTo>
                <a:close/>
                <a:moveTo>
                  <a:pt x="1238555" y="49721"/>
                </a:moveTo>
                <a:cubicBezTo>
                  <a:pt x="1243354" y="49716"/>
                  <a:pt x="1248119" y="49796"/>
                  <a:pt x="1252850" y="49963"/>
                </a:cubicBezTo>
                <a:cubicBezTo>
                  <a:pt x="1257580" y="50130"/>
                  <a:pt x="1261654" y="50418"/>
                  <a:pt x="1265073" y="50826"/>
                </a:cubicBezTo>
                <a:cubicBezTo>
                  <a:pt x="1265061" y="55534"/>
                  <a:pt x="1264808" y="60275"/>
                  <a:pt x="1264313" y="65052"/>
                </a:cubicBezTo>
                <a:cubicBezTo>
                  <a:pt x="1263818" y="69828"/>
                  <a:pt x="1263151" y="73741"/>
                  <a:pt x="1262310" y="76791"/>
                </a:cubicBezTo>
                <a:cubicBezTo>
                  <a:pt x="1258748" y="76383"/>
                  <a:pt x="1255100" y="76095"/>
                  <a:pt x="1251365" y="75928"/>
                </a:cubicBezTo>
                <a:cubicBezTo>
                  <a:pt x="1247630" y="75761"/>
                  <a:pt x="1243636" y="75681"/>
                  <a:pt x="1239384" y="75686"/>
                </a:cubicBezTo>
                <a:cubicBezTo>
                  <a:pt x="1231926" y="75686"/>
                  <a:pt x="1224468" y="76239"/>
                  <a:pt x="1217010" y="77344"/>
                </a:cubicBezTo>
                <a:lnTo>
                  <a:pt x="1217010" y="195568"/>
                </a:lnTo>
                <a:lnTo>
                  <a:pt x="1186625" y="195568"/>
                </a:lnTo>
                <a:lnTo>
                  <a:pt x="1186625" y="57456"/>
                </a:lnTo>
                <a:cubicBezTo>
                  <a:pt x="1193398" y="55200"/>
                  <a:pt x="1201535" y="53358"/>
                  <a:pt x="1211036" y="51931"/>
                </a:cubicBezTo>
                <a:cubicBezTo>
                  <a:pt x="1220537" y="50504"/>
                  <a:pt x="1229710" y="49767"/>
                  <a:pt x="1238555" y="49721"/>
                </a:cubicBezTo>
                <a:close/>
                <a:moveTo>
                  <a:pt x="1102862" y="49721"/>
                </a:moveTo>
                <a:cubicBezTo>
                  <a:pt x="1124425" y="50182"/>
                  <a:pt x="1140204" y="56374"/>
                  <a:pt x="1150200" y="68297"/>
                </a:cubicBezTo>
                <a:cubicBezTo>
                  <a:pt x="1160196" y="80221"/>
                  <a:pt x="1165133" y="95114"/>
                  <a:pt x="1165012" y="112977"/>
                </a:cubicBezTo>
                <a:cubicBezTo>
                  <a:pt x="1165012" y="117201"/>
                  <a:pt x="1164874" y="121183"/>
                  <a:pt x="1164598" y="124924"/>
                </a:cubicBezTo>
                <a:cubicBezTo>
                  <a:pt x="1164322" y="128664"/>
                  <a:pt x="1163908" y="132508"/>
                  <a:pt x="1163355" y="136456"/>
                </a:cubicBezTo>
                <a:lnTo>
                  <a:pt x="1066400" y="136456"/>
                </a:lnTo>
                <a:cubicBezTo>
                  <a:pt x="1068288" y="148731"/>
                  <a:pt x="1072937" y="157881"/>
                  <a:pt x="1080349" y="163906"/>
                </a:cubicBezTo>
                <a:cubicBezTo>
                  <a:pt x="1087762" y="169931"/>
                  <a:pt x="1098212" y="172935"/>
                  <a:pt x="1111701" y="172918"/>
                </a:cubicBezTo>
                <a:cubicBezTo>
                  <a:pt x="1120028" y="172912"/>
                  <a:pt x="1128303" y="172026"/>
                  <a:pt x="1136527" y="170259"/>
                </a:cubicBezTo>
                <a:cubicBezTo>
                  <a:pt x="1144750" y="168492"/>
                  <a:pt x="1152680" y="165880"/>
                  <a:pt x="1160317" y="162421"/>
                </a:cubicBezTo>
                <a:cubicBezTo>
                  <a:pt x="1159758" y="166507"/>
                  <a:pt x="1159079" y="170973"/>
                  <a:pt x="1158279" y="175818"/>
                </a:cubicBezTo>
                <a:cubicBezTo>
                  <a:pt x="1157479" y="180663"/>
                  <a:pt x="1156593" y="185405"/>
                  <a:pt x="1155621" y="190044"/>
                </a:cubicBezTo>
                <a:cubicBezTo>
                  <a:pt x="1148732" y="193191"/>
                  <a:pt x="1141585" y="195459"/>
                  <a:pt x="1134179" y="196846"/>
                </a:cubicBezTo>
                <a:cubicBezTo>
                  <a:pt x="1126772" y="198233"/>
                  <a:pt x="1119004" y="198912"/>
                  <a:pt x="1110872" y="198883"/>
                </a:cubicBezTo>
                <a:cubicBezTo>
                  <a:pt x="1085494" y="198693"/>
                  <a:pt x="1066573" y="192029"/>
                  <a:pt x="1054108" y="178891"/>
                </a:cubicBezTo>
                <a:cubicBezTo>
                  <a:pt x="1041643" y="165753"/>
                  <a:pt x="1035428" y="147281"/>
                  <a:pt x="1035463" y="123473"/>
                </a:cubicBezTo>
                <a:cubicBezTo>
                  <a:pt x="1035400" y="109606"/>
                  <a:pt x="1037644" y="97135"/>
                  <a:pt x="1042194" y="86060"/>
                </a:cubicBezTo>
                <a:cubicBezTo>
                  <a:pt x="1046745" y="74986"/>
                  <a:pt x="1053982" y="66198"/>
                  <a:pt x="1063904" y="59696"/>
                </a:cubicBezTo>
                <a:cubicBezTo>
                  <a:pt x="1073826" y="53195"/>
                  <a:pt x="1086812" y="49870"/>
                  <a:pt x="1102862"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2" y="162421"/>
                </a:cubicBezTo>
                <a:cubicBezTo>
                  <a:pt x="807333" y="166507"/>
                  <a:pt x="806654" y="170973"/>
                  <a:pt x="805854" y="175818"/>
                </a:cubicBezTo>
                <a:cubicBezTo>
                  <a:pt x="805055"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50" y="76722"/>
                  <a:pt x="259157"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944528" y="28452"/>
                </a:moveTo>
                <a:cubicBezTo>
                  <a:pt x="941173" y="28435"/>
                  <a:pt x="937593" y="28538"/>
                  <a:pt x="933789" y="28763"/>
                </a:cubicBezTo>
                <a:cubicBezTo>
                  <a:pt x="929986" y="28987"/>
                  <a:pt x="926199" y="29436"/>
                  <a:pt x="922430" y="30109"/>
                </a:cubicBezTo>
                <a:lnTo>
                  <a:pt x="922430" y="101375"/>
                </a:lnTo>
                <a:lnTo>
                  <a:pt x="945633" y="101375"/>
                </a:lnTo>
                <a:cubicBezTo>
                  <a:pt x="960790" y="101312"/>
                  <a:pt x="972047" y="98193"/>
                  <a:pt x="979401" y="92018"/>
                </a:cubicBezTo>
                <a:cubicBezTo>
                  <a:pt x="986756" y="85844"/>
                  <a:pt x="990416" y="76993"/>
                  <a:pt x="990381" y="65466"/>
                </a:cubicBezTo>
                <a:cubicBezTo>
                  <a:pt x="990439" y="52927"/>
                  <a:pt x="986733" y="43616"/>
                  <a:pt x="979263" y="37533"/>
                </a:cubicBezTo>
                <a:cubicBezTo>
                  <a:pt x="971793" y="31450"/>
                  <a:pt x="960215" y="28423"/>
                  <a:pt x="944528" y="28452"/>
                </a:cubicBezTo>
                <a:close/>
                <a:moveTo>
                  <a:pt x="2005917" y="4420"/>
                </a:moveTo>
                <a:lnTo>
                  <a:pt x="2120275" y="4420"/>
                </a:lnTo>
                <a:cubicBezTo>
                  <a:pt x="2119998" y="8558"/>
                  <a:pt x="2119584" y="13127"/>
                  <a:pt x="2119032" y="18128"/>
                </a:cubicBezTo>
                <a:cubicBezTo>
                  <a:pt x="2118479" y="23129"/>
                  <a:pt x="2117789" y="27767"/>
                  <a:pt x="2116960" y="32043"/>
                </a:cubicBezTo>
                <a:lnTo>
                  <a:pt x="2036855" y="32043"/>
                </a:lnTo>
                <a:lnTo>
                  <a:pt x="2036855" y="85631"/>
                </a:lnTo>
                <a:lnTo>
                  <a:pt x="2115026" y="85631"/>
                </a:lnTo>
                <a:cubicBezTo>
                  <a:pt x="2114750" y="89636"/>
                  <a:pt x="2114336" y="94124"/>
                  <a:pt x="2113783" y="99097"/>
                </a:cubicBezTo>
                <a:cubicBezTo>
                  <a:pt x="2113231" y="104069"/>
                  <a:pt x="2112540" y="108695"/>
                  <a:pt x="2111712" y="112977"/>
                </a:cubicBezTo>
                <a:lnTo>
                  <a:pt x="2036855" y="112977"/>
                </a:lnTo>
                <a:lnTo>
                  <a:pt x="2036855" y="195568"/>
                </a:lnTo>
                <a:lnTo>
                  <a:pt x="2005917" y="195568"/>
                </a:lnTo>
                <a:close/>
                <a:moveTo>
                  <a:pt x="1902809" y="2211"/>
                </a:moveTo>
                <a:lnTo>
                  <a:pt x="1902809" y="195568"/>
                </a:lnTo>
                <a:lnTo>
                  <a:pt x="1872425" y="195568"/>
                </a:lnTo>
                <a:lnTo>
                  <a:pt x="1872425" y="6630"/>
                </a:lnTo>
                <a:cubicBezTo>
                  <a:pt x="1876488" y="5479"/>
                  <a:pt x="1881345"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1" y="3592"/>
                </a:cubicBezTo>
                <a:cubicBezTo>
                  <a:pt x="644872" y="2717"/>
                  <a:pt x="650143" y="2257"/>
                  <a:pt x="655034" y="2211"/>
                </a:cubicBezTo>
                <a:close/>
                <a:moveTo>
                  <a:pt x="943423" y="1382"/>
                </a:moveTo>
                <a:cubicBezTo>
                  <a:pt x="963261" y="1532"/>
                  <a:pt x="978921" y="4393"/>
                  <a:pt x="990401" y="9965"/>
                </a:cubicBezTo>
                <a:cubicBezTo>
                  <a:pt x="1001882" y="15538"/>
                  <a:pt x="1010032" y="22921"/>
                  <a:pt x="1014852" y="32115"/>
                </a:cubicBezTo>
                <a:cubicBezTo>
                  <a:pt x="1019673" y="41308"/>
                  <a:pt x="1022012" y="51413"/>
                  <a:pt x="1021871" y="62428"/>
                </a:cubicBezTo>
                <a:cubicBezTo>
                  <a:pt x="1021715" y="83283"/>
                  <a:pt x="1015051" y="99373"/>
                  <a:pt x="1001879" y="110698"/>
                </a:cubicBezTo>
                <a:cubicBezTo>
                  <a:pt x="988706" y="122023"/>
                  <a:pt x="969958" y="127755"/>
                  <a:pt x="945633" y="127893"/>
                </a:cubicBezTo>
                <a:lnTo>
                  <a:pt x="922430" y="127893"/>
                </a:lnTo>
                <a:lnTo>
                  <a:pt x="922430" y="195292"/>
                </a:lnTo>
                <a:lnTo>
                  <a:pt x="891492" y="195292"/>
                </a:lnTo>
                <a:lnTo>
                  <a:pt x="891492" y="6906"/>
                </a:lnTo>
                <a:cubicBezTo>
                  <a:pt x="898473" y="5347"/>
                  <a:pt x="906610" y="4046"/>
                  <a:pt x="915904" y="3005"/>
                </a:cubicBezTo>
                <a:cubicBezTo>
                  <a:pt x="925198" y="1963"/>
                  <a:pt x="934371" y="1422"/>
                  <a:pt x="943423" y="1382"/>
                </a:cubicBezTo>
                <a:close/>
                <a:moveTo>
                  <a:pt x="2316242" y="1106"/>
                </a:moveTo>
                <a:cubicBezTo>
                  <a:pt x="2321738" y="1215"/>
                  <a:pt x="2326215" y="2999"/>
                  <a:pt x="2329673" y="6458"/>
                </a:cubicBezTo>
                <a:cubicBezTo>
                  <a:pt x="2333132" y="9916"/>
                  <a:pt x="2334916" y="14393"/>
                  <a:pt x="2335025" y="19889"/>
                </a:cubicBezTo>
                <a:cubicBezTo>
                  <a:pt x="2334916" y="25385"/>
                  <a:pt x="2333132" y="29862"/>
                  <a:pt x="2329673" y="33320"/>
                </a:cubicBezTo>
                <a:cubicBezTo>
                  <a:pt x="2326215" y="36779"/>
                  <a:pt x="2321738" y="38563"/>
                  <a:pt x="2316242" y="38672"/>
                </a:cubicBezTo>
                <a:cubicBezTo>
                  <a:pt x="2310614" y="38563"/>
                  <a:pt x="2306056" y="36779"/>
                  <a:pt x="2302569" y="33320"/>
                </a:cubicBezTo>
                <a:cubicBezTo>
                  <a:pt x="2299082" y="29862"/>
                  <a:pt x="2297286" y="25385"/>
                  <a:pt x="2297183" y="19889"/>
                </a:cubicBezTo>
                <a:cubicBezTo>
                  <a:pt x="2297286" y="14393"/>
                  <a:pt x="2299082" y="9916"/>
                  <a:pt x="2302569" y="6458"/>
                </a:cubicBezTo>
                <a:cubicBezTo>
                  <a:pt x="2306056" y="2999"/>
                  <a:pt x="2310614" y="1215"/>
                  <a:pt x="2316242" y="1106"/>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8"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4"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79"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1"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2"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8" y="112977"/>
                </a:cubicBezTo>
                <a:lnTo>
                  <a:pt x="45301" y="106900"/>
                </a:lnTo>
                <a:cubicBezTo>
                  <a:pt x="32123" y="101473"/>
                  <a:pt x="21603" y="94510"/>
                  <a:pt x="13742" y="86010"/>
                </a:cubicBezTo>
                <a:cubicBezTo>
                  <a:pt x="5881" y="77511"/>
                  <a:pt x="1853" y="66059"/>
                  <a:pt x="1657" y="51655"/>
                </a:cubicBezTo>
                <a:cubicBezTo>
                  <a:pt x="1634" y="35726"/>
                  <a:pt x="7136" y="23181"/>
                  <a:pt x="18162" y="14019"/>
                </a:cubicBezTo>
                <a:cubicBezTo>
                  <a:pt x="29188" y="4858"/>
                  <a:pt x="45877" y="185"/>
                  <a:pt x="68228" y="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5"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7297514" y="5858102"/>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upo 19">
            <a:extLst>
              <a:ext uri="{FF2B5EF4-FFF2-40B4-BE49-F238E27FC236}">
                <a16:creationId xmlns:a16="http://schemas.microsoft.com/office/drawing/2014/main" id="{246620ED-93B0-4966-8E36-4B883B49E634}"/>
              </a:ext>
            </a:extLst>
          </p:cNvPr>
          <p:cNvGrpSpPr/>
          <p:nvPr userDrawn="1"/>
        </p:nvGrpSpPr>
        <p:grpSpPr>
          <a:xfrm>
            <a:off x="9184030" y="5858534"/>
            <a:ext cx="578707" cy="455017"/>
            <a:chOff x="2203451" y="-4230356"/>
            <a:chExt cx="6896100" cy="5422158"/>
          </a:xfrm>
        </p:grpSpPr>
        <p:pic>
          <p:nvPicPr>
            <p:cNvPr id="7"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8"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5" cstate="screen">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9" name="CuadroTexto 22">
            <a:extLst>
              <a:ext uri="{FF2B5EF4-FFF2-40B4-BE49-F238E27FC236}">
                <a16:creationId xmlns:a16="http://schemas.microsoft.com/office/drawing/2014/main" id="{B163354C-97AE-4FC8-BF01-B7FCA9B2C7C0}"/>
              </a:ext>
            </a:extLst>
          </p:cNvPr>
          <p:cNvSpPr txBox="1"/>
          <p:nvPr userDrawn="1"/>
        </p:nvSpPr>
        <p:spPr>
          <a:xfrm>
            <a:off x="7160628" y="657789"/>
            <a:ext cx="3365478" cy="1167948"/>
          </a:xfrm>
          <a:prstGeom prst="rect">
            <a:avLst/>
          </a:prstGeom>
          <a:noFill/>
        </p:spPr>
        <p:txBody>
          <a:bodyPr wrap="square" rtlCol="0">
            <a:spAutoFit/>
          </a:bodyPr>
          <a:lstStyle/>
          <a:p>
            <a:pPr marL="0" marR="0" lvl="0" indent="0" algn="l" defTabSz="913600" rtl="0" eaLnBrk="1" fontAlgn="auto" latinLnBrk="0" hangingPunct="1">
              <a:lnSpc>
                <a:spcPct val="100000"/>
              </a:lnSpc>
              <a:spcBef>
                <a:spcPts val="0"/>
              </a:spcBef>
              <a:spcAft>
                <a:spcPts val="0"/>
              </a:spcAft>
              <a:buClrTx/>
              <a:buSzTx/>
              <a:buFontTx/>
              <a:buNone/>
              <a:tabLst/>
              <a:defRPr/>
            </a:pPr>
            <a:r>
              <a:rPr kumimoji="0" lang="en-U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Our purpose is to help people </a:t>
            </a:r>
            <a:br>
              <a:rPr kumimoji="0" lang="en-U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br>
            <a:r>
              <a:rPr kumimoji="0" lang="en-U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and businesses prosper.</a:t>
            </a:r>
          </a:p>
          <a:p>
            <a:pPr marL="0" marR="0" lvl="0" indent="0" algn="l" defTabSz="913600" rtl="0" eaLnBrk="1" fontAlgn="auto" latinLnBrk="0" hangingPunct="1">
              <a:lnSpc>
                <a:spcPct val="100000"/>
              </a:lnSpc>
              <a:spcBef>
                <a:spcPts val="0"/>
              </a:spcBef>
              <a:spcAft>
                <a:spcPts val="0"/>
              </a:spcAft>
              <a:buClrTx/>
              <a:buSzTx/>
              <a:buFontTx/>
              <a:buNone/>
              <a:tabLst/>
              <a:defRPr/>
            </a:pPr>
            <a:endParaRPr kumimoji="0" lang="en-U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endParaRPr>
          </a:p>
          <a:p>
            <a:pPr marL="0" marR="0" lvl="0" indent="0" algn="l" defTabSz="913600" rtl="0" eaLnBrk="1" fontAlgn="auto" latinLnBrk="0" hangingPunct="1">
              <a:lnSpc>
                <a:spcPct val="100000"/>
              </a:lnSpc>
              <a:spcBef>
                <a:spcPts val="0"/>
              </a:spcBef>
              <a:spcAft>
                <a:spcPts val="0"/>
              </a:spcAft>
              <a:buClrTx/>
              <a:buSzTx/>
              <a:buFontTx/>
              <a:buNone/>
              <a:tabLst/>
              <a:defRPr/>
            </a:pPr>
            <a:r>
              <a:rPr kumimoji="0" lang="en-U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Our culture is based on believing </a:t>
            </a:r>
            <a:br>
              <a:rPr kumimoji="0" lang="en-U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br>
            <a:r>
              <a:rPr kumimoji="0" lang="en-US"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that everything we do should be:</a:t>
            </a:r>
          </a:p>
        </p:txBody>
      </p:sp>
      <p:sp>
        <p:nvSpPr>
          <p:cNvPr id="13" name="Espaço Reservado para Texto 12"/>
          <p:cNvSpPr>
            <a:spLocks noGrp="1"/>
          </p:cNvSpPr>
          <p:nvPr>
            <p:ph type="body" sz="quarter" idx="10" hasCustomPrompt="1"/>
          </p:nvPr>
        </p:nvSpPr>
        <p:spPr>
          <a:xfrm>
            <a:off x="7218684" y="3799800"/>
            <a:ext cx="4430713" cy="1495794"/>
          </a:xfrm>
          <a:prstGeom prst="rect">
            <a:avLst/>
          </a:prstGeom>
        </p:spPr>
        <p:txBody>
          <a:bodyPr wrap="square" lIns="0" rIns="0">
            <a:spAutoFit/>
          </a:bodyPr>
          <a:lstStyle>
            <a:lvl1pPr marL="0" indent="0">
              <a:buFontTx/>
              <a:buNone/>
              <a:defRPr lang="pt-BR" sz="5400" b="1" spc="-96" baseline="0" smtClean="0">
                <a:solidFill>
                  <a:schemeClr val="accent1"/>
                </a:solidFill>
                <a:latin typeface="Santander Headline" panose="020B0504020201020104" pitchFamily="34" charset="0"/>
                <a:ea typeface="+mj-ea"/>
                <a:cs typeface="Segoe UI Semibold" panose="020B0702040204020203" pitchFamily="34" charset="0"/>
              </a:defRPr>
            </a:lvl1pPr>
            <a:lvl2pPr>
              <a:defRPr lang="pt-BR" smtClean="0"/>
            </a:lvl2pPr>
            <a:lvl3pPr>
              <a:defRPr lang="pt-BR" smtClean="0"/>
            </a:lvl3pPr>
            <a:lvl4pPr>
              <a:defRPr lang="pt-BR" smtClean="0"/>
            </a:lvl4pPr>
            <a:lvl5pPr>
              <a:defRPr lang="en-US"/>
            </a:lvl5pPr>
          </a:lstStyle>
          <a:p>
            <a:pPr lvl="0" algn="l"/>
            <a:r>
              <a:rPr lang="pt-BR"/>
              <a:t>Editar estilos </a:t>
            </a:r>
            <a:br>
              <a:rPr lang="pt-BR"/>
            </a:br>
            <a:r>
              <a:rPr lang="pt-BR"/>
              <a:t>de texto mestre</a:t>
            </a:r>
          </a:p>
        </p:txBody>
      </p:sp>
    </p:spTree>
    <p:extLst>
      <p:ext uri="{BB962C8B-B14F-4D97-AF65-F5344CB8AC3E}">
        <p14:creationId xmlns:p14="http://schemas.microsoft.com/office/powerpoint/2010/main" val="5036793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5_Obrigado">
    <p:spTree>
      <p:nvGrpSpPr>
        <p:cNvPr id="1" name=""/>
        <p:cNvGrpSpPr/>
        <p:nvPr/>
      </p:nvGrpSpPr>
      <p:grpSpPr>
        <a:xfrm>
          <a:off x="0" y="0"/>
          <a:ext cx="0" cy="0"/>
          <a:chOff x="0" y="0"/>
          <a:chExt cx="0" cy="0"/>
        </a:xfrm>
      </p:grpSpPr>
      <p:pic>
        <p:nvPicPr>
          <p:cNvPr id="11" name="Imagem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 y="5117"/>
            <a:ext cx="12190560" cy="6856620"/>
          </a:xfrm>
          <a:prstGeom prst="rect">
            <a:avLst/>
          </a:prstGeom>
        </p:spPr>
      </p:pic>
      <p:pic>
        <p:nvPicPr>
          <p:cNvPr id="5"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7297514" y="5858102"/>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upo 19">
            <a:extLst>
              <a:ext uri="{FF2B5EF4-FFF2-40B4-BE49-F238E27FC236}">
                <a16:creationId xmlns:a16="http://schemas.microsoft.com/office/drawing/2014/main" id="{246620ED-93B0-4966-8E36-4B883B49E634}"/>
              </a:ext>
            </a:extLst>
          </p:cNvPr>
          <p:cNvGrpSpPr/>
          <p:nvPr userDrawn="1"/>
        </p:nvGrpSpPr>
        <p:grpSpPr>
          <a:xfrm>
            <a:off x="9184030" y="5858534"/>
            <a:ext cx="578707" cy="455017"/>
            <a:chOff x="2203451" y="-4230356"/>
            <a:chExt cx="6896100" cy="5422158"/>
          </a:xfrm>
        </p:grpSpPr>
        <p:pic>
          <p:nvPicPr>
            <p:cNvPr id="7"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8"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5" cstate="screen">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9" name="CuadroTexto 22">
            <a:extLst>
              <a:ext uri="{FF2B5EF4-FFF2-40B4-BE49-F238E27FC236}">
                <a16:creationId xmlns:a16="http://schemas.microsoft.com/office/drawing/2014/main" id="{B163354C-97AE-4FC8-BF01-B7FCA9B2C7C0}"/>
              </a:ext>
            </a:extLst>
          </p:cNvPr>
          <p:cNvSpPr txBox="1"/>
          <p:nvPr userDrawn="1"/>
        </p:nvSpPr>
        <p:spPr>
          <a:xfrm>
            <a:off x="7160628" y="657789"/>
            <a:ext cx="3365478" cy="1167948"/>
          </a:xfrm>
          <a:prstGeom prst="rect">
            <a:avLst/>
          </a:prstGeom>
          <a:noFill/>
        </p:spPr>
        <p:txBody>
          <a:bodyPr wrap="square" rtlCol="0">
            <a:spAutoFit/>
          </a:bodyPr>
          <a:lstStyle/>
          <a:p>
            <a:pPr marL="0" marR="0" lvl="0" indent="0" algn="l" defTabSz="913600" rtl="0" eaLnBrk="1" fontAlgn="auto" latinLnBrk="0" hangingPunct="1">
              <a:lnSpc>
                <a:spcPct val="100000"/>
              </a:lnSpc>
              <a:spcBef>
                <a:spcPts val="0"/>
              </a:spcBef>
              <a:spcAft>
                <a:spcPts val="0"/>
              </a:spcAft>
              <a:buClrTx/>
              <a:buSzTx/>
              <a:buFontTx/>
              <a:buNone/>
              <a:tabLst/>
              <a:defRPr/>
            </a:pPr>
            <a:r>
              <a:rPr kumimoji="0" lang="pt-BR"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Nosso propósito é contribuir para que as pessoas e as empresas prosperem.</a:t>
            </a:r>
          </a:p>
          <a:p>
            <a:pPr marL="0" marR="0" lvl="0" indent="0" algn="l" defTabSz="913600" rtl="0" eaLnBrk="1" fontAlgn="auto" latinLnBrk="0" hangingPunct="1">
              <a:lnSpc>
                <a:spcPct val="100000"/>
              </a:lnSpc>
              <a:spcBef>
                <a:spcPts val="0"/>
              </a:spcBef>
              <a:spcAft>
                <a:spcPts val="0"/>
              </a:spcAft>
              <a:buClrTx/>
              <a:buSzTx/>
              <a:buFontTx/>
              <a:buNone/>
              <a:tabLst/>
              <a:defRPr/>
            </a:pPr>
            <a:endParaRPr kumimoji="0" lang="pt-BR"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endParaRPr>
          </a:p>
          <a:p>
            <a:pPr marL="0" marR="0" lvl="0" indent="0" algn="l" defTabSz="913600" rtl="0" eaLnBrk="1" fontAlgn="auto" latinLnBrk="0" hangingPunct="1">
              <a:lnSpc>
                <a:spcPct val="100000"/>
              </a:lnSpc>
              <a:spcBef>
                <a:spcPts val="0"/>
              </a:spcBef>
              <a:spcAft>
                <a:spcPts val="0"/>
              </a:spcAft>
              <a:buClrTx/>
              <a:buSzTx/>
              <a:buFontTx/>
              <a:buNone/>
              <a:tabLst/>
              <a:defRPr/>
            </a:pPr>
            <a:r>
              <a:rPr kumimoji="0" lang="pt-BR" sz="1398" b="0" i="0" u="none" strike="noStrike" kern="1200" cap="none" spc="0" normalizeH="0" baseline="0" noProof="0">
                <a:ln>
                  <a:noFill/>
                </a:ln>
                <a:solidFill>
                  <a:srgbClr val="6E7678"/>
                </a:solidFill>
                <a:effectLst/>
                <a:uLnTx/>
                <a:uFillTx/>
                <a:latin typeface="Santander Headline" panose="020B0504020201020104" pitchFamily="34" charset="0"/>
                <a:ea typeface="Open Sans Light" panose="020B0306030504020204" pitchFamily="34" charset="0"/>
                <a:cs typeface="Open Sans Light" panose="020B0306030504020204" pitchFamily="34" charset="0"/>
              </a:rPr>
              <a:t>Nossa cultura se baseia na crença de que tudo que fazemos deve ser </a:t>
            </a:r>
          </a:p>
        </p:txBody>
      </p:sp>
      <p:sp>
        <p:nvSpPr>
          <p:cNvPr id="13" name="Espaço Reservado para Texto 12"/>
          <p:cNvSpPr>
            <a:spLocks noGrp="1"/>
          </p:cNvSpPr>
          <p:nvPr>
            <p:ph type="body" sz="quarter" idx="10" hasCustomPrompt="1"/>
          </p:nvPr>
        </p:nvSpPr>
        <p:spPr>
          <a:xfrm>
            <a:off x="7218684" y="3799800"/>
            <a:ext cx="4430713" cy="1495794"/>
          </a:xfrm>
          <a:prstGeom prst="rect">
            <a:avLst/>
          </a:prstGeom>
        </p:spPr>
        <p:txBody>
          <a:bodyPr wrap="square" lIns="0" rIns="0">
            <a:spAutoFit/>
          </a:bodyPr>
          <a:lstStyle>
            <a:lvl1pPr marL="0" indent="0">
              <a:buFontTx/>
              <a:buNone/>
              <a:defRPr lang="pt-BR" sz="5400" b="1" spc="-96" baseline="0" smtClean="0">
                <a:solidFill>
                  <a:schemeClr val="accent1"/>
                </a:solidFill>
                <a:latin typeface="Santander Headline" panose="020B0504020201020104" pitchFamily="34" charset="0"/>
                <a:ea typeface="+mj-ea"/>
                <a:cs typeface="Segoe UI Semibold" panose="020B0702040204020203" pitchFamily="34" charset="0"/>
              </a:defRPr>
            </a:lvl1pPr>
            <a:lvl2pPr>
              <a:defRPr lang="pt-BR" smtClean="0"/>
            </a:lvl2pPr>
            <a:lvl3pPr>
              <a:defRPr lang="pt-BR" smtClean="0"/>
            </a:lvl3pPr>
            <a:lvl4pPr>
              <a:defRPr lang="pt-BR" smtClean="0"/>
            </a:lvl4pPr>
            <a:lvl5pPr>
              <a:defRPr lang="en-US"/>
            </a:lvl5pPr>
          </a:lstStyle>
          <a:p>
            <a:pPr lvl="0" algn="l"/>
            <a:r>
              <a:rPr lang="pt-BR"/>
              <a:t>Editar estilos </a:t>
            </a:r>
            <a:br>
              <a:rPr lang="pt-BR"/>
            </a:br>
            <a:r>
              <a:rPr lang="pt-BR"/>
              <a:t>de texto mestre</a:t>
            </a:r>
          </a:p>
        </p:txBody>
      </p:sp>
      <p:sp>
        <p:nvSpPr>
          <p:cNvPr id="12" name="CaixaDeTexto 11">
            <a:extLst>
              <a:ext uri="{FF2B5EF4-FFF2-40B4-BE49-F238E27FC236}">
                <a16:creationId xmlns:a16="http://schemas.microsoft.com/office/drawing/2014/main" id="{0CB90E92-3DEA-4B96-9108-EFBD552F2B47}"/>
              </a:ext>
            </a:extLst>
          </p:cNvPr>
          <p:cNvSpPr txBox="1"/>
          <p:nvPr userDrawn="1"/>
        </p:nvSpPr>
        <p:spPr>
          <a:xfrm>
            <a:off x="7262226" y="2188307"/>
            <a:ext cx="2598049" cy="248603"/>
          </a:xfrm>
          <a:custGeom>
            <a:avLst/>
            <a:gdLst/>
            <a:ahLst/>
            <a:cxnLst/>
            <a:rect l="l" t="t" r="r" b="b"/>
            <a:pathLst>
              <a:path w="2598049" h="248603">
                <a:moveTo>
                  <a:pt x="2526783" y="75686"/>
                </a:moveTo>
                <a:cubicBezTo>
                  <a:pt x="2512741" y="75859"/>
                  <a:pt x="2502360" y="80210"/>
                  <a:pt x="2495638" y="88738"/>
                </a:cubicBezTo>
                <a:cubicBezTo>
                  <a:pt x="2488917" y="97267"/>
                  <a:pt x="2485579" y="108937"/>
                  <a:pt x="2485625" y="123750"/>
                </a:cubicBezTo>
                <a:cubicBezTo>
                  <a:pt x="2485735" y="140663"/>
                  <a:pt x="2489383" y="153104"/>
                  <a:pt x="2496571" y="161075"/>
                </a:cubicBezTo>
                <a:cubicBezTo>
                  <a:pt x="2503758" y="169045"/>
                  <a:pt x="2513829" y="172993"/>
                  <a:pt x="2526783" y="172918"/>
                </a:cubicBezTo>
                <a:cubicBezTo>
                  <a:pt x="2540306" y="172762"/>
                  <a:pt x="2550411" y="168446"/>
                  <a:pt x="2557098" y="159970"/>
                </a:cubicBezTo>
                <a:cubicBezTo>
                  <a:pt x="2563785" y="151493"/>
                  <a:pt x="2567123" y="139788"/>
                  <a:pt x="2567112" y="124855"/>
                </a:cubicBezTo>
                <a:cubicBezTo>
                  <a:pt x="2566985" y="108062"/>
                  <a:pt x="2563371" y="95655"/>
                  <a:pt x="2556270" y="87633"/>
                </a:cubicBezTo>
                <a:cubicBezTo>
                  <a:pt x="2549168" y="79611"/>
                  <a:pt x="2539339" y="75629"/>
                  <a:pt x="2526783"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621908" y="75686"/>
                </a:moveTo>
                <a:cubicBezTo>
                  <a:pt x="1607866" y="75859"/>
                  <a:pt x="1597485" y="80210"/>
                  <a:pt x="1590763" y="88738"/>
                </a:cubicBezTo>
                <a:cubicBezTo>
                  <a:pt x="1584042" y="97267"/>
                  <a:pt x="1580704" y="108937"/>
                  <a:pt x="1580750" y="123750"/>
                </a:cubicBezTo>
                <a:cubicBezTo>
                  <a:pt x="1580859" y="140663"/>
                  <a:pt x="1584508" y="153104"/>
                  <a:pt x="1591696" y="161075"/>
                </a:cubicBezTo>
                <a:cubicBezTo>
                  <a:pt x="1598883" y="169045"/>
                  <a:pt x="1608954" y="172993"/>
                  <a:pt x="1621908" y="172918"/>
                </a:cubicBezTo>
                <a:cubicBezTo>
                  <a:pt x="1635431" y="172762"/>
                  <a:pt x="1645536" y="168446"/>
                  <a:pt x="1652223" y="159970"/>
                </a:cubicBezTo>
                <a:cubicBezTo>
                  <a:pt x="1658910" y="151493"/>
                  <a:pt x="1662248" y="139788"/>
                  <a:pt x="1662236" y="124855"/>
                </a:cubicBezTo>
                <a:cubicBezTo>
                  <a:pt x="1662110" y="108062"/>
                  <a:pt x="1658496" y="95655"/>
                  <a:pt x="1651395" y="87633"/>
                </a:cubicBezTo>
                <a:cubicBezTo>
                  <a:pt x="1644293" y="79611"/>
                  <a:pt x="1634464" y="75629"/>
                  <a:pt x="16219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0" y="140225"/>
                  <a:pt x="570862" y="124302"/>
                </a:cubicBezTo>
                <a:cubicBezTo>
                  <a:pt x="571012" y="109346"/>
                  <a:pt x="567329" y="97549"/>
                  <a:pt x="559813" y="88911"/>
                </a:cubicBezTo>
                <a:cubicBezTo>
                  <a:pt x="552297" y="80273"/>
                  <a:pt x="540051" y="75865"/>
                  <a:pt x="523075" y="75686"/>
                </a:cubicBezTo>
                <a:close/>
                <a:moveTo>
                  <a:pt x="1225029" y="75134"/>
                </a:moveTo>
                <a:cubicBezTo>
                  <a:pt x="1214285" y="75163"/>
                  <a:pt x="1206010" y="78213"/>
                  <a:pt x="1200204" y="84284"/>
                </a:cubicBezTo>
                <a:cubicBezTo>
                  <a:pt x="1194397" y="90355"/>
                  <a:pt x="1190887" y="99275"/>
                  <a:pt x="1189673" y="111043"/>
                </a:cubicBezTo>
                <a:lnTo>
                  <a:pt x="1258176" y="111043"/>
                </a:lnTo>
                <a:cubicBezTo>
                  <a:pt x="1258107" y="99637"/>
                  <a:pt x="1255207" y="90821"/>
                  <a:pt x="1249475" y="84595"/>
                </a:cubicBezTo>
                <a:cubicBezTo>
                  <a:pt x="1243744" y="78368"/>
                  <a:pt x="1235595" y="75215"/>
                  <a:pt x="1225029"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090119" y="53036"/>
                </a:moveTo>
                <a:lnTo>
                  <a:pt x="2120503" y="53036"/>
                </a:lnTo>
                <a:lnTo>
                  <a:pt x="2120503" y="138942"/>
                </a:lnTo>
                <a:cubicBezTo>
                  <a:pt x="2120354" y="150630"/>
                  <a:pt x="2122656" y="159227"/>
                  <a:pt x="2127409" y="164735"/>
                </a:cubicBezTo>
                <a:cubicBezTo>
                  <a:pt x="2132162" y="170242"/>
                  <a:pt x="2140265" y="172969"/>
                  <a:pt x="2151717" y="172918"/>
                </a:cubicBezTo>
                <a:cubicBezTo>
                  <a:pt x="2157281" y="172923"/>
                  <a:pt x="2162656" y="172014"/>
                  <a:pt x="2167841" y="170190"/>
                </a:cubicBezTo>
                <a:cubicBezTo>
                  <a:pt x="2173026" y="168366"/>
                  <a:pt x="2177780" y="165592"/>
                  <a:pt x="2182101" y="161869"/>
                </a:cubicBezTo>
                <a:lnTo>
                  <a:pt x="2182101" y="53036"/>
                </a:lnTo>
                <a:lnTo>
                  <a:pt x="2212486" y="53036"/>
                </a:lnTo>
                <a:lnTo>
                  <a:pt x="2212486" y="195568"/>
                </a:lnTo>
                <a:lnTo>
                  <a:pt x="2184311" y="195568"/>
                </a:lnTo>
                <a:lnTo>
                  <a:pt x="2182654" y="177614"/>
                </a:lnTo>
                <a:cubicBezTo>
                  <a:pt x="2177993" y="183938"/>
                  <a:pt x="2172261" y="189037"/>
                  <a:pt x="2165459" y="192909"/>
                </a:cubicBezTo>
                <a:cubicBezTo>
                  <a:pt x="2158657" y="196782"/>
                  <a:pt x="2150577" y="198773"/>
                  <a:pt x="2141220" y="198883"/>
                </a:cubicBezTo>
                <a:cubicBezTo>
                  <a:pt x="2124468" y="198883"/>
                  <a:pt x="2111773" y="194463"/>
                  <a:pt x="2103136" y="185624"/>
                </a:cubicBezTo>
                <a:cubicBezTo>
                  <a:pt x="2094498" y="176785"/>
                  <a:pt x="2090159" y="163526"/>
                  <a:pt x="2090119" y="145848"/>
                </a:cubicBezTo>
                <a:close/>
                <a:moveTo>
                  <a:pt x="157925" y="53036"/>
                </a:moveTo>
                <a:lnTo>
                  <a:pt x="188309" y="53036"/>
                </a:lnTo>
                <a:lnTo>
                  <a:pt x="188309" y="195568"/>
                </a:lnTo>
                <a:lnTo>
                  <a:pt x="157925" y="195568"/>
                </a:lnTo>
                <a:close/>
                <a:moveTo>
                  <a:pt x="2527611" y="49721"/>
                </a:moveTo>
                <a:cubicBezTo>
                  <a:pt x="2543090" y="49861"/>
                  <a:pt x="2556052" y="53111"/>
                  <a:pt x="2566498" y="59471"/>
                </a:cubicBezTo>
                <a:cubicBezTo>
                  <a:pt x="2576943" y="65831"/>
                  <a:pt x="2584810" y="74462"/>
                  <a:pt x="2590099" y="85365"/>
                </a:cubicBezTo>
                <a:cubicBezTo>
                  <a:pt x="2595389" y="96267"/>
                  <a:pt x="2598038" y="108602"/>
                  <a:pt x="2598049" y="122369"/>
                </a:cubicBezTo>
                <a:cubicBezTo>
                  <a:pt x="2597830" y="146705"/>
                  <a:pt x="2591293" y="165500"/>
                  <a:pt x="2578437" y="178753"/>
                </a:cubicBezTo>
                <a:cubicBezTo>
                  <a:pt x="2565581" y="192006"/>
                  <a:pt x="2547718" y="198716"/>
                  <a:pt x="2524849" y="198883"/>
                </a:cubicBezTo>
                <a:cubicBezTo>
                  <a:pt x="2509635" y="198743"/>
                  <a:pt x="2496819" y="195493"/>
                  <a:pt x="2486403" y="189133"/>
                </a:cubicBezTo>
                <a:cubicBezTo>
                  <a:pt x="2475986" y="182773"/>
                  <a:pt x="2468102" y="174142"/>
                  <a:pt x="2462750" y="163240"/>
                </a:cubicBezTo>
                <a:cubicBezTo>
                  <a:pt x="2457397" y="152337"/>
                  <a:pt x="2454710" y="140003"/>
                  <a:pt x="2454688" y="126236"/>
                </a:cubicBezTo>
                <a:cubicBezTo>
                  <a:pt x="2454929" y="101899"/>
                  <a:pt x="2461490" y="83104"/>
                  <a:pt x="2474369" y="69851"/>
                </a:cubicBezTo>
                <a:cubicBezTo>
                  <a:pt x="2487248" y="56598"/>
                  <a:pt x="2504995" y="49888"/>
                  <a:pt x="2527611" y="49721"/>
                </a:cubicBezTo>
                <a:close/>
                <a:moveTo>
                  <a:pt x="2291686" y="49721"/>
                </a:moveTo>
                <a:cubicBezTo>
                  <a:pt x="2300376" y="49704"/>
                  <a:pt x="2308479" y="50222"/>
                  <a:pt x="2315994" y="51275"/>
                </a:cubicBezTo>
                <a:cubicBezTo>
                  <a:pt x="2323510" y="52328"/>
                  <a:pt x="2330508" y="54020"/>
                  <a:pt x="2336988" y="56351"/>
                </a:cubicBezTo>
                <a:cubicBezTo>
                  <a:pt x="2336734" y="60316"/>
                  <a:pt x="2336274" y="64263"/>
                  <a:pt x="2335606" y="68194"/>
                </a:cubicBezTo>
                <a:cubicBezTo>
                  <a:pt x="2334939" y="72124"/>
                  <a:pt x="2333926" y="76279"/>
                  <a:pt x="2332568" y="80659"/>
                </a:cubicBezTo>
                <a:cubicBezTo>
                  <a:pt x="2326117" y="78604"/>
                  <a:pt x="2319614" y="77119"/>
                  <a:pt x="2313059" y="76204"/>
                </a:cubicBezTo>
                <a:cubicBezTo>
                  <a:pt x="2306505" y="75289"/>
                  <a:pt x="2299657" y="74841"/>
                  <a:pt x="2292515" y="74858"/>
                </a:cubicBezTo>
                <a:cubicBezTo>
                  <a:pt x="2283043" y="74933"/>
                  <a:pt x="2276575" y="76302"/>
                  <a:pt x="2273110" y="78967"/>
                </a:cubicBezTo>
                <a:cubicBezTo>
                  <a:pt x="2269646" y="81631"/>
                  <a:pt x="2268012" y="85141"/>
                  <a:pt x="2268207" y="89498"/>
                </a:cubicBezTo>
                <a:cubicBezTo>
                  <a:pt x="2268190" y="94504"/>
                  <a:pt x="2269951" y="98510"/>
                  <a:pt x="2273490" y="101514"/>
                </a:cubicBezTo>
                <a:cubicBezTo>
                  <a:pt x="2277029" y="104517"/>
                  <a:pt x="2282450" y="107142"/>
                  <a:pt x="2289753" y="109386"/>
                </a:cubicBezTo>
                <a:lnTo>
                  <a:pt x="2304393" y="114082"/>
                </a:lnTo>
                <a:cubicBezTo>
                  <a:pt x="2317439" y="118104"/>
                  <a:pt x="2326980" y="123456"/>
                  <a:pt x="2333017" y="130137"/>
                </a:cubicBezTo>
                <a:cubicBezTo>
                  <a:pt x="2339053" y="136819"/>
                  <a:pt x="2342034" y="145554"/>
                  <a:pt x="2341960" y="156344"/>
                </a:cubicBezTo>
                <a:cubicBezTo>
                  <a:pt x="2341890" y="169114"/>
                  <a:pt x="2337056" y="179346"/>
                  <a:pt x="2327458" y="187040"/>
                </a:cubicBezTo>
                <a:cubicBezTo>
                  <a:pt x="2317859" y="194734"/>
                  <a:pt x="2303909" y="198681"/>
                  <a:pt x="2285610" y="198883"/>
                </a:cubicBezTo>
                <a:cubicBezTo>
                  <a:pt x="2275453" y="198906"/>
                  <a:pt x="2266418" y="198169"/>
                  <a:pt x="2258505" y="196673"/>
                </a:cubicBezTo>
                <a:cubicBezTo>
                  <a:pt x="2250592" y="195177"/>
                  <a:pt x="2243422" y="192783"/>
                  <a:pt x="2236994" y="189491"/>
                </a:cubicBezTo>
                <a:cubicBezTo>
                  <a:pt x="2237270" y="183863"/>
                  <a:pt x="2237754" y="178960"/>
                  <a:pt x="2238444" y="174782"/>
                </a:cubicBezTo>
                <a:cubicBezTo>
                  <a:pt x="2239135" y="170604"/>
                  <a:pt x="2240033" y="166944"/>
                  <a:pt x="2241137" y="163802"/>
                </a:cubicBezTo>
                <a:cubicBezTo>
                  <a:pt x="2247686" y="166985"/>
                  <a:pt x="2254891" y="169390"/>
                  <a:pt x="2262752" y="171019"/>
                </a:cubicBezTo>
                <a:cubicBezTo>
                  <a:pt x="2270613" y="172647"/>
                  <a:pt x="2277956" y="173464"/>
                  <a:pt x="2284781" y="173470"/>
                </a:cubicBezTo>
                <a:cubicBezTo>
                  <a:pt x="2293522" y="173516"/>
                  <a:pt x="2300209" y="172250"/>
                  <a:pt x="2304842" y="169672"/>
                </a:cubicBezTo>
                <a:cubicBezTo>
                  <a:pt x="2309474" y="167094"/>
                  <a:pt x="2311811" y="162928"/>
                  <a:pt x="2311851" y="157173"/>
                </a:cubicBezTo>
                <a:cubicBezTo>
                  <a:pt x="2311782" y="152189"/>
                  <a:pt x="2309848" y="148345"/>
                  <a:pt x="2306050" y="145640"/>
                </a:cubicBezTo>
                <a:cubicBezTo>
                  <a:pt x="2302252" y="142936"/>
                  <a:pt x="2297004" y="140611"/>
                  <a:pt x="2290305" y="138666"/>
                </a:cubicBezTo>
                <a:lnTo>
                  <a:pt x="2276218" y="134246"/>
                </a:lnTo>
                <a:cubicBezTo>
                  <a:pt x="2262458" y="129821"/>
                  <a:pt x="2252756" y="123963"/>
                  <a:pt x="2247111" y="116671"/>
                </a:cubicBezTo>
                <a:cubicBezTo>
                  <a:pt x="2241465" y="109380"/>
                  <a:pt x="2238738" y="100691"/>
                  <a:pt x="2238928" y="90603"/>
                </a:cubicBezTo>
                <a:cubicBezTo>
                  <a:pt x="2238951" y="77781"/>
                  <a:pt x="2243393" y="67791"/>
                  <a:pt x="2252255" y="60632"/>
                </a:cubicBezTo>
                <a:cubicBezTo>
                  <a:pt x="2261118" y="53473"/>
                  <a:pt x="2274261" y="49836"/>
                  <a:pt x="2291686" y="49721"/>
                </a:cubicBezTo>
                <a:close/>
                <a:moveTo>
                  <a:pt x="1789633" y="49721"/>
                </a:moveTo>
                <a:cubicBezTo>
                  <a:pt x="1799508" y="49698"/>
                  <a:pt x="1808693" y="50297"/>
                  <a:pt x="1817187" y="51517"/>
                </a:cubicBezTo>
                <a:cubicBezTo>
                  <a:pt x="1825681" y="52737"/>
                  <a:pt x="1833898"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736" y="49721"/>
                </a:moveTo>
                <a:cubicBezTo>
                  <a:pt x="1638215" y="49861"/>
                  <a:pt x="1651177" y="53111"/>
                  <a:pt x="1661623" y="59471"/>
                </a:cubicBezTo>
                <a:cubicBezTo>
                  <a:pt x="1672068" y="65831"/>
                  <a:pt x="1679935" y="74462"/>
                  <a:pt x="1685225" y="85365"/>
                </a:cubicBezTo>
                <a:cubicBezTo>
                  <a:pt x="1690514" y="96267"/>
                  <a:pt x="1693164" y="108602"/>
                  <a:pt x="1693174" y="122369"/>
                </a:cubicBezTo>
                <a:cubicBezTo>
                  <a:pt x="1692955" y="146705"/>
                  <a:pt x="1686418" y="165500"/>
                  <a:pt x="1673562" y="178753"/>
                </a:cubicBezTo>
                <a:cubicBezTo>
                  <a:pt x="1660706" y="192006"/>
                  <a:pt x="1642843" y="198716"/>
                  <a:pt x="1619974" y="198883"/>
                </a:cubicBezTo>
                <a:cubicBezTo>
                  <a:pt x="1604760" y="198743"/>
                  <a:pt x="1591944" y="195493"/>
                  <a:pt x="1581528" y="189133"/>
                </a:cubicBezTo>
                <a:cubicBezTo>
                  <a:pt x="1571111" y="182773"/>
                  <a:pt x="1563227" y="174142"/>
                  <a:pt x="1557875" y="163240"/>
                </a:cubicBezTo>
                <a:cubicBezTo>
                  <a:pt x="1552522" y="152337"/>
                  <a:pt x="1549835" y="140003"/>
                  <a:pt x="1549813" y="126236"/>
                </a:cubicBezTo>
                <a:cubicBezTo>
                  <a:pt x="1550055" y="101899"/>
                  <a:pt x="1556615" y="83104"/>
                  <a:pt x="1569494" y="69851"/>
                </a:cubicBezTo>
                <a:cubicBezTo>
                  <a:pt x="1582373" y="56598"/>
                  <a:pt x="1600120" y="49888"/>
                  <a:pt x="1622736" y="49721"/>
                </a:cubicBezTo>
                <a:close/>
                <a:moveTo>
                  <a:pt x="1482062" y="49721"/>
                </a:moveTo>
                <a:cubicBezTo>
                  <a:pt x="1490751" y="49704"/>
                  <a:pt x="1498854" y="50222"/>
                  <a:pt x="1506369" y="51275"/>
                </a:cubicBezTo>
                <a:cubicBezTo>
                  <a:pt x="1513885" y="52328"/>
                  <a:pt x="1520883" y="54020"/>
                  <a:pt x="1527363" y="56351"/>
                </a:cubicBezTo>
                <a:cubicBezTo>
                  <a:pt x="1527109" y="60316"/>
                  <a:pt x="1526649" y="64263"/>
                  <a:pt x="1525981" y="68194"/>
                </a:cubicBezTo>
                <a:cubicBezTo>
                  <a:pt x="1525314" y="72124"/>
                  <a:pt x="1524301" y="76279"/>
                  <a:pt x="1522943" y="80659"/>
                </a:cubicBezTo>
                <a:cubicBezTo>
                  <a:pt x="1516492" y="78604"/>
                  <a:pt x="1509989" y="77119"/>
                  <a:pt x="1503435" y="76204"/>
                </a:cubicBezTo>
                <a:cubicBezTo>
                  <a:pt x="1496880" y="75289"/>
                  <a:pt x="1490032" y="74841"/>
                  <a:pt x="1482890" y="74858"/>
                </a:cubicBezTo>
                <a:cubicBezTo>
                  <a:pt x="1473418" y="74933"/>
                  <a:pt x="1466950" y="76302"/>
                  <a:pt x="1463486" y="78967"/>
                </a:cubicBezTo>
                <a:cubicBezTo>
                  <a:pt x="1460021" y="81631"/>
                  <a:pt x="1458387" y="85141"/>
                  <a:pt x="1458582" y="89498"/>
                </a:cubicBezTo>
                <a:cubicBezTo>
                  <a:pt x="1458565" y="94504"/>
                  <a:pt x="1460326" y="98510"/>
                  <a:pt x="1463865" y="101514"/>
                </a:cubicBezTo>
                <a:cubicBezTo>
                  <a:pt x="1467404" y="104517"/>
                  <a:pt x="1472825" y="107142"/>
                  <a:pt x="1480128" y="109386"/>
                </a:cubicBezTo>
                <a:lnTo>
                  <a:pt x="1494768" y="114082"/>
                </a:lnTo>
                <a:cubicBezTo>
                  <a:pt x="1507814" y="118104"/>
                  <a:pt x="1517355" y="123456"/>
                  <a:pt x="1523392" y="130137"/>
                </a:cubicBezTo>
                <a:cubicBezTo>
                  <a:pt x="1529428" y="136819"/>
                  <a:pt x="1532409" y="145554"/>
                  <a:pt x="1532335" y="156344"/>
                </a:cubicBezTo>
                <a:cubicBezTo>
                  <a:pt x="1532265" y="169114"/>
                  <a:pt x="1527432" y="179346"/>
                  <a:pt x="1517833" y="187040"/>
                </a:cubicBezTo>
                <a:cubicBezTo>
                  <a:pt x="1508234" y="194734"/>
                  <a:pt x="1494285" y="198681"/>
                  <a:pt x="1475985" y="198883"/>
                </a:cubicBezTo>
                <a:cubicBezTo>
                  <a:pt x="1465828" y="198906"/>
                  <a:pt x="1456793" y="198169"/>
                  <a:pt x="1448880" y="196673"/>
                </a:cubicBezTo>
                <a:cubicBezTo>
                  <a:pt x="1440967" y="195177"/>
                  <a:pt x="1433797" y="192783"/>
                  <a:pt x="1427369" y="189491"/>
                </a:cubicBezTo>
                <a:cubicBezTo>
                  <a:pt x="1427645" y="183863"/>
                  <a:pt x="1428129" y="178960"/>
                  <a:pt x="1428819" y="174782"/>
                </a:cubicBezTo>
                <a:cubicBezTo>
                  <a:pt x="1429510" y="170604"/>
                  <a:pt x="1430408" y="166944"/>
                  <a:pt x="1431512" y="163802"/>
                </a:cubicBezTo>
                <a:cubicBezTo>
                  <a:pt x="1438061" y="166985"/>
                  <a:pt x="1445266" y="169390"/>
                  <a:pt x="1453127" y="171019"/>
                </a:cubicBezTo>
                <a:cubicBezTo>
                  <a:pt x="1460988" y="172647"/>
                  <a:pt x="1468331" y="173464"/>
                  <a:pt x="1475156" y="173470"/>
                </a:cubicBezTo>
                <a:cubicBezTo>
                  <a:pt x="1483897" y="173516"/>
                  <a:pt x="1490584" y="172250"/>
                  <a:pt x="1495217" y="169672"/>
                </a:cubicBezTo>
                <a:cubicBezTo>
                  <a:pt x="1499849" y="167094"/>
                  <a:pt x="1502186" y="162928"/>
                  <a:pt x="1502226" y="157173"/>
                </a:cubicBezTo>
                <a:cubicBezTo>
                  <a:pt x="1502157" y="152189"/>
                  <a:pt x="1500223" y="148345"/>
                  <a:pt x="1496425" y="145640"/>
                </a:cubicBezTo>
                <a:cubicBezTo>
                  <a:pt x="1492627" y="142936"/>
                  <a:pt x="1487379" y="140611"/>
                  <a:pt x="1480681" y="138666"/>
                </a:cubicBezTo>
                <a:lnTo>
                  <a:pt x="1466593" y="134246"/>
                </a:lnTo>
                <a:cubicBezTo>
                  <a:pt x="1452834" y="129821"/>
                  <a:pt x="1443131" y="123963"/>
                  <a:pt x="1437486" y="116671"/>
                </a:cubicBezTo>
                <a:cubicBezTo>
                  <a:pt x="1431840" y="109380"/>
                  <a:pt x="1429113" y="100691"/>
                  <a:pt x="1429303" y="90603"/>
                </a:cubicBezTo>
                <a:cubicBezTo>
                  <a:pt x="1429326" y="77781"/>
                  <a:pt x="1433768" y="67791"/>
                  <a:pt x="1442631" y="60632"/>
                </a:cubicBezTo>
                <a:cubicBezTo>
                  <a:pt x="1451493" y="53473"/>
                  <a:pt x="1464636" y="49836"/>
                  <a:pt x="1482062" y="49721"/>
                </a:cubicBezTo>
                <a:close/>
                <a:moveTo>
                  <a:pt x="1358237" y="49721"/>
                </a:moveTo>
                <a:cubicBezTo>
                  <a:pt x="1366926" y="49704"/>
                  <a:pt x="1375029" y="50222"/>
                  <a:pt x="1382544" y="51275"/>
                </a:cubicBezTo>
                <a:cubicBezTo>
                  <a:pt x="1390060" y="52328"/>
                  <a:pt x="1397058" y="54020"/>
                  <a:pt x="1403538" y="56351"/>
                </a:cubicBezTo>
                <a:cubicBezTo>
                  <a:pt x="1403284" y="60316"/>
                  <a:pt x="1402824" y="64263"/>
                  <a:pt x="1402156" y="68194"/>
                </a:cubicBezTo>
                <a:cubicBezTo>
                  <a:pt x="1401489" y="72124"/>
                  <a:pt x="1400476" y="76279"/>
                  <a:pt x="1399118" y="80659"/>
                </a:cubicBezTo>
                <a:cubicBezTo>
                  <a:pt x="1392667" y="78604"/>
                  <a:pt x="1386164" y="77119"/>
                  <a:pt x="1379610" y="76204"/>
                </a:cubicBezTo>
                <a:cubicBezTo>
                  <a:pt x="1373055" y="75289"/>
                  <a:pt x="1366207" y="74841"/>
                  <a:pt x="1359065" y="74858"/>
                </a:cubicBezTo>
                <a:cubicBezTo>
                  <a:pt x="1349593" y="74933"/>
                  <a:pt x="1343125" y="76302"/>
                  <a:pt x="1339661" y="78967"/>
                </a:cubicBezTo>
                <a:cubicBezTo>
                  <a:pt x="1336196" y="81631"/>
                  <a:pt x="1334562" y="85141"/>
                  <a:pt x="1334757" y="89498"/>
                </a:cubicBezTo>
                <a:cubicBezTo>
                  <a:pt x="1334740" y="94504"/>
                  <a:pt x="1336501" y="98510"/>
                  <a:pt x="1340040" y="101514"/>
                </a:cubicBezTo>
                <a:cubicBezTo>
                  <a:pt x="1343579" y="104517"/>
                  <a:pt x="1349000" y="107142"/>
                  <a:pt x="1356303" y="109386"/>
                </a:cubicBezTo>
                <a:lnTo>
                  <a:pt x="1370943" y="114082"/>
                </a:lnTo>
                <a:cubicBezTo>
                  <a:pt x="1383989" y="118104"/>
                  <a:pt x="1393530" y="123456"/>
                  <a:pt x="1399567" y="130137"/>
                </a:cubicBezTo>
                <a:cubicBezTo>
                  <a:pt x="1405603" y="136819"/>
                  <a:pt x="1408584" y="145554"/>
                  <a:pt x="1408510" y="156344"/>
                </a:cubicBezTo>
                <a:cubicBezTo>
                  <a:pt x="1408440" y="169114"/>
                  <a:pt x="1403607" y="179346"/>
                  <a:pt x="1394008" y="187040"/>
                </a:cubicBezTo>
                <a:cubicBezTo>
                  <a:pt x="1384409" y="194734"/>
                  <a:pt x="1370460" y="198681"/>
                  <a:pt x="1352160" y="198883"/>
                </a:cubicBezTo>
                <a:cubicBezTo>
                  <a:pt x="1342003" y="198906"/>
                  <a:pt x="1332968" y="198169"/>
                  <a:pt x="1325055" y="196673"/>
                </a:cubicBezTo>
                <a:cubicBezTo>
                  <a:pt x="1317142" y="195177"/>
                  <a:pt x="1309972" y="192783"/>
                  <a:pt x="1303544" y="189491"/>
                </a:cubicBezTo>
                <a:cubicBezTo>
                  <a:pt x="1303820" y="183863"/>
                  <a:pt x="1304304" y="178960"/>
                  <a:pt x="1304994" y="174782"/>
                </a:cubicBezTo>
                <a:cubicBezTo>
                  <a:pt x="1305685" y="170604"/>
                  <a:pt x="1306583" y="166944"/>
                  <a:pt x="1307687" y="163802"/>
                </a:cubicBezTo>
                <a:cubicBezTo>
                  <a:pt x="1314236" y="166985"/>
                  <a:pt x="1321441" y="169390"/>
                  <a:pt x="1329302" y="171019"/>
                </a:cubicBezTo>
                <a:cubicBezTo>
                  <a:pt x="1337163" y="172647"/>
                  <a:pt x="1344506" y="173464"/>
                  <a:pt x="1351331" y="173470"/>
                </a:cubicBezTo>
                <a:cubicBezTo>
                  <a:pt x="1360072" y="173516"/>
                  <a:pt x="1366759" y="172250"/>
                  <a:pt x="1371392" y="169672"/>
                </a:cubicBezTo>
                <a:cubicBezTo>
                  <a:pt x="1376024" y="167094"/>
                  <a:pt x="1378361" y="162928"/>
                  <a:pt x="1378401" y="157173"/>
                </a:cubicBezTo>
                <a:cubicBezTo>
                  <a:pt x="1378332" y="152189"/>
                  <a:pt x="1376398" y="148345"/>
                  <a:pt x="1372600" y="145640"/>
                </a:cubicBezTo>
                <a:cubicBezTo>
                  <a:pt x="1368802" y="142936"/>
                  <a:pt x="1363554" y="140611"/>
                  <a:pt x="1356856" y="138666"/>
                </a:cubicBezTo>
                <a:lnTo>
                  <a:pt x="1342768" y="134246"/>
                </a:lnTo>
                <a:cubicBezTo>
                  <a:pt x="1329009" y="129821"/>
                  <a:pt x="1319306" y="123963"/>
                  <a:pt x="1313661" y="116671"/>
                </a:cubicBezTo>
                <a:cubicBezTo>
                  <a:pt x="1308015" y="109380"/>
                  <a:pt x="1305288" y="100691"/>
                  <a:pt x="1305478" y="90603"/>
                </a:cubicBezTo>
                <a:cubicBezTo>
                  <a:pt x="1305501" y="77781"/>
                  <a:pt x="1309943" y="67791"/>
                  <a:pt x="1318806" y="60632"/>
                </a:cubicBezTo>
                <a:cubicBezTo>
                  <a:pt x="1327668" y="53473"/>
                  <a:pt x="1340811" y="49836"/>
                  <a:pt x="1358237" y="49721"/>
                </a:cubicBezTo>
                <a:close/>
                <a:moveTo>
                  <a:pt x="1226687" y="49721"/>
                </a:moveTo>
                <a:cubicBezTo>
                  <a:pt x="1248250" y="50182"/>
                  <a:pt x="1264029" y="56374"/>
                  <a:pt x="1274025" y="68297"/>
                </a:cubicBezTo>
                <a:cubicBezTo>
                  <a:pt x="1284021" y="80221"/>
                  <a:pt x="1288958" y="95114"/>
                  <a:pt x="1288837" y="112977"/>
                </a:cubicBezTo>
                <a:cubicBezTo>
                  <a:pt x="1288837" y="117201"/>
                  <a:pt x="1288699" y="121183"/>
                  <a:pt x="1288423" y="124924"/>
                </a:cubicBezTo>
                <a:cubicBezTo>
                  <a:pt x="1288147" y="128664"/>
                  <a:pt x="1287733" y="132508"/>
                  <a:pt x="1287180" y="136456"/>
                </a:cubicBezTo>
                <a:lnTo>
                  <a:pt x="1190225" y="136456"/>
                </a:lnTo>
                <a:cubicBezTo>
                  <a:pt x="1192113" y="148731"/>
                  <a:pt x="1196762" y="157881"/>
                  <a:pt x="1204174" y="163906"/>
                </a:cubicBezTo>
                <a:cubicBezTo>
                  <a:pt x="1211586" y="169931"/>
                  <a:pt x="1222037" y="172935"/>
                  <a:pt x="1235526" y="172918"/>
                </a:cubicBezTo>
                <a:cubicBezTo>
                  <a:pt x="1243853" y="172912"/>
                  <a:pt x="1252128" y="172026"/>
                  <a:pt x="1260352" y="170259"/>
                </a:cubicBezTo>
                <a:cubicBezTo>
                  <a:pt x="1268575" y="168492"/>
                  <a:pt x="1276505" y="165880"/>
                  <a:pt x="1284142" y="162421"/>
                </a:cubicBezTo>
                <a:cubicBezTo>
                  <a:pt x="1283583" y="166507"/>
                  <a:pt x="1282904" y="170973"/>
                  <a:pt x="1282104" y="175818"/>
                </a:cubicBezTo>
                <a:cubicBezTo>
                  <a:pt x="1281305" y="180663"/>
                  <a:pt x="1280418" y="185405"/>
                  <a:pt x="1279446" y="190044"/>
                </a:cubicBezTo>
                <a:cubicBezTo>
                  <a:pt x="1272557" y="193191"/>
                  <a:pt x="1265410" y="195459"/>
                  <a:pt x="1258004" y="196846"/>
                </a:cubicBezTo>
                <a:cubicBezTo>
                  <a:pt x="1250598" y="198233"/>
                  <a:pt x="1242829" y="198912"/>
                  <a:pt x="1234697" y="198883"/>
                </a:cubicBezTo>
                <a:cubicBezTo>
                  <a:pt x="1209319" y="198693"/>
                  <a:pt x="1190398" y="192029"/>
                  <a:pt x="1177933" y="178891"/>
                </a:cubicBezTo>
                <a:cubicBezTo>
                  <a:pt x="1165468" y="165753"/>
                  <a:pt x="1159253" y="147281"/>
                  <a:pt x="1159288" y="123473"/>
                </a:cubicBezTo>
                <a:cubicBezTo>
                  <a:pt x="1159225" y="109606"/>
                  <a:pt x="1161469" y="97135"/>
                  <a:pt x="1166020" y="86060"/>
                </a:cubicBezTo>
                <a:cubicBezTo>
                  <a:pt x="1170570" y="74986"/>
                  <a:pt x="1177807" y="66198"/>
                  <a:pt x="1187729" y="59696"/>
                </a:cubicBezTo>
                <a:cubicBezTo>
                  <a:pt x="1197651" y="53195"/>
                  <a:pt x="1210637" y="49870"/>
                  <a:pt x="1226687" y="49721"/>
                </a:cubicBezTo>
                <a:close/>
                <a:moveTo>
                  <a:pt x="881987" y="49721"/>
                </a:moveTo>
                <a:cubicBezTo>
                  <a:pt x="890676" y="49704"/>
                  <a:pt x="898779" y="50222"/>
                  <a:pt x="906294" y="51275"/>
                </a:cubicBezTo>
                <a:cubicBezTo>
                  <a:pt x="913810" y="52328"/>
                  <a:pt x="920808" y="54020"/>
                  <a:pt x="927287" y="56351"/>
                </a:cubicBezTo>
                <a:cubicBezTo>
                  <a:pt x="927034" y="60316"/>
                  <a:pt x="926574" y="64263"/>
                  <a:pt x="925906" y="68194"/>
                </a:cubicBezTo>
                <a:cubicBezTo>
                  <a:pt x="925239" y="72124"/>
                  <a:pt x="924226" y="76279"/>
                  <a:pt x="922868" y="80659"/>
                </a:cubicBezTo>
                <a:cubicBezTo>
                  <a:pt x="916417" y="78604"/>
                  <a:pt x="909914" y="77119"/>
                  <a:pt x="903359" y="76204"/>
                </a:cubicBezTo>
                <a:cubicBezTo>
                  <a:pt x="896805" y="75289"/>
                  <a:pt x="889957" y="74841"/>
                  <a:pt x="882815" y="74858"/>
                </a:cubicBezTo>
                <a:cubicBezTo>
                  <a:pt x="873343" y="74933"/>
                  <a:pt x="866875" y="76302"/>
                  <a:pt x="863410" y="78967"/>
                </a:cubicBezTo>
                <a:cubicBezTo>
                  <a:pt x="859946" y="81631"/>
                  <a:pt x="858312" y="85141"/>
                  <a:pt x="858507" y="89498"/>
                </a:cubicBezTo>
                <a:cubicBezTo>
                  <a:pt x="858490" y="94504"/>
                  <a:pt x="860251" y="98510"/>
                  <a:pt x="863790" y="101514"/>
                </a:cubicBezTo>
                <a:cubicBezTo>
                  <a:pt x="867329" y="104517"/>
                  <a:pt x="872750" y="107142"/>
                  <a:pt x="880053" y="109386"/>
                </a:cubicBezTo>
                <a:lnTo>
                  <a:pt x="894693" y="114082"/>
                </a:lnTo>
                <a:cubicBezTo>
                  <a:pt x="907739" y="118104"/>
                  <a:pt x="917280" y="123456"/>
                  <a:pt x="923317" y="130137"/>
                </a:cubicBezTo>
                <a:cubicBezTo>
                  <a:pt x="929353" y="136819"/>
                  <a:pt x="932334" y="145554"/>
                  <a:pt x="932259" y="156344"/>
                </a:cubicBezTo>
                <a:cubicBezTo>
                  <a:pt x="932190" y="169114"/>
                  <a:pt x="927356" y="179346"/>
                  <a:pt x="917758" y="187040"/>
                </a:cubicBezTo>
                <a:cubicBezTo>
                  <a:pt x="908159" y="194734"/>
                  <a:pt x="894209" y="198681"/>
                  <a:pt x="875910" y="198883"/>
                </a:cubicBezTo>
                <a:cubicBezTo>
                  <a:pt x="865753" y="198906"/>
                  <a:pt x="856718" y="198169"/>
                  <a:pt x="848805" y="196673"/>
                </a:cubicBezTo>
                <a:cubicBezTo>
                  <a:pt x="840892" y="195177"/>
                  <a:pt x="833722" y="192783"/>
                  <a:pt x="827294" y="189491"/>
                </a:cubicBezTo>
                <a:cubicBezTo>
                  <a:pt x="827570" y="183863"/>
                  <a:pt x="828054" y="178960"/>
                  <a:pt x="828744" y="174782"/>
                </a:cubicBezTo>
                <a:cubicBezTo>
                  <a:pt x="829435" y="170604"/>
                  <a:pt x="830332" y="166944"/>
                  <a:pt x="831437" y="163802"/>
                </a:cubicBezTo>
                <a:cubicBezTo>
                  <a:pt x="837986" y="166985"/>
                  <a:pt x="845191" y="169390"/>
                  <a:pt x="853052" y="171019"/>
                </a:cubicBezTo>
                <a:cubicBezTo>
                  <a:pt x="860913" y="172647"/>
                  <a:pt x="868256" y="173464"/>
                  <a:pt x="875081" y="173470"/>
                </a:cubicBezTo>
                <a:cubicBezTo>
                  <a:pt x="883822" y="173516"/>
                  <a:pt x="890509" y="172250"/>
                  <a:pt x="895142" y="169672"/>
                </a:cubicBezTo>
                <a:cubicBezTo>
                  <a:pt x="899774" y="167094"/>
                  <a:pt x="902111" y="162928"/>
                  <a:pt x="902151" y="157173"/>
                </a:cubicBezTo>
                <a:cubicBezTo>
                  <a:pt x="902082" y="152189"/>
                  <a:pt x="900148" y="148345"/>
                  <a:pt x="896350" y="145640"/>
                </a:cubicBezTo>
                <a:cubicBezTo>
                  <a:pt x="892552" y="142936"/>
                  <a:pt x="887304" y="140611"/>
                  <a:pt x="880605" y="138666"/>
                </a:cubicBezTo>
                <a:lnTo>
                  <a:pt x="866518" y="134246"/>
                </a:lnTo>
                <a:cubicBezTo>
                  <a:pt x="852758" y="129821"/>
                  <a:pt x="843056" y="123963"/>
                  <a:pt x="837411" y="116671"/>
                </a:cubicBezTo>
                <a:cubicBezTo>
                  <a:pt x="831765" y="109380"/>
                  <a:pt x="829038" y="100691"/>
                  <a:pt x="829228" y="90603"/>
                </a:cubicBezTo>
                <a:cubicBezTo>
                  <a:pt x="829251" y="77781"/>
                  <a:pt x="833693" y="67791"/>
                  <a:pt x="842555" y="60632"/>
                </a:cubicBezTo>
                <a:cubicBezTo>
                  <a:pt x="851418" y="53473"/>
                  <a:pt x="864561" y="49836"/>
                  <a:pt x="881987"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1" y="162421"/>
                </a:cubicBezTo>
                <a:cubicBezTo>
                  <a:pt x="807333" y="166507"/>
                  <a:pt x="806654" y="170973"/>
                  <a:pt x="805854" y="175818"/>
                </a:cubicBezTo>
                <a:cubicBezTo>
                  <a:pt x="805054"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49" y="76722"/>
                  <a:pt x="259156"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1068353" y="28452"/>
                </a:moveTo>
                <a:cubicBezTo>
                  <a:pt x="1064998" y="28435"/>
                  <a:pt x="1061418" y="28538"/>
                  <a:pt x="1057614" y="28763"/>
                </a:cubicBezTo>
                <a:cubicBezTo>
                  <a:pt x="1053811" y="28987"/>
                  <a:pt x="1050024" y="29436"/>
                  <a:pt x="1046255" y="30109"/>
                </a:cubicBezTo>
                <a:lnTo>
                  <a:pt x="1046255" y="101375"/>
                </a:lnTo>
                <a:lnTo>
                  <a:pt x="1069458" y="101375"/>
                </a:lnTo>
                <a:cubicBezTo>
                  <a:pt x="1084615" y="101312"/>
                  <a:pt x="1095872" y="98193"/>
                  <a:pt x="1103226" y="92018"/>
                </a:cubicBezTo>
                <a:cubicBezTo>
                  <a:pt x="1110581" y="85844"/>
                  <a:pt x="1114241" y="76993"/>
                  <a:pt x="1114206" y="65466"/>
                </a:cubicBezTo>
                <a:cubicBezTo>
                  <a:pt x="1114264" y="52927"/>
                  <a:pt x="1110558" y="43616"/>
                  <a:pt x="1103088" y="37533"/>
                </a:cubicBezTo>
                <a:cubicBezTo>
                  <a:pt x="1095618" y="31450"/>
                  <a:pt x="1084040" y="28423"/>
                  <a:pt x="1068353" y="28452"/>
                </a:cubicBezTo>
                <a:close/>
                <a:moveTo>
                  <a:pt x="2396728" y="2211"/>
                </a:moveTo>
                <a:lnTo>
                  <a:pt x="2396728" y="54417"/>
                </a:lnTo>
                <a:lnTo>
                  <a:pt x="2444791" y="54417"/>
                </a:lnTo>
                <a:cubicBezTo>
                  <a:pt x="2444285" y="63763"/>
                  <a:pt x="2443364" y="72418"/>
                  <a:pt x="2442029" y="80382"/>
                </a:cubicBezTo>
                <a:lnTo>
                  <a:pt x="2396728" y="80382"/>
                </a:lnTo>
                <a:lnTo>
                  <a:pt x="2396728" y="148057"/>
                </a:lnTo>
                <a:cubicBezTo>
                  <a:pt x="2396792" y="156948"/>
                  <a:pt x="2398875" y="163336"/>
                  <a:pt x="2402978" y="167221"/>
                </a:cubicBezTo>
                <a:cubicBezTo>
                  <a:pt x="2407081" y="171105"/>
                  <a:pt x="2412824" y="173004"/>
                  <a:pt x="2420207" y="172918"/>
                </a:cubicBezTo>
                <a:cubicBezTo>
                  <a:pt x="2424650" y="172900"/>
                  <a:pt x="2428885" y="172521"/>
                  <a:pt x="2432914" y="171778"/>
                </a:cubicBezTo>
                <a:cubicBezTo>
                  <a:pt x="2436942" y="171036"/>
                  <a:pt x="2440625" y="170035"/>
                  <a:pt x="2443963" y="168774"/>
                </a:cubicBezTo>
                <a:cubicBezTo>
                  <a:pt x="2443554" y="172969"/>
                  <a:pt x="2443059" y="177285"/>
                  <a:pt x="2442478" y="181722"/>
                </a:cubicBezTo>
                <a:cubicBezTo>
                  <a:pt x="2441897" y="186159"/>
                  <a:pt x="2441195" y="190406"/>
                  <a:pt x="2440372" y="194463"/>
                </a:cubicBezTo>
                <a:cubicBezTo>
                  <a:pt x="2436211" y="196098"/>
                  <a:pt x="2431964" y="197249"/>
                  <a:pt x="2427631" y="197916"/>
                </a:cubicBezTo>
                <a:cubicBezTo>
                  <a:pt x="2423298" y="198584"/>
                  <a:pt x="2418982" y="198906"/>
                  <a:pt x="2414683" y="198883"/>
                </a:cubicBezTo>
                <a:cubicBezTo>
                  <a:pt x="2399738" y="199021"/>
                  <a:pt x="2387987" y="195361"/>
                  <a:pt x="2379430" y="187903"/>
                </a:cubicBezTo>
                <a:cubicBezTo>
                  <a:pt x="2370872" y="180445"/>
                  <a:pt x="2366510" y="168360"/>
                  <a:pt x="2366344" y="151648"/>
                </a:cubicBezTo>
                <a:lnTo>
                  <a:pt x="2366344" y="6630"/>
                </a:lnTo>
                <a:cubicBezTo>
                  <a:pt x="2371131" y="5117"/>
                  <a:pt x="2376196" y="4000"/>
                  <a:pt x="2381536" y="3281"/>
                </a:cubicBezTo>
                <a:cubicBezTo>
                  <a:pt x="2386876" y="2562"/>
                  <a:pt x="2391940" y="2205"/>
                  <a:pt x="2396728" y="2211"/>
                </a:cubicBezTo>
                <a:close/>
                <a:moveTo>
                  <a:pt x="2052742" y="2211"/>
                </a:moveTo>
                <a:lnTo>
                  <a:pt x="2052742" y="138942"/>
                </a:lnTo>
                <a:cubicBezTo>
                  <a:pt x="2052737" y="158266"/>
                  <a:pt x="2047776" y="172722"/>
                  <a:pt x="2037861" y="182309"/>
                </a:cubicBezTo>
                <a:cubicBezTo>
                  <a:pt x="2027945" y="191897"/>
                  <a:pt x="2013110" y="196685"/>
                  <a:pt x="1993354" y="196673"/>
                </a:cubicBezTo>
                <a:cubicBezTo>
                  <a:pt x="1990120" y="196662"/>
                  <a:pt x="1986713" y="196477"/>
                  <a:pt x="1983134" y="196121"/>
                </a:cubicBezTo>
                <a:cubicBezTo>
                  <a:pt x="1979554" y="195764"/>
                  <a:pt x="1976148" y="195303"/>
                  <a:pt x="1972913" y="194739"/>
                </a:cubicBezTo>
                <a:cubicBezTo>
                  <a:pt x="1973057" y="190222"/>
                  <a:pt x="1973322" y="185584"/>
                  <a:pt x="1973708" y="180825"/>
                </a:cubicBezTo>
                <a:cubicBezTo>
                  <a:pt x="1974093" y="176066"/>
                  <a:pt x="1974565" y="171772"/>
                  <a:pt x="1975123" y="167946"/>
                </a:cubicBezTo>
                <a:cubicBezTo>
                  <a:pt x="1977908" y="168498"/>
                  <a:pt x="1980832" y="168912"/>
                  <a:pt x="1983893" y="169189"/>
                </a:cubicBezTo>
                <a:cubicBezTo>
                  <a:pt x="1986955" y="169465"/>
                  <a:pt x="1990016" y="169603"/>
                  <a:pt x="1993078" y="169603"/>
                </a:cubicBezTo>
                <a:cubicBezTo>
                  <a:pt x="2002976" y="169695"/>
                  <a:pt x="2010250" y="167025"/>
                  <a:pt x="2014900" y="161592"/>
                </a:cubicBezTo>
                <a:cubicBezTo>
                  <a:pt x="2019549" y="156160"/>
                  <a:pt x="2021851" y="147413"/>
                  <a:pt x="2021805" y="135351"/>
                </a:cubicBezTo>
                <a:lnTo>
                  <a:pt x="2021805" y="6630"/>
                </a:lnTo>
                <a:cubicBezTo>
                  <a:pt x="2025891" y="5479"/>
                  <a:pt x="2030840" y="4466"/>
                  <a:pt x="2036652" y="3592"/>
                </a:cubicBezTo>
                <a:cubicBezTo>
                  <a:pt x="2042465" y="2717"/>
                  <a:pt x="2047828" y="2257"/>
                  <a:pt x="2052742" y="2211"/>
                </a:cubicBezTo>
                <a:close/>
                <a:moveTo>
                  <a:pt x="1902809" y="2211"/>
                </a:moveTo>
                <a:lnTo>
                  <a:pt x="1902809" y="195568"/>
                </a:lnTo>
                <a:lnTo>
                  <a:pt x="1872425" y="195568"/>
                </a:lnTo>
                <a:lnTo>
                  <a:pt x="1872425" y="6630"/>
                </a:lnTo>
                <a:cubicBezTo>
                  <a:pt x="1876487" y="5479"/>
                  <a:pt x="1881344"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0" y="3592"/>
                </a:cubicBezTo>
                <a:cubicBezTo>
                  <a:pt x="644872" y="2717"/>
                  <a:pt x="650143" y="2257"/>
                  <a:pt x="655034" y="2211"/>
                </a:cubicBezTo>
                <a:close/>
                <a:moveTo>
                  <a:pt x="1067248" y="1382"/>
                </a:moveTo>
                <a:cubicBezTo>
                  <a:pt x="1087086" y="1532"/>
                  <a:pt x="1102746" y="4393"/>
                  <a:pt x="1114226" y="9965"/>
                </a:cubicBezTo>
                <a:cubicBezTo>
                  <a:pt x="1125707" y="15538"/>
                  <a:pt x="1133857" y="22921"/>
                  <a:pt x="1138677" y="32115"/>
                </a:cubicBezTo>
                <a:cubicBezTo>
                  <a:pt x="1143498" y="41308"/>
                  <a:pt x="1145837" y="51413"/>
                  <a:pt x="1145696" y="62428"/>
                </a:cubicBezTo>
                <a:cubicBezTo>
                  <a:pt x="1145540" y="83283"/>
                  <a:pt x="1138876" y="99373"/>
                  <a:pt x="1125704" y="110698"/>
                </a:cubicBezTo>
                <a:cubicBezTo>
                  <a:pt x="1112531" y="122023"/>
                  <a:pt x="1093783" y="127755"/>
                  <a:pt x="1069458" y="127893"/>
                </a:cubicBezTo>
                <a:lnTo>
                  <a:pt x="1046255" y="127893"/>
                </a:lnTo>
                <a:lnTo>
                  <a:pt x="1046255" y="195292"/>
                </a:lnTo>
                <a:lnTo>
                  <a:pt x="1015317" y="195292"/>
                </a:lnTo>
                <a:lnTo>
                  <a:pt x="1015317" y="6906"/>
                </a:lnTo>
                <a:cubicBezTo>
                  <a:pt x="1022298" y="5347"/>
                  <a:pt x="1030435" y="4046"/>
                  <a:pt x="1039729" y="3005"/>
                </a:cubicBezTo>
                <a:cubicBezTo>
                  <a:pt x="1049023" y="1963"/>
                  <a:pt x="1058196" y="1422"/>
                  <a:pt x="1067248" y="1382"/>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7"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5"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80"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2"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1"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9" y="112977"/>
                </a:cubicBezTo>
                <a:lnTo>
                  <a:pt x="45301" y="106900"/>
                </a:lnTo>
                <a:cubicBezTo>
                  <a:pt x="32123" y="101473"/>
                  <a:pt x="21603" y="94510"/>
                  <a:pt x="13742" y="86010"/>
                </a:cubicBezTo>
                <a:cubicBezTo>
                  <a:pt x="5882" y="77511"/>
                  <a:pt x="1853" y="66059"/>
                  <a:pt x="1658" y="51655"/>
                </a:cubicBezTo>
                <a:cubicBezTo>
                  <a:pt x="1635" y="35726"/>
                  <a:pt x="7136" y="23181"/>
                  <a:pt x="18162" y="14019"/>
                </a:cubicBezTo>
                <a:cubicBezTo>
                  <a:pt x="29188" y="4858"/>
                  <a:pt x="45876" y="185"/>
                  <a:pt x="68228" y="1"/>
                </a:cubicBezTo>
                <a:close/>
              </a:path>
            </a:pathLst>
          </a:custGeom>
          <a:solidFill>
            <a:srgbClr val="FF000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ES" sz="2200">
              <a:solidFill>
                <a:srgbClr val="FF0000"/>
              </a:solidFill>
              <a:latin typeface="Santander Logo" panose="020B0504020201010104" pitchFamily="34" charset="0"/>
            </a:endParaRPr>
          </a:p>
        </p:txBody>
      </p:sp>
    </p:spTree>
    <p:extLst>
      <p:ext uri="{BB962C8B-B14F-4D97-AF65-F5344CB8AC3E}">
        <p14:creationId xmlns:p14="http://schemas.microsoft.com/office/powerpoint/2010/main" val="15007738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3.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3.sv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png"/><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tags" Target="../tags/tag5.xml"/><Relationship Id="rId26" Type="http://schemas.openxmlformats.org/officeDocument/2006/relationships/tags" Target="../tags/tag13.xml"/><Relationship Id="rId39" Type="http://schemas.openxmlformats.org/officeDocument/2006/relationships/oleObject" Target="../embeddings/oleObject2.bin"/><Relationship Id="rId21" Type="http://schemas.openxmlformats.org/officeDocument/2006/relationships/tags" Target="../tags/tag8.xml"/><Relationship Id="rId34" Type="http://schemas.openxmlformats.org/officeDocument/2006/relationships/tags" Target="../tags/tag21.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tags" Target="../tags/tag20.xml"/><Relationship Id="rId38" Type="http://schemas.openxmlformats.org/officeDocument/2006/relationships/tags" Target="../tags/tag25.xml"/><Relationship Id="rId2" Type="http://schemas.openxmlformats.org/officeDocument/2006/relationships/slideLayout" Target="../slideLayouts/slideLayout26.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tags" Target="../tags/tag1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11.xml"/><Relationship Id="rId32" Type="http://schemas.openxmlformats.org/officeDocument/2006/relationships/tags" Target="../tags/tag19.xml"/><Relationship Id="rId37" Type="http://schemas.openxmlformats.org/officeDocument/2006/relationships/tags" Target="../tags/tag24.xml"/><Relationship Id="rId40" Type="http://schemas.openxmlformats.org/officeDocument/2006/relationships/image" Target="../media/image12.emf"/><Relationship Id="rId5" Type="http://schemas.openxmlformats.org/officeDocument/2006/relationships/slideLayout" Target="../slideLayouts/slideLayout29.xml"/><Relationship Id="rId15" Type="http://schemas.openxmlformats.org/officeDocument/2006/relationships/theme" Target="../theme/theme3.xml"/><Relationship Id="rId23" Type="http://schemas.openxmlformats.org/officeDocument/2006/relationships/tags" Target="../tags/tag10.xml"/><Relationship Id="rId28" Type="http://schemas.openxmlformats.org/officeDocument/2006/relationships/tags" Target="../tags/tag15.xml"/><Relationship Id="rId36" Type="http://schemas.openxmlformats.org/officeDocument/2006/relationships/tags" Target="../tags/tag23.xml"/><Relationship Id="rId10" Type="http://schemas.openxmlformats.org/officeDocument/2006/relationships/slideLayout" Target="../slideLayouts/slideLayout34.xml"/><Relationship Id="rId19" Type="http://schemas.openxmlformats.org/officeDocument/2006/relationships/tags" Target="../tags/tag6.xml"/><Relationship Id="rId31" Type="http://schemas.openxmlformats.org/officeDocument/2006/relationships/tags" Target="../tags/tag1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tags" Target="../tags/tag22.xml"/><Relationship Id="rId8" Type="http://schemas.openxmlformats.org/officeDocument/2006/relationships/slideLayout" Target="../slideLayouts/slideLayout32.xml"/><Relationship Id="rId3"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theme" Target="../theme/theme4.xml"/><Relationship Id="rId26" Type="http://schemas.openxmlformats.org/officeDocument/2006/relationships/tags" Target="../tags/tag142.xml"/><Relationship Id="rId39" Type="http://schemas.openxmlformats.org/officeDocument/2006/relationships/tags" Target="../tags/tag155.xml"/><Relationship Id="rId21" Type="http://schemas.openxmlformats.org/officeDocument/2006/relationships/tags" Target="../tags/tag137.xml"/><Relationship Id="rId34" Type="http://schemas.openxmlformats.org/officeDocument/2006/relationships/tags" Target="../tags/tag150.xml"/><Relationship Id="rId42" Type="http://schemas.openxmlformats.org/officeDocument/2006/relationships/oleObject" Target="../embeddings/oleObject2.bin"/><Relationship Id="rId7" Type="http://schemas.openxmlformats.org/officeDocument/2006/relationships/slideLayout" Target="../slideLayouts/slideLayout4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tags" Target="../tags/tag136.xml"/><Relationship Id="rId29" Type="http://schemas.openxmlformats.org/officeDocument/2006/relationships/tags" Target="../tags/tag145.xml"/><Relationship Id="rId41" Type="http://schemas.openxmlformats.org/officeDocument/2006/relationships/tags" Target="../tags/tag15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tags" Target="../tags/tag140.xml"/><Relationship Id="rId32" Type="http://schemas.openxmlformats.org/officeDocument/2006/relationships/tags" Target="../tags/tag148.xml"/><Relationship Id="rId37" Type="http://schemas.openxmlformats.org/officeDocument/2006/relationships/tags" Target="../tags/tag153.xml"/><Relationship Id="rId40" Type="http://schemas.openxmlformats.org/officeDocument/2006/relationships/tags" Target="../tags/tag156.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ags" Target="../tags/tag139.xml"/><Relationship Id="rId28" Type="http://schemas.openxmlformats.org/officeDocument/2006/relationships/tags" Target="../tags/tag144.xml"/><Relationship Id="rId36" Type="http://schemas.openxmlformats.org/officeDocument/2006/relationships/tags" Target="../tags/tag152.xml"/><Relationship Id="rId10" Type="http://schemas.openxmlformats.org/officeDocument/2006/relationships/slideLayout" Target="../slideLayouts/slideLayout48.xml"/><Relationship Id="rId19" Type="http://schemas.openxmlformats.org/officeDocument/2006/relationships/tags" Target="../tags/tag135.xml"/><Relationship Id="rId31" Type="http://schemas.openxmlformats.org/officeDocument/2006/relationships/tags" Target="../tags/tag14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tags" Target="../tags/tag138.xml"/><Relationship Id="rId27" Type="http://schemas.openxmlformats.org/officeDocument/2006/relationships/tags" Target="../tags/tag143.xml"/><Relationship Id="rId30" Type="http://schemas.openxmlformats.org/officeDocument/2006/relationships/tags" Target="../tags/tag146.xml"/><Relationship Id="rId35" Type="http://schemas.openxmlformats.org/officeDocument/2006/relationships/tags" Target="../tags/tag151.xml"/><Relationship Id="rId43" Type="http://schemas.openxmlformats.org/officeDocument/2006/relationships/image" Target="../media/image12.emf"/><Relationship Id="rId8" Type="http://schemas.openxmlformats.org/officeDocument/2006/relationships/slideLayout" Target="../slideLayouts/slideLayout46.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tags" Target="../tags/tag141.xml"/><Relationship Id="rId33" Type="http://schemas.openxmlformats.org/officeDocument/2006/relationships/tags" Target="../tags/tag149.xml"/><Relationship Id="rId38" Type="http://schemas.openxmlformats.org/officeDocument/2006/relationships/tags" Target="../tags/tag15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oleObject" Target="../embeddings/oleObject1.bin"/><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tags" Target="../tags/tag276.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image" Target="../media/image3.sv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theme" Target="../theme/theme5.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image" Target="../media/image2.png"/><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image" Target="../media/image1.emf"/><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oleObject" Target="../embeddings/oleObject1.bin"/><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tags" Target="../tags/tag277.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theme" Target="../theme/theme6.xml"/><Relationship Id="rId28" Type="http://schemas.openxmlformats.org/officeDocument/2006/relationships/image" Target="../media/image20.svg"/><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oleObject" Target="../embeddings/oleObject12.bin"/><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tags" Target="../tags/tag278.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image" Target="../media/image47.svg"/><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theme" Target="../theme/theme7.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image" Target="../media/image2.png"/><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1.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theme" Target="../theme/theme8.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userDrawn="1">
            <p:custDataLst>
              <p:tags r:id="rId14"/>
            </p:custDataLst>
            <p:extLst>
              <p:ext uri="{D42A27DB-BD31-4B8C-83A1-F6EECF244321}">
                <p14:modId xmlns:p14="http://schemas.microsoft.com/office/powerpoint/2010/main" val="2656345117"/>
              </p:ext>
            </p:extLst>
          </p:nvPr>
        </p:nvGraphicFramePr>
        <p:xfrm>
          <a:off x="2120" y="1593"/>
          <a:ext cx="2116" cy="1587"/>
        </p:xfrm>
        <a:graphic>
          <a:graphicData uri="http://schemas.openxmlformats.org/presentationml/2006/ole">
            <mc:AlternateContent xmlns:mc="http://schemas.openxmlformats.org/markup-compatibility/2006">
              <mc:Choice xmlns:v="urn:schemas-microsoft-com:vml" Requires="v">
                <p:oleObj name="Slide do think-cell" r:id="rId15" imgW="216" imgH="216" progId="TCLayout.ActiveDocument.1">
                  <p:embed/>
                </p:oleObj>
              </mc:Choice>
              <mc:Fallback>
                <p:oleObj name="Slide do think-cell" r:id="rId15" imgW="216" imgH="216" progId="TCLayout.ActiveDocument.1">
                  <p:embed/>
                  <p:pic>
                    <p:nvPicPr>
                      <p:cNvPr id="2" name="1 Objeto" hidden="1"/>
                      <p:cNvPicPr/>
                      <p:nvPr/>
                    </p:nvPicPr>
                    <p:blipFill>
                      <a:blip r:embed="rId16"/>
                      <a:stretch>
                        <a:fillRect/>
                      </a:stretch>
                    </p:blipFill>
                    <p:spPr>
                      <a:xfrm>
                        <a:off x="2120" y="1593"/>
                        <a:ext cx="2116" cy="1587"/>
                      </a:xfrm>
                      <a:prstGeom prst="rect">
                        <a:avLst/>
                      </a:prstGeom>
                    </p:spPr>
                  </p:pic>
                </p:oleObj>
              </mc:Fallback>
            </mc:AlternateContent>
          </a:graphicData>
        </a:graphic>
      </p:graphicFrame>
      <p:sp>
        <p:nvSpPr>
          <p:cNvPr id="6" name="Marcador de texto 2">
            <a:extLst>
              <a:ext uri="{FF2B5EF4-FFF2-40B4-BE49-F238E27FC236}">
                <a16:creationId xmlns:a16="http://schemas.microsoft.com/office/drawing/2014/main" id="{70BD3726-4CCC-4808-AF74-D4FC34B77CC4}"/>
              </a:ext>
            </a:extLst>
          </p:cNvPr>
          <p:cNvSpPr>
            <a:spLocks noGrp="1"/>
          </p:cNvSpPr>
          <p:nvPr>
            <p:ph type="body" idx="1"/>
          </p:nvPr>
        </p:nvSpPr>
        <p:spPr>
          <a:xfrm>
            <a:off x="550863" y="1628776"/>
            <a:ext cx="11090274" cy="4429124"/>
          </a:xfrm>
          <a:prstGeom prst="rect">
            <a:avLst/>
          </a:prstGeom>
        </p:spPr>
        <p:txBody>
          <a:bodyPr vert="horz" lIns="0" tIns="108000" rIns="0" bIns="0" rtlCol="0">
            <a:noAutofit/>
          </a:body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text</a:t>
            </a:r>
          </a:p>
          <a:p>
            <a:pPr marL="342900" marR="0" lvl="1" indent="-342900" algn="l" defTabSz="912754" rtl="0" eaLnBrk="1" fontAlgn="auto" latinLnBrk="0" hangingPunct="1">
              <a:lnSpc>
                <a:spcPct val="90000"/>
              </a:lnSpc>
              <a:spcBef>
                <a:spcPts val="998"/>
              </a:spcBef>
              <a:spcAft>
                <a:spcPts val="0"/>
              </a:spcAft>
              <a:buClrTx/>
              <a:buSzTx/>
              <a:tabLst/>
              <a:defRPr/>
            </a:pPr>
            <a:r>
              <a:rPr lang="en-US" noProof="0"/>
              <a:t>Second level</a:t>
            </a:r>
          </a:p>
          <a:p>
            <a:pPr marL="531813" marR="0" lvl="3" indent="-342900" algn="l" defTabSz="912754" rtl="0" eaLnBrk="1" fontAlgn="auto" latinLnBrk="0" hangingPunct="1">
              <a:lnSpc>
                <a:spcPct val="90000"/>
              </a:lnSpc>
              <a:spcBef>
                <a:spcPts val="998"/>
              </a:spcBef>
              <a:spcAft>
                <a:spcPts val="0"/>
              </a:spcAft>
              <a:buClrTx/>
              <a:buSzTx/>
              <a:tabLst/>
              <a:defRPr/>
            </a:pPr>
            <a:r>
              <a:rPr lang="en-US" noProof="0"/>
              <a:t>Third level</a:t>
            </a:r>
          </a:p>
        </p:txBody>
      </p:sp>
      <p:pic>
        <p:nvPicPr>
          <p:cNvPr id="10" name="Gráfico 11">
            <a:extLst>
              <a:ext uri="{FF2B5EF4-FFF2-40B4-BE49-F238E27FC236}">
                <a16:creationId xmlns:a16="http://schemas.microsoft.com/office/drawing/2014/main" id="{46F02B97-5DFD-40AB-8C00-253ED62D2D6B}"/>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0168185" y="6467037"/>
            <a:ext cx="1223683" cy="214585"/>
          </a:xfrm>
          <a:prstGeom prst="rect">
            <a:avLst/>
          </a:prstGeom>
        </p:spPr>
      </p:pic>
      <p:cxnSp>
        <p:nvCxnSpPr>
          <p:cNvPr id="8" name="Straight Connector 7">
            <a:extLst>
              <a:ext uri="{FF2B5EF4-FFF2-40B4-BE49-F238E27FC236}">
                <a16:creationId xmlns:a16="http://schemas.microsoft.com/office/drawing/2014/main" id="{37BA9BCE-A3E8-411D-907B-B79FCB4A37A3}"/>
              </a:ext>
            </a:extLst>
          </p:cNvPr>
          <p:cNvCxnSpPr/>
          <p:nvPr userDrawn="1"/>
        </p:nvCxnSpPr>
        <p:spPr>
          <a:xfrm>
            <a:off x="550863" y="6421143"/>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aixaDeTexto 2">
            <a:extLst>
              <a:ext uri="{FF2B5EF4-FFF2-40B4-BE49-F238E27FC236}">
                <a16:creationId xmlns:a16="http://schemas.microsoft.com/office/drawing/2014/main" id="{EB9E7705-CA3F-100C-A4D3-639B5EE693BD}"/>
              </a:ext>
            </a:extLst>
          </p:cNvPr>
          <p:cNvSpPr txBox="1"/>
          <p:nvPr>
            <p:extLst>
              <p:ext uri="{1162E1C5-73C7-4A58-AE30-91384D911F3F}">
                <p184:classification xmlns:p184="http://schemas.microsoft.com/office/powerpoint/2018/4/main" val="hdr"/>
              </p:ext>
            </p:extLst>
          </p:nvPr>
        </p:nvSpPr>
        <p:spPr>
          <a:xfrm>
            <a:off x="190500" y="190500"/>
            <a:ext cx="654050" cy="152400"/>
          </a:xfrm>
          <a:prstGeom prst="rect">
            <a:avLst/>
          </a:prstGeom>
        </p:spPr>
        <p:txBody>
          <a:bodyPr horzOverflow="overflow" lIns="0" tIns="0" rIns="0" bIns="0">
            <a:spAutoFit/>
          </a:bodyPr>
          <a:lstStyle/>
          <a:p>
            <a:pPr algn="l"/>
            <a:r>
              <a:rPr lang="pt-BR" sz="1000">
                <a:solidFill>
                  <a:srgbClr val="000000"/>
                </a:solidFill>
                <a:latin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517432303"/>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873" r:id="rId12"/>
  </p:sldLayoutIdLst>
  <p:hf sldNum="0" hdr="0" ftr="0" dt="0"/>
  <p:txStyles>
    <p:titleStyle>
      <a:lvl1pPr algn="l" defTabSz="912688" rtl="0" eaLnBrk="1" latinLnBrk="0" hangingPunct="1">
        <a:lnSpc>
          <a:spcPct val="100000"/>
        </a:lnSpc>
        <a:spcBef>
          <a:spcPct val="0"/>
        </a:spcBef>
        <a:buNone/>
        <a:defRPr lang="en-US" sz="2400" b="1" kern="1200" dirty="0">
          <a:solidFill>
            <a:schemeClr val="tx1"/>
          </a:solidFill>
          <a:latin typeface="+mj-lt"/>
          <a:ea typeface="+mj-ea"/>
          <a:cs typeface="Arial" panose="020B0604020202020204" pitchFamily="34" charset="0"/>
        </a:defRPr>
      </a:lvl1pPr>
    </p:titleStyle>
    <p:bodyStyle>
      <a:lvl1pPr marL="0" indent="0" algn="l" defTabSz="912688" rtl="0" eaLnBrk="1" latinLnBrk="0" hangingPunct="1">
        <a:lnSpc>
          <a:spcPct val="100000"/>
        </a:lnSpc>
        <a:spcBef>
          <a:spcPts val="998"/>
        </a:spcBef>
        <a:buFont typeface="Webdings" panose="05030102010509060703" pitchFamily="18" charset="2"/>
        <a:buNone/>
        <a:defRPr sz="1600" kern="1200">
          <a:solidFill>
            <a:schemeClr val="bg2"/>
          </a:solidFill>
          <a:latin typeface="Santander Text"/>
          <a:ea typeface="+mn-ea"/>
          <a:cs typeface="+mn-cs"/>
        </a:defRPr>
      </a:lvl1pPr>
      <a:lvl2pPr marL="0" indent="0" algn="l" defTabSz="912688" rtl="0" eaLnBrk="1" latinLnBrk="0" hangingPunct="1">
        <a:lnSpc>
          <a:spcPct val="100000"/>
        </a:lnSpc>
        <a:spcBef>
          <a:spcPts val="499"/>
        </a:spcBef>
        <a:buClr>
          <a:schemeClr val="accent4"/>
        </a:buClr>
        <a:buSzPct val="110000"/>
        <a:buFont typeface="Webdings" panose="05030102010509060703" pitchFamily="18" charset="2"/>
        <a:buChar char="4"/>
        <a:defRPr sz="1600" kern="1200">
          <a:solidFill>
            <a:schemeClr val="bg2"/>
          </a:solidFill>
          <a:latin typeface="Santander Text"/>
          <a:ea typeface="+mn-ea"/>
          <a:cs typeface="+mn-cs"/>
        </a:defRPr>
      </a:lvl2pPr>
      <a:lvl3pPr marL="174625" indent="188913" algn="l" defTabSz="912688" rtl="0" eaLnBrk="1" latinLnBrk="0" hangingPunct="1">
        <a:lnSpc>
          <a:spcPct val="90000"/>
        </a:lnSpc>
        <a:spcBef>
          <a:spcPts val="499"/>
        </a:spcBef>
        <a:buClr>
          <a:srgbClr val="8AB9CC"/>
        </a:buClr>
        <a:buFont typeface="Webdings" panose="05030102010509060703" pitchFamily="18" charset="2"/>
        <a:buChar char=""/>
        <a:defRPr sz="1600" kern="1200">
          <a:solidFill>
            <a:schemeClr val="bg2"/>
          </a:solidFill>
          <a:latin typeface="Santander Text"/>
          <a:ea typeface="+mn-ea"/>
          <a:cs typeface="+mn-cs"/>
        </a:defRPr>
      </a:lvl3pPr>
      <a:lvl4pPr marL="363538" indent="174625" algn="l" defTabSz="912688" rtl="0" eaLnBrk="1" latinLnBrk="0" hangingPunct="1">
        <a:lnSpc>
          <a:spcPct val="100000"/>
        </a:lnSpc>
        <a:spcBef>
          <a:spcPts val="499"/>
        </a:spcBef>
        <a:buClr>
          <a:schemeClr val="accent4"/>
        </a:buClr>
        <a:buFont typeface="Arial" panose="020B0604020202020204" pitchFamily="34" charset="0"/>
        <a:buChar char="•"/>
        <a:defRPr sz="1600" kern="1200">
          <a:solidFill>
            <a:schemeClr val="bg2"/>
          </a:solidFill>
          <a:latin typeface="Santander Text"/>
          <a:ea typeface="+mn-ea"/>
          <a:cs typeface="+mn-cs"/>
        </a:defRPr>
      </a:lvl4pPr>
      <a:lvl5pPr marL="538163" indent="174625" algn="l" defTabSz="912688" rtl="0" eaLnBrk="1" latinLnBrk="0" hangingPunct="1">
        <a:lnSpc>
          <a:spcPct val="90000"/>
        </a:lnSpc>
        <a:spcBef>
          <a:spcPts val="499"/>
        </a:spcBef>
        <a:buClr>
          <a:srgbClr val="8AB9CC"/>
        </a:buClr>
        <a:buFont typeface="Webdings" panose="05030102010509060703" pitchFamily="18" charset="2"/>
        <a:buChar char=""/>
        <a:defRPr sz="1600" kern="1200">
          <a:solidFill>
            <a:schemeClr val="bg2"/>
          </a:solidFill>
          <a:latin typeface="Santander Text"/>
          <a:ea typeface="+mn-ea"/>
          <a:cs typeface="+mn-cs"/>
        </a:defRPr>
      </a:lvl5pPr>
      <a:lvl6pPr marL="2509895" indent="-228173" algn="l" defTabSz="912688"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6pPr>
      <a:lvl7pPr marL="2966239" indent="-228173" algn="l" defTabSz="912688"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7pPr>
      <a:lvl8pPr marL="3422584" indent="-228173" algn="l" defTabSz="912688"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8pPr>
      <a:lvl9pPr marL="3878929" indent="-228173" algn="l" defTabSz="912688"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2688" rtl="0" eaLnBrk="1" latinLnBrk="0" hangingPunct="1">
        <a:defRPr sz="1797" kern="1200">
          <a:solidFill>
            <a:schemeClr val="tx1"/>
          </a:solidFill>
          <a:latin typeface="+mn-lt"/>
          <a:ea typeface="+mn-ea"/>
          <a:cs typeface="+mn-cs"/>
        </a:defRPr>
      </a:lvl1pPr>
      <a:lvl2pPr marL="456344" algn="l" defTabSz="912688" rtl="0" eaLnBrk="1" latinLnBrk="0" hangingPunct="1">
        <a:defRPr sz="1797" kern="1200">
          <a:solidFill>
            <a:schemeClr val="tx1"/>
          </a:solidFill>
          <a:latin typeface="+mn-lt"/>
          <a:ea typeface="+mn-ea"/>
          <a:cs typeface="+mn-cs"/>
        </a:defRPr>
      </a:lvl2pPr>
      <a:lvl3pPr marL="912688" algn="l" defTabSz="912688" rtl="0" eaLnBrk="1" latinLnBrk="0" hangingPunct="1">
        <a:defRPr sz="1797" kern="1200">
          <a:solidFill>
            <a:schemeClr val="tx1"/>
          </a:solidFill>
          <a:latin typeface="+mn-lt"/>
          <a:ea typeface="+mn-ea"/>
          <a:cs typeface="+mn-cs"/>
        </a:defRPr>
      </a:lvl3pPr>
      <a:lvl4pPr marL="1369034" algn="l" defTabSz="912688" rtl="0" eaLnBrk="1" latinLnBrk="0" hangingPunct="1">
        <a:defRPr sz="1797" kern="1200">
          <a:solidFill>
            <a:schemeClr val="tx1"/>
          </a:solidFill>
          <a:latin typeface="+mn-lt"/>
          <a:ea typeface="+mn-ea"/>
          <a:cs typeface="+mn-cs"/>
        </a:defRPr>
      </a:lvl4pPr>
      <a:lvl5pPr marL="1825378" algn="l" defTabSz="912688" rtl="0" eaLnBrk="1" latinLnBrk="0" hangingPunct="1">
        <a:defRPr sz="1797" kern="1200">
          <a:solidFill>
            <a:schemeClr val="tx1"/>
          </a:solidFill>
          <a:latin typeface="+mn-lt"/>
          <a:ea typeface="+mn-ea"/>
          <a:cs typeface="+mn-cs"/>
        </a:defRPr>
      </a:lvl5pPr>
      <a:lvl6pPr marL="2281722" algn="l" defTabSz="912688" rtl="0" eaLnBrk="1" latinLnBrk="0" hangingPunct="1">
        <a:defRPr sz="1797" kern="1200">
          <a:solidFill>
            <a:schemeClr val="tx1"/>
          </a:solidFill>
          <a:latin typeface="+mn-lt"/>
          <a:ea typeface="+mn-ea"/>
          <a:cs typeface="+mn-cs"/>
        </a:defRPr>
      </a:lvl6pPr>
      <a:lvl7pPr marL="2738067" algn="l" defTabSz="912688" rtl="0" eaLnBrk="1" latinLnBrk="0" hangingPunct="1">
        <a:defRPr sz="1797" kern="1200">
          <a:solidFill>
            <a:schemeClr val="tx1"/>
          </a:solidFill>
          <a:latin typeface="+mn-lt"/>
          <a:ea typeface="+mn-ea"/>
          <a:cs typeface="+mn-cs"/>
        </a:defRPr>
      </a:lvl7pPr>
      <a:lvl8pPr marL="3194412" algn="l" defTabSz="912688" rtl="0" eaLnBrk="1" latinLnBrk="0" hangingPunct="1">
        <a:defRPr sz="1797" kern="1200">
          <a:solidFill>
            <a:schemeClr val="tx1"/>
          </a:solidFill>
          <a:latin typeface="+mn-lt"/>
          <a:ea typeface="+mn-ea"/>
          <a:cs typeface="+mn-cs"/>
        </a:defRPr>
      </a:lvl8pPr>
      <a:lvl9pPr marL="3650757" algn="l" defTabSz="912688" rtl="0" eaLnBrk="1" latinLnBrk="0" hangingPunct="1">
        <a:defRPr sz="179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6">
          <p15:clr>
            <a:srgbClr val="9FCC3B"/>
          </p15:clr>
        </p15:guide>
        <p15:guide id="2" pos="347">
          <p15:clr>
            <a:srgbClr val="F26B43"/>
          </p15:clr>
        </p15:guide>
        <p15:guide id="3" pos="7333">
          <p15:clr>
            <a:srgbClr val="F26B43"/>
          </p15:clr>
        </p15:guide>
        <p15:guide id="4" orient="horz" pos="4042">
          <p15:clr>
            <a:srgbClr val="F26B43"/>
          </p15:clr>
        </p15:guide>
        <p15:guide id="5" orient="horz" pos="958">
          <p15:clr>
            <a:srgbClr val="5ACBF0"/>
          </p15:clr>
        </p15:guide>
        <p15:guide id="6" orient="horz" pos="3816">
          <p15:clr>
            <a:srgbClr val="9FCC3B"/>
          </p15:clr>
        </p15:guide>
        <p15:guide id="7" orient="horz" pos="550">
          <p15:clr>
            <a:srgbClr val="F26B43"/>
          </p15:clr>
        </p15:guide>
        <p15:guide id="8" orient="horz" pos="777">
          <p15:clr>
            <a:srgbClr val="5ACBF0"/>
          </p15:clr>
        </p15:guide>
        <p15:guide id="9" orient="horz" pos="3657">
          <p15:clr>
            <a:srgbClr val="FBAE4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userDrawn="1">
            <p:custDataLst>
              <p:tags r:id="rId14"/>
            </p:custDataLst>
            <p:extLst>
              <p:ext uri="{D42A27DB-BD31-4B8C-83A1-F6EECF244321}">
                <p14:modId xmlns:p14="http://schemas.microsoft.com/office/powerpoint/2010/main" val="2656345117"/>
              </p:ext>
            </p:extLst>
          </p:nvPr>
        </p:nvGraphicFramePr>
        <p:xfrm>
          <a:off x="2120" y="1593"/>
          <a:ext cx="2116" cy="1587"/>
        </p:xfrm>
        <a:graphic>
          <a:graphicData uri="http://schemas.openxmlformats.org/presentationml/2006/ole">
            <mc:AlternateContent xmlns:mc="http://schemas.openxmlformats.org/markup-compatibility/2006">
              <mc:Choice xmlns:v="urn:schemas-microsoft-com:vml" Requires="v">
                <p:oleObj name="Slide do think-cell" r:id="rId15" imgW="216" imgH="216" progId="TCLayout.ActiveDocument.1">
                  <p:embed/>
                </p:oleObj>
              </mc:Choice>
              <mc:Fallback>
                <p:oleObj name="Slide do think-cell" r:id="rId15" imgW="216" imgH="216" progId="TCLayout.ActiveDocument.1">
                  <p:embed/>
                  <p:pic>
                    <p:nvPicPr>
                      <p:cNvPr id="2" name="1 Objeto" hidden="1"/>
                      <p:cNvPicPr/>
                      <p:nvPr/>
                    </p:nvPicPr>
                    <p:blipFill>
                      <a:blip r:embed="rId16"/>
                      <a:stretch>
                        <a:fillRect/>
                      </a:stretch>
                    </p:blipFill>
                    <p:spPr>
                      <a:xfrm>
                        <a:off x="2120" y="1593"/>
                        <a:ext cx="2116" cy="1587"/>
                      </a:xfrm>
                      <a:prstGeom prst="rect">
                        <a:avLst/>
                      </a:prstGeom>
                    </p:spPr>
                  </p:pic>
                </p:oleObj>
              </mc:Fallback>
            </mc:AlternateContent>
          </a:graphicData>
        </a:graphic>
      </p:graphicFrame>
      <p:sp>
        <p:nvSpPr>
          <p:cNvPr id="6" name="Marcador de texto 2">
            <a:extLst>
              <a:ext uri="{FF2B5EF4-FFF2-40B4-BE49-F238E27FC236}">
                <a16:creationId xmlns:a16="http://schemas.microsoft.com/office/drawing/2014/main" id="{70BD3726-4CCC-4808-AF74-D4FC34B77CC4}"/>
              </a:ext>
            </a:extLst>
          </p:cNvPr>
          <p:cNvSpPr>
            <a:spLocks noGrp="1"/>
          </p:cNvSpPr>
          <p:nvPr>
            <p:ph type="body" idx="1"/>
          </p:nvPr>
        </p:nvSpPr>
        <p:spPr>
          <a:xfrm>
            <a:off x="550863" y="1628776"/>
            <a:ext cx="11090274" cy="4429124"/>
          </a:xfrm>
          <a:prstGeom prst="rect">
            <a:avLst/>
          </a:prstGeom>
        </p:spPr>
        <p:txBody>
          <a:bodyPr vert="horz" lIns="0" tIns="108000" rIns="0" bIns="0" rtlCol="0">
            <a:noAutofit/>
          </a:body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text</a:t>
            </a:r>
          </a:p>
          <a:p>
            <a:pPr marL="342900" marR="0" lvl="1" indent="-342900" algn="l" defTabSz="912754" rtl="0" eaLnBrk="1" fontAlgn="auto" latinLnBrk="0" hangingPunct="1">
              <a:lnSpc>
                <a:spcPct val="90000"/>
              </a:lnSpc>
              <a:spcBef>
                <a:spcPts val="998"/>
              </a:spcBef>
              <a:spcAft>
                <a:spcPts val="0"/>
              </a:spcAft>
              <a:buClrTx/>
              <a:buSzTx/>
              <a:tabLst/>
              <a:defRPr/>
            </a:pPr>
            <a:r>
              <a:rPr lang="en-US" noProof="0"/>
              <a:t>Second level</a:t>
            </a:r>
          </a:p>
          <a:p>
            <a:pPr marL="531813" marR="0" lvl="3" indent="-342900" algn="l" defTabSz="912754" rtl="0" eaLnBrk="1" fontAlgn="auto" latinLnBrk="0" hangingPunct="1">
              <a:lnSpc>
                <a:spcPct val="90000"/>
              </a:lnSpc>
              <a:spcBef>
                <a:spcPts val="998"/>
              </a:spcBef>
              <a:spcAft>
                <a:spcPts val="0"/>
              </a:spcAft>
              <a:buClrTx/>
              <a:buSzTx/>
              <a:tabLst/>
              <a:defRPr/>
            </a:pPr>
            <a:r>
              <a:rPr lang="en-US" noProof="0"/>
              <a:t>Third level</a:t>
            </a:r>
          </a:p>
        </p:txBody>
      </p:sp>
      <p:pic>
        <p:nvPicPr>
          <p:cNvPr id="10" name="Gráfico 11">
            <a:extLst>
              <a:ext uri="{FF2B5EF4-FFF2-40B4-BE49-F238E27FC236}">
                <a16:creationId xmlns:a16="http://schemas.microsoft.com/office/drawing/2014/main" id="{46F02B97-5DFD-40AB-8C00-253ED62D2D6B}"/>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0168185" y="6467037"/>
            <a:ext cx="1223683" cy="214585"/>
          </a:xfrm>
          <a:prstGeom prst="rect">
            <a:avLst/>
          </a:prstGeom>
        </p:spPr>
      </p:pic>
      <p:cxnSp>
        <p:nvCxnSpPr>
          <p:cNvPr id="15" name="Straight Connector 14">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MSIPCMContentMarking" descr="{&quot;HashCode&quot;:-665463564,&quot;Placement&quot;:&quot;Header&quot;,&quot;Top&quot;:0.0,&quot;Left&quot;:0.0,&quot;SlideWidth&quot;:960,&quot;SlideHeight&quot;:540}">
            <a:extLst>
              <a:ext uri="{FF2B5EF4-FFF2-40B4-BE49-F238E27FC236}">
                <a16:creationId xmlns:a16="http://schemas.microsoft.com/office/drawing/2014/main" id="{C111775D-5C2C-85FB-C289-D72CD5E048A2}"/>
              </a:ext>
            </a:extLst>
          </p:cNvPr>
          <p:cNvSpPr txBox="1"/>
          <p:nvPr userDrawn="1"/>
        </p:nvSpPr>
        <p:spPr>
          <a:xfrm>
            <a:off x="0" y="0"/>
            <a:ext cx="907183" cy="262344"/>
          </a:xfrm>
          <a:prstGeom prst="rect">
            <a:avLst/>
          </a:prstGeom>
          <a:noFill/>
        </p:spPr>
        <p:txBody>
          <a:bodyPr vert="horz" wrap="square" lIns="0" tIns="0" rIns="0" bIns="0" rtlCol="0" anchor="ctr" anchorCtr="1">
            <a:spAutoFit/>
          </a:bodyPr>
          <a:lstStyle/>
          <a:p>
            <a:pPr algn="l">
              <a:spcBef>
                <a:spcPts val="0"/>
              </a:spcBef>
              <a:spcAft>
                <a:spcPts val="0"/>
              </a:spcAft>
            </a:pPr>
            <a:r>
              <a:rPr lang="pt-BR" sz="1000">
                <a:solidFill>
                  <a:srgbClr val="000000"/>
                </a:solidFill>
                <a:latin typeface="Calibri" panose="020F0502020204030204" pitchFamily="34" charset="0"/>
              </a:rPr>
              <a:t>Confidential</a:t>
            </a:r>
          </a:p>
        </p:txBody>
      </p:sp>
    </p:spTree>
    <p:extLst>
      <p:ext uri="{BB962C8B-B14F-4D97-AF65-F5344CB8AC3E}">
        <p14:creationId xmlns:p14="http://schemas.microsoft.com/office/powerpoint/2010/main" val="4083425693"/>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Lst>
  <p:hf sldNum="0" hdr="0" ftr="0" dt="0"/>
  <p:txStyles>
    <p:titleStyle>
      <a:lvl1pPr algn="l" defTabSz="912688" rtl="0" eaLnBrk="1" latinLnBrk="0" hangingPunct="1">
        <a:lnSpc>
          <a:spcPct val="100000"/>
        </a:lnSpc>
        <a:spcBef>
          <a:spcPct val="0"/>
        </a:spcBef>
        <a:buNone/>
        <a:defRPr lang="en-US" sz="2400" b="1" kern="1200" dirty="0">
          <a:solidFill>
            <a:schemeClr val="tx1"/>
          </a:solidFill>
          <a:latin typeface="+mj-lt"/>
          <a:ea typeface="+mj-ea"/>
          <a:cs typeface="Arial" panose="020B0604020202020204" pitchFamily="34" charset="0"/>
        </a:defRPr>
      </a:lvl1pPr>
    </p:titleStyle>
    <p:bodyStyle>
      <a:lvl1pPr marL="0" indent="0" algn="l" defTabSz="912688" rtl="0" eaLnBrk="1" latinLnBrk="0" hangingPunct="1">
        <a:lnSpc>
          <a:spcPct val="100000"/>
        </a:lnSpc>
        <a:spcBef>
          <a:spcPts val="998"/>
        </a:spcBef>
        <a:buFont typeface="Webdings" panose="05030102010509060703" pitchFamily="18" charset="2"/>
        <a:buNone/>
        <a:defRPr sz="1600" kern="1200">
          <a:solidFill>
            <a:schemeClr val="bg2"/>
          </a:solidFill>
          <a:latin typeface="Santander Text"/>
          <a:ea typeface="+mn-ea"/>
          <a:cs typeface="+mn-cs"/>
        </a:defRPr>
      </a:lvl1pPr>
      <a:lvl2pPr marL="0" indent="0" algn="l" defTabSz="912688" rtl="0" eaLnBrk="1" latinLnBrk="0" hangingPunct="1">
        <a:lnSpc>
          <a:spcPct val="100000"/>
        </a:lnSpc>
        <a:spcBef>
          <a:spcPts val="499"/>
        </a:spcBef>
        <a:buClr>
          <a:schemeClr val="accent4"/>
        </a:buClr>
        <a:buSzPct val="110000"/>
        <a:buFont typeface="Webdings" panose="05030102010509060703" pitchFamily="18" charset="2"/>
        <a:buChar char="4"/>
        <a:defRPr sz="1600" kern="1200">
          <a:solidFill>
            <a:schemeClr val="bg2"/>
          </a:solidFill>
          <a:latin typeface="Santander Text"/>
          <a:ea typeface="+mn-ea"/>
          <a:cs typeface="+mn-cs"/>
        </a:defRPr>
      </a:lvl2pPr>
      <a:lvl3pPr marL="174625" indent="188913" algn="l" defTabSz="912688" rtl="0" eaLnBrk="1" latinLnBrk="0" hangingPunct="1">
        <a:lnSpc>
          <a:spcPct val="90000"/>
        </a:lnSpc>
        <a:spcBef>
          <a:spcPts val="499"/>
        </a:spcBef>
        <a:buClr>
          <a:srgbClr val="8AB9CC"/>
        </a:buClr>
        <a:buFont typeface="Webdings" panose="05030102010509060703" pitchFamily="18" charset="2"/>
        <a:buChar char=""/>
        <a:defRPr sz="1600" kern="1200">
          <a:solidFill>
            <a:schemeClr val="bg2"/>
          </a:solidFill>
          <a:latin typeface="Santander Text"/>
          <a:ea typeface="+mn-ea"/>
          <a:cs typeface="+mn-cs"/>
        </a:defRPr>
      </a:lvl3pPr>
      <a:lvl4pPr marL="363538" indent="174625" algn="l" defTabSz="912688" rtl="0" eaLnBrk="1" latinLnBrk="0" hangingPunct="1">
        <a:lnSpc>
          <a:spcPct val="100000"/>
        </a:lnSpc>
        <a:spcBef>
          <a:spcPts val="499"/>
        </a:spcBef>
        <a:buClr>
          <a:schemeClr val="accent4"/>
        </a:buClr>
        <a:buFont typeface="Arial" panose="020B0604020202020204" pitchFamily="34" charset="0"/>
        <a:buChar char="•"/>
        <a:defRPr sz="1600" kern="1200">
          <a:solidFill>
            <a:schemeClr val="bg2"/>
          </a:solidFill>
          <a:latin typeface="Santander Text"/>
          <a:ea typeface="+mn-ea"/>
          <a:cs typeface="+mn-cs"/>
        </a:defRPr>
      </a:lvl4pPr>
      <a:lvl5pPr marL="538163" indent="174625" algn="l" defTabSz="912688" rtl="0" eaLnBrk="1" latinLnBrk="0" hangingPunct="1">
        <a:lnSpc>
          <a:spcPct val="90000"/>
        </a:lnSpc>
        <a:spcBef>
          <a:spcPts val="499"/>
        </a:spcBef>
        <a:buClr>
          <a:srgbClr val="8AB9CC"/>
        </a:buClr>
        <a:buFont typeface="Webdings" panose="05030102010509060703" pitchFamily="18" charset="2"/>
        <a:buChar char=""/>
        <a:defRPr sz="1600" kern="1200">
          <a:solidFill>
            <a:schemeClr val="bg2"/>
          </a:solidFill>
          <a:latin typeface="Santander Text"/>
          <a:ea typeface="+mn-ea"/>
          <a:cs typeface="+mn-cs"/>
        </a:defRPr>
      </a:lvl5pPr>
      <a:lvl6pPr marL="2509895" indent="-228173" algn="l" defTabSz="912688"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6pPr>
      <a:lvl7pPr marL="2966239" indent="-228173" algn="l" defTabSz="912688"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7pPr>
      <a:lvl8pPr marL="3422584" indent="-228173" algn="l" defTabSz="912688"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8pPr>
      <a:lvl9pPr marL="3878929" indent="-228173" algn="l" defTabSz="912688"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2688" rtl="0" eaLnBrk="1" latinLnBrk="0" hangingPunct="1">
        <a:defRPr sz="1797" kern="1200">
          <a:solidFill>
            <a:schemeClr val="tx1"/>
          </a:solidFill>
          <a:latin typeface="+mn-lt"/>
          <a:ea typeface="+mn-ea"/>
          <a:cs typeface="+mn-cs"/>
        </a:defRPr>
      </a:lvl1pPr>
      <a:lvl2pPr marL="456344" algn="l" defTabSz="912688" rtl="0" eaLnBrk="1" latinLnBrk="0" hangingPunct="1">
        <a:defRPr sz="1797" kern="1200">
          <a:solidFill>
            <a:schemeClr val="tx1"/>
          </a:solidFill>
          <a:latin typeface="+mn-lt"/>
          <a:ea typeface="+mn-ea"/>
          <a:cs typeface="+mn-cs"/>
        </a:defRPr>
      </a:lvl2pPr>
      <a:lvl3pPr marL="912688" algn="l" defTabSz="912688" rtl="0" eaLnBrk="1" latinLnBrk="0" hangingPunct="1">
        <a:defRPr sz="1797" kern="1200">
          <a:solidFill>
            <a:schemeClr val="tx1"/>
          </a:solidFill>
          <a:latin typeface="+mn-lt"/>
          <a:ea typeface="+mn-ea"/>
          <a:cs typeface="+mn-cs"/>
        </a:defRPr>
      </a:lvl3pPr>
      <a:lvl4pPr marL="1369034" algn="l" defTabSz="912688" rtl="0" eaLnBrk="1" latinLnBrk="0" hangingPunct="1">
        <a:defRPr sz="1797" kern="1200">
          <a:solidFill>
            <a:schemeClr val="tx1"/>
          </a:solidFill>
          <a:latin typeface="+mn-lt"/>
          <a:ea typeface="+mn-ea"/>
          <a:cs typeface="+mn-cs"/>
        </a:defRPr>
      </a:lvl4pPr>
      <a:lvl5pPr marL="1825378" algn="l" defTabSz="912688" rtl="0" eaLnBrk="1" latinLnBrk="0" hangingPunct="1">
        <a:defRPr sz="1797" kern="1200">
          <a:solidFill>
            <a:schemeClr val="tx1"/>
          </a:solidFill>
          <a:latin typeface="+mn-lt"/>
          <a:ea typeface="+mn-ea"/>
          <a:cs typeface="+mn-cs"/>
        </a:defRPr>
      </a:lvl5pPr>
      <a:lvl6pPr marL="2281722" algn="l" defTabSz="912688" rtl="0" eaLnBrk="1" latinLnBrk="0" hangingPunct="1">
        <a:defRPr sz="1797" kern="1200">
          <a:solidFill>
            <a:schemeClr val="tx1"/>
          </a:solidFill>
          <a:latin typeface="+mn-lt"/>
          <a:ea typeface="+mn-ea"/>
          <a:cs typeface="+mn-cs"/>
        </a:defRPr>
      </a:lvl6pPr>
      <a:lvl7pPr marL="2738067" algn="l" defTabSz="912688" rtl="0" eaLnBrk="1" latinLnBrk="0" hangingPunct="1">
        <a:defRPr sz="1797" kern="1200">
          <a:solidFill>
            <a:schemeClr val="tx1"/>
          </a:solidFill>
          <a:latin typeface="+mn-lt"/>
          <a:ea typeface="+mn-ea"/>
          <a:cs typeface="+mn-cs"/>
        </a:defRPr>
      </a:lvl7pPr>
      <a:lvl8pPr marL="3194412" algn="l" defTabSz="912688" rtl="0" eaLnBrk="1" latinLnBrk="0" hangingPunct="1">
        <a:defRPr sz="1797" kern="1200">
          <a:solidFill>
            <a:schemeClr val="tx1"/>
          </a:solidFill>
          <a:latin typeface="+mn-lt"/>
          <a:ea typeface="+mn-ea"/>
          <a:cs typeface="+mn-cs"/>
        </a:defRPr>
      </a:lvl8pPr>
      <a:lvl9pPr marL="3650757" algn="l" defTabSz="912688" rtl="0" eaLnBrk="1" latinLnBrk="0" hangingPunct="1">
        <a:defRPr sz="179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6">
          <p15:clr>
            <a:srgbClr val="9FCC3B"/>
          </p15:clr>
        </p15:guide>
        <p15:guide id="2" pos="347">
          <p15:clr>
            <a:srgbClr val="F26B43"/>
          </p15:clr>
        </p15:guide>
        <p15:guide id="3" pos="7333">
          <p15:clr>
            <a:srgbClr val="F26B43"/>
          </p15:clr>
        </p15:guide>
        <p15:guide id="4" orient="horz" pos="4042">
          <p15:clr>
            <a:srgbClr val="F26B43"/>
          </p15:clr>
        </p15:guide>
        <p15:guide id="5" orient="horz" pos="958">
          <p15:clr>
            <a:srgbClr val="5ACBF0"/>
          </p15:clr>
        </p15:guide>
        <p15:guide id="6" orient="horz" pos="3816">
          <p15:clr>
            <a:srgbClr val="9FCC3B"/>
          </p15:clr>
        </p15:guide>
        <p15:guide id="7" orient="horz" pos="550">
          <p15:clr>
            <a:srgbClr val="F26B43"/>
          </p15:clr>
        </p15:guide>
        <p15:guide id="8" orient="horz" pos="777">
          <p15:clr>
            <a:srgbClr val="5ACBF0"/>
          </p15:clr>
        </p15:guide>
        <p15:guide id="9" orient="horz" pos="3657">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44" imgH="344" progId="TCLayout.ActiveDocument.1">
                  <p:embed/>
                </p:oleObj>
              </mc:Choice>
              <mc:Fallback>
                <p:oleObj name="think-cell Slide" r:id="rId39"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p:custDataLst>
              <p:tags r:id="rId1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err="1">
              <a:solidFill>
                <a:srgbClr val="051C2C"/>
              </a:solidFill>
              <a:latin typeface="Georgia" panose="02040502050405020303" pitchFamily="18" charset="0"/>
              <a:sym typeface="Georgia" panose="02040502050405020303" pitchFamily="18" charset="0"/>
            </a:endParaRPr>
          </a:p>
        </p:txBody>
      </p:sp>
      <p:sp>
        <p:nvSpPr>
          <p:cNvPr id="103" name="SlideLogoText" hidden="1">
            <a:extLst>
              <a:ext uri="{FF2B5EF4-FFF2-40B4-BE49-F238E27FC236}">
                <a16:creationId xmlns:a16="http://schemas.microsoft.com/office/drawing/2014/main" id="{69FC0062-74AE-4BDA-ACE7-D069B448DDBC}"/>
              </a:ext>
            </a:extLst>
          </p:cNvPr>
          <p:cNvSpPr txBox="1"/>
          <p:nvPr>
            <p:custDataLst>
              <p:tags r:id="rId18"/>
            </p:custDataLst>
          </p:nvPr>
        </p:nvSpPr>
        <p:spPr bwMode="black">
          <a:xfrm>
            <a:off x="10142505" y="6499381"/>
            <a:ext cx="1134927" cy="138499"/>
          </a:xfrm>
          <a:prstGeom prst="rect">
            <a:avLst/>
          </a:prstGeom>
          <a:noFill/>
        </p:spPr>
        <p:txBody>
          <a:bodyPr wrap="none" lIns="0" tIns="0" rIns="0" bIns="0" rtlCol="0" anchor="b">
            <a:spAutoFit/>
          </a:bodyPr>
          <a:lstStyle/>
          <a:p>
            <a:pPr algn="ctr">
              <a:defRPr/>
            </a:pPr>
            <a:r>
              <a:rPr lang="en-US" sz="900">
                <a:solidFill>
                  <a:srgbClr val="FFFFFF"/>
                </a:solidFill>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p:custDataLst>
              <p:tags r:id="rId19"/>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p:custDataLst>
              <p:tags r:id="rId20"/>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grpSp>
        <p:nvGrpSpPr>
          <p:cNvPr id="55" name="Grid" hidden="1">
            <a:extLst>
              <a:ext uri="{FF2B5EF4-FFF2-40B4-BE49-F238E27FC236}">
                <a16:creationId xmlns:a16="http://schemas.microsoft.com/office/drawing/2014/main" id="{DEFB2FD9-7CD8-4FAE-9553-EBB1883173D8}"/>
              </a:ext>
            </a:extLst>
          </p:cNvPr>
          <p:cNvGrpSpPr/>
          <p:nvPr>
            <p:custDataLst>
              <p:tags r:id="rId22"/>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83" name="Freeform: Shape 82">
              <a:extLst>
                <a:ext uri="{FF2B5EF4-FFF2-40B4-BE49-F238E27FC236}">
                  <a16:creationId xmlns:a16="http://schemas.microsoft.com/office/drawing/2014/main" id="{BF414889-E577-40C3-8CDF-DA20200FC4BB}"/>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84" name="Freeform: Shape 83">
              <a:extLst>
                <a:ext uri="{FF2B5EF4-FFF2-40B4-BE49-F238E27FC236}">
                  <a16:creationId xmlns:a16="http://schemas.microsoft.com/office/drawing/2014/main" id="{10578B73-0DC8-40FE-8A21-280C0818D286}"/>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85" name="Freeform: Shape 84">
              <a:extLst>
                <a:ext uri="{FF2B5EF4-FFF2-40B4-BE49-F238E27FC236}">
                  <a16:creationId xmlns:a16="http://schemas.microsoft.com/office/drawing/2014/main" id="{2A3EAB8C-6F2A-4487-A2BB-0984642F92BD}"/>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86" name="Freeform: Shape 85">
              <a:extLst>
                <a:ext uri="{FF2B5EF4-FFF2-40B4-BE49-F238E27FC236}">
                  <a16:creationId xmlns:a16="http://schemas.microsoft.com/office/drawing/2014/main" id="{07D70175-6613-45BC-AF43-015C72F13A7B}"/>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87" name="Freeform: Shape 86">
              <a:extLst>
                <a:ext uri="{FF2B5EF4-FFF2-40B4-BE49-F238E27FC236}">
                  <a16:creationId xmlns:a16="http://schemas.microsoft.com/office/drawing/2014/main" id="{9B942F25-6CDB-4981-97B7-D7BDEBE5ADF5}"/>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88" name="Freeform: Shape 87">
              <a:extLst>
                <a:ext uri="{FF2B5EF4-FFF2-40B4-BE49-F238E27FC236}">
                  <a16:creationId xmlns:a16="http://schemas.microsoft.com/office/drawing/2014/main" id="{01315AFB-F00B-4517-B2CA-2588A030EFF4}"/>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89" name="Freeform: Shape 88">
              <a:extLst>
                <a:ext uri="{FF2B5EF4-FFF2-40B4-BE49-F238E27FC236}">
                  <a16:creationId xmlns:a16="http://schemas.microsoft.com/office/drawing/2014/main" id="{F2EAC9B8-160B-4F7F-8029-F358F771D704}"/>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90" name="Freeform: Shape 89">
              <a:extLst>
                <a:ext uri="{FF2B5EF4-FFF2-40B4-BE49-F238E27FC236}">
                  <a16:creationId xmlns:a16="http://schemas.microsoft.com/office/drawing/2014/main" id="{42671AAA-F5BF-4B8E-9B20-12F8E97A3021}"/>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91" name="Freeform: Shape 90">
              <a:extLst>
                <a:ext uri="{FF2B5EF4-FFF2-40B4-BE49-F238E27FC236}">
                  <a16:creationId xmlns:a16="http://schemas.microsoft.com/office/drawing/2014/main" id="{23FB4F88-2E32-42AF-931D-73EEE391186B}"/>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92" name="Freeform: Shape 91">
              <a:extLst>
                <a:ext uri="{FF2B5EF4-FFF2-40B4-BE49-F238E27FC236}">
                  <a16:creationId xmlns:a16="http://schemas.microsoft.com/office/drawing/2014/main" id="{E4A1769F-CE92-4633-87B1-DDCB8F121456}"/>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sp>
          <p:nvSpPr>
            <p:cNvPr id="93" name="Freeform: Shape 92">
              <a:extLst>
                <a:ext uri="{FF2B5EF4-FFF2-40B4-BE49-F238E27FC236}">
                  <a16:creationId xmlns:a16="http://schemas.microsoft.com/office/drawing/2014/main" id="{4B597847-9D21-4E79-A3C1-CD09A72ED17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FFFFFF"/>
                </a:solidFill>
              </a:endParaRPr>
            </a:p>
          </p:txBody>
        </p:sp>
        <p:cxnSp>
          <p:nvCxnSpPr>
            <p:cNvPr id="94" name="Straight Connector 93">
              <a:extLst>
                <a:ext uri="{FF2B5EF4-FFF2-40B4-BE49-F238E27FC236}">
                  <a16:creationId xmlns:a16="http://schemas.microsoft.com/office/drawing/2014/main" id="{A4475F4C-A18C-4D1A-BA57-171FB0889ED5}"/>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rgbClr val="FFFFFF"/>
                </a:solidFill>
              </a:endParaRPr>
            </a:p>
          </p:txBody>
        </p:sp>
        <p:cxnSp>
          <p:nvCxnSpPr>
            <p:cNvPr id="142" name="Straight Connector 141">
              <a:extLst>
                <a:ext uri="{FF2B5EF4-FFF2-40B4-BE49-F238E27FC236}">
                  <a16:creationId xmlns:a16="http://schemas.microsoft.com/office/drawing/2014/main" id="{F8A6CBCB-2578-43F1-B7A4-69F595E6E013}"/>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p:custDataLst>
              <p:tags r:id="rId23"/>
            </p:custDataLst>
          </p:nvPr>
        </p:nvSpPr>
        <p:spPr>
          <a:xfrm>
            <a:off x="553972" y="6279028"/>
            <a:ext cx="7278624" cy="123111"/>
          </a:xfrm>
          <a:prstGeom prst="rect">
            <a:avLst/>
          </a:prstGeom>
          <a:noFill/>
        </p:spPr>
        <p:txBody>
          <a:bodyPr wrap="square" lIns="0" tIns="0" rIns="0" bIns="0" rtlCol="0" anchor="b">
            <a:spAutoFit/>
          </a:bodyPr>
          <a:lstStyle/>
          <a:p>
            <a:pPr>
              <a:defRPr/>
            </a:pPr>
            <a:r>
              <a:rPr lang="en-US" sz="800">
                <a:solidFill>
                  <a:srgbClr val="FFFFFF"/>
                </a:solidFill>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p:nvGrpSpPr>
        <p:grpSpPr>
          <a:xfrm>
            <a:off x="10722394" y="4393208"/>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rgbClr val="FFFFFF"/>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rgbClr val="FFFFFF"/>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rgbClr val="FFFFFF"/>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rgbClr val="FFFFFF"/>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rgbClr val="FFFFFF"/>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solidFill>
                    <a:srgbClr val="FFFFFF"/>
                  </a:solidFill>
                </a:rPr>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solidFill>
                    <a:srgbClr val="FFFFFF"/>
                  </a:solidFill>
                </a:rPr>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solidFill>
                    <a:srgbClr val="FFFFFF"/>
                  </a:solidFill>
                </a:rPr>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solidFill>
                    <a:srgbClr val="FFFFFF"/>
                  </a:solidFill>
                </a:rPr>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solidFill>
                    <a:srgbClr val="FFFFFF"/>
                  </a:solidFill>
                </a:rPr>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p:nvGrpSpPr>
        <p:grpSpPr>
          <a:xfrm>
            <a:off x="7723680" y="1702457"/>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solidFill>
                    <a:srgbClr val="FFFFFF"/>
                  </a:solidFill>
                </a:rPr>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solidFill>
                    <a:srgbClr val="FFFFFF"/>
                  </a:solidFill>
                </a:rPr>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solidFill>
                    <a:srgbClr val="FFFFFF"/>
                  </a:solidFill>
                </a:rPr>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solidFill>
                    <a:srgbClr val="FFFFFF"/>
                  </a:solidFill>
                </a:rPr>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solidFill>
                    <a:srgbClr val="FFFFFF"/>
                  </a:solidFill>
                </a:rPr>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defTabSz="1193860">
                <a:buClr>
                  <a:srgbClr val="000000"/>
                </a:buClr>
              </a:pPr>
              <a:r>
                <a:rPr lang="en-US" sz="900" b="1" spc="50">
                  <a:ln w="3175">
                    <a:noFill/>
                  </a:ln>
                  <a:solidFill>
                    <a:srgbClr val="FFFFFF"/>
                  </a:solidFill>
                </a:rPr>
                <a:t>Sticker</a:t>
              </a:r>
              <a:endParaRPr lang="en-US" sz="800">
                <a:solidFill>
                  <a:srgbClr val="FFFFFF"/>
                </a:solidFill>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p:nvGrpSpPr>
        <p:grpSpPr>
          <a:xfrm>
            <a:off x="10300983" y="3275405"/>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solidFill>
                    <a:srgbClr val="FFFFFF"/>
                  </a:solidFill>
                </a:rPr>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solidFill>
                    <a:srgbClr val="FFFFFF"/>
                  </a:solidFill>
                </a:rPr>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solidFill>
                    <a:srgbClr val="FFFFFF"/>
                  </a:solidFill>
                </a:rPr>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FFFFFF"/>
                </a:solidFill>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FFFFFF"/>
                </a:solidFill>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FFFFFF"/>
                </a:solidFill>
              </a:endParaRPr>
            </a:p>
          </p:txBody>
        </p:sp>
      </p:grpSp>
    </p:spTree>
    <p:extLst>
      <p:ext uri="{BB962C8B-B14F-4D97-AF65-F5344CB8AC3E}">
        <p14:creationId xmlns:p14="http://schemas.microsoft.com/office/powerpoint/2010/main" val="793927125"/>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2" orient="horz" pos="3912">
          <p15:clr>
            <a:srgbClr val="5ACBF0"/>
          </p15:clr>
        </p15:guide>
        <p15:guide id="3" orient="horz" pos="1075">
          <p15:clr>
            <a:srgbClr val="F26B43"/>
          </p15:clr>
        </p15:guide>
        <p15:guide id="4" pos="7329">
          <p15:clr>
            <a:srgbClr val="F26B43"/>
          </p15:clr>
        </p15:guide>
        <p15:guide id="5" pos="345">
          <p15:clr>
            <a:srgbClr val="F26B43"/>
          </p15:clr>
        </p15:guide>
        <p15:guide id="6"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p:custDataLst>
              <p:tags r:id="rId19"/>
            </p:custDataLst>
            <p:extLst>
              <p:ext uri="{D42A27DB-BD31-4B8C-83A1-F6EECF244321}">
                <p14:modId xmlns:p14="http://schemas.microsoft.com/office/powerpoint/2010/main" val="919362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44" imgH="344" progId="TCLayout.ActiveDocument.1">
                  <p:embed/>
                </p:oleObj>
              </mc:Choice>
              <mc:Fallback>
                <p:oleObj name="think-cell Slide" r:id="rId42"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hidden="1">
            <a:extLst>
              <a:ext uri="{FF2B5EF4-FFF2-40B4-BE49-F238E27FC236}">
                <a16:creationId xmlns:a16="http://schemas.microsoft.com/office/drawing/2014/main" id="{69FC0062-74AE-4BDA-ACE7-D069B448DDBC}"/>
              </a:ext>
            </a:extLst>
          </p:cNvPr>
          <p:cNvSpPr txBox="1"/>
          <p:nvPr>
            <p:custDataLst>
              <p:tags r:id="rId2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p:custDataLst>
              <p:tags r:id="rId22"/>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p:custDataLst>
              <p:tags r:id="rId23"/>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grpSp>
        <p:nvGrpSpPr>
          <p:cNvPr id="55" name="Grid" hidden="1">
            <a:extLst>
              <a:ext uri="{FF2B5EF4-FFF2-40B4-BE49-F238E27FC236}">
                <a16:creationId xmlns:a16="http://schemas.microsoft.com/office/drawing/2014/main" id="{DEFB2FD9-7CD8-4FAE-9553-EBB1883173D8}"/>
              </a:ext>
            </a:extLst>
          </p:cNvPr>
          <p:cNvGrpSpPr/>
          <p:nvPr>
            <p:custDataLst>
              <p:tags r:id="rId25"/>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p:custDataLst>
              <p:tags r:id="rId26"/>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p:nvGrpSpPr>
        <p:grpSpPr>
          <a:xfrm>
            <a:off x="10722394" y="4393208"/>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p:nvGrpSpPr>
        <p:grpSpPr>
          <a:xfrm>
            <a:off x="7723680" y="1702457"/>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p:nvGrpSpPr>
        <p:grpSpPr>
          <a:xfrm>
            <a:off x="10300983" y="3275405"/>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extLst>
      <p:ext uri="{BB962C8B-B14F-4D97-AF65-F5344CB8AC3E}">
        <p14:creationId xmlns:p14="http://schemas.microsoft.com/office/powerpoint/2010/main" val="3787084087"/>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tângulo 8">
            <a:extLst>
              <a:ext uri="{FF2B5EF4-FFF2-40B4-BE49-F238E27FC236}">
                <a16:creationId xmlns:a16="http://schemas.microsoft.com/office/drawing/2014/main" id="{785EB6FB-4D4C-82F0-FC42-7756DF0C4F0A}"/>
              </a:ext>
            </a:extLst>
          </p:cNvPr>
          <p:cNvSpPr/>
          <p:nvPr userDrawn="1"/>
        </p:nvSpPr>
        <p:spPr>
          <a:xfrm>
            <a:off x="0" y="0"/>
            <a:ext cx="12192000" cy="6858000"/>
          </a:xfrm>
          <a:prstGeom prst="rect">
            <a:avLst/>
          </a:prstGeom>
          <a:solidFill>
            <a:srgbClr val="F0F4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aphicFrame>
        <p:nvGraphicFramePr>
          <p:cNvPr id="2" name="1 Objeto" hidden="1"/>
          <p:cNvGraphicFramePr>
            <a:graphicFrameLocks noChangeAspect="1"/>
          </p:cNvGraphicFramePr>
          <p:nvPr userDrawn="1">
            <p:custDataLst>
              <p:tags r:id="rId25"/>
            </p:custDataLst>
            <p:extLst>
              <p:ext uri="{D42A27DB-BD31-4B8C-83A1-F6EECF244321}">
                <p14:modId xmlns:p14="http://schemas.microsoft.com/office/powerpoint/2010/main" val="2656345117"/>
              </p:ext>
            </p:extLst>
          </p:nvPr>
        </p:nvGraphicFramePr>
        <p:xfrm>
          <a:off x="2120" y="1593"/>
          <a:ext cx="2116" cy="1587"/>
        </p:xfrm>
        <a:graphic>
          <a:graphicData uri="http://schemas.openxmlformats.org/presentationml/2006/ole">
            <mc:AlternateContent xmlns:mc="http://schemas.openxmlformats.org/markup-compatibility/2006">
              <mc:Choice xmlns:v="urn:schemas-microsoft-com:vml" Requires="v">
                <p:oleObj name="Slide do think-cell" r:id="rId26" imgW="216" imgH="216" progId="TCLayout.ActiveDocument.1">
                  <p:embed/>
                </p:oleObj>
              </mc:Choice>
              <mc:Fallback>
                <p:oleObj name="Slide do think-cell" r:id="rId26" imgW="216" imgH="216" progId="TCLayout.ActiveDocument.1">
                  <p:embed/>
                  <p:pic>
                    <p:nvPicPr>
                      <p:cNvPr id="2" name="1 Objeto" hidden="1"/>
                      <p:cNvPicPr/>
                      <p:nvPr/>
                    </p:nvPicPr>
                    <p:blipFill>
                      <a:blip r:embed="rId27"/>
                      <a:stretch>
                        <a:fillRect/>
                      </a:stretch>
                    </p:blipFill>
                    <p:spPr>
                      <a:xfrm>
                        <a:off x="2120" y="1593"/>
                        <a:ext cx="2116" cy="1587"/>
                      </a:xfrm>
                      <a:prstGeom prst="rect">
                        <a:avLst/>
                      </a:prstGeom>
                    </p:spPr>
                  </p:pic>
                </p:oleObj>
              </mc:Fallback>
            </mc:AlternateContent>
          </a:graphicData>
        </a:graphic>
      </p:graphicFrame>
      <p:pic>
        <p:nvPicPr>
          <p:cNvPr id="10" name="Gráfico 11">
            <a:extLst>
              <a:ext uri="{FF2B5EF4-FFF2-40B4-BE49-F238E27FC236}">
                <a16:creationId xmlns:a16="http://schemas.microsoft.com/office/drawing/2014/main" id="{46F02B97-5DFD-40AB-8C00-253ED62D2D6B}"/>
              </a:ext>
            </a:extLst>
          </p:cNvPr>
          <p:cNvPicPr>
            <a:picLocks noChangeAspect="1"/>
          </p:cNvPicPr>
          <p:nvPr userDrawn="1"/>
        </p:nvPicPr>
        <p:blipFill rotWithShape="1">
          <a:blip r:embed="rId28">
            <a:extLst>
              <a:ext uri="{96DAC541-7B7A-43D3-8B79-37D633B846F1}">
                <asvg:svgBlip xmlns:asvg="http://schemas.microsoft.com/office/drawing/2016/SVG/main" r:embed="rId29"/>
              </a:ext>
            </a:extLst>
          </a:blip>
          <a:srcRect t="-8934" r="79301" b="-1"/>
          <a:stretch/>
        </p:blipFill>
        <p:spPr>
          <a:xfrm>
            <a:off x="11851052" y="6517313"/>
            <a:ext cx="253286" cy="233757"/>
          </a:xfrm>
          <a:prstGeom prst="rect">
            <a:avLst/>
          </a:prstGeom>
        </p:spPr>
      </p:pic>
    </p:spTree>
    <p:extLst>
      <p:ext uri="{BB962C8B-B14F-4D97-AF65-F5344CB8AC3E}">
        <p14:creationId xmlns:p14="http://schemas.microsoft.com/office/powerpoint/2010/main" val="2703463062"/>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02" r:id="rId21"/>
    <p:sldLayoutId id="2147483803" r:id="rId22"/>
    <p:sldLayoutId id="2147483804" r:id="rId23"/>
  </p:sldLayoutIdLst>
  <p:hf sldNum="0" hdr="0" ftr="0" dt="0"/>
  <p:txStyles>
    <p:titleStyle>
      <a:lvl1pPr algn="l" defTabSz="912688" rtl="0" eaLnBrk="1" latinLnBrk="0" hangingPunct="1">
        <a:lnSpc>
          <a:spcPct val="100000"/>
        </a:lnSpc>
        <a:spcBef>
          <a:spcPct val="0"/>
        </a:spcBef>
        <a:buNone/>
        <a:defRPr lang="en-US" sz="2400" b="1" kern="1200" dirty="0">
          <a:solidFill>
            <a:schemeClr val="tx1"/>
          </a:solidFill>
          <a:latin typeface="+mj-lt"/>
          <a:ea typeface="+mj-ea"/>
          <a:cs typeface="Arial" panose="020B0604020202020204" pitchFamily="34" charset="0"/>
        </a:defRPr>
      </a:lvl1pPr>
    </p:titleStyle>
    <p:bodyStyle>
      <a:lvl1pPr marL="0" indent="0" algn="l" defTabSz="912688" rtl="0" eaLnBrk="1" latinLnBrk="0" hangingPunct="1">
        <a:lnSpc>
          <a:spcPct val="100000"/>
        </a:lnSpc>
        <a:spcBef>
          <a:spcPts val="998"/>
        </a:spcBef>
        <a:buFont typeface="Webdings" panose="05030102010509060703" pitchFamily="18" charset="2"/>
        <a:buNone/>
        <a:defRPr sz="1600" kern="1200">
          <a:solidFill>
            <a:schemeClr val="bg2"/>
          </a:solidFill>
          <a:latin typeface="Santander Text"/>
          <a:ea typeface="+mn-ea"/>
          <a:cs typeface="+mn-cs"/>
        </a:defRPr>
      </a:lvl1pPr>
      <a:lvl2pPr marL="0" indent="0" algn="l" defTabSz="912688" rtl="0" eaLnBrk="1" latinLnBrk="0" hangingPunct="1">
        <a:lnSpc>
          <a:spcPct val="100000"/>
        </a:lnSpc>
        <a:spcBef>
          <a:spcPts val="499"/>
        </a:spcBef>
        <a:buClr>
          <a:schemeClr val="accent4"/>
        </a:buClr>
        <a:buSzPct val="110000"/>
        <a:buFont typeface="Webdings" panose="05030102010509060703" pitchFamily="18" charset="2"/>
        <a:buChar char="4"/>
        <a:defRPr sz="1600" kern="1200">
          <a:solidFill>
            <a:schemeClr val="bg2"/>
          </a:solidFill>
          <a:latin typeface="Santander Text"/>
          <a:ea typeface="+mn-ea"/>
          <a:cs typeface="+mn-cs"/>
        </a:defRPr>
      </a:lvl2pPr>
      <a:lvl3pPr marL="174625" indent="188913" algn="l" defTabSz="912688" rtl="0" eaLnBrk="1" latinLnBrk="0" hangingPunct="1">
        <a:lnSpc>
          <a:spcPct val="90000"/>
        </a:lnSpc>
        <a:spcBef>
          <a:spcPts val="499"/>
        </a:spcBef>
        <a:buClr>
          <a:srgbClr val="8AB9CC"/>
        </a:buClr>
        <a:buFont typeface="Webdings" panose="05030102010509060703" pitchFamily="18" charset="2"/>
        <a:buChar char=""/>
        <a:defRPr sz="1600" kern="1200">
          <a:solidFill>
            <a:schemeClr val="bg2"/>
          </a:solidFill>
          <a:latin typeface="Santander Text"/>
          <a:ea typeface="+mn-ea"/>
          <a:cs typeface="+mn-cs"/>
        </a:defRPr>
      </a:lvl3pPr>
      <a:lvl4pPr marL="363538" indent="174625" algn="l" defTabSz="912688" rtl="0" eaLnBrk="1" latinLnBrk="0" hangingPunct="1">
        <a:lnSpc>
          <a:spcPct val="100000"/>
        </a:lnSpc>
        <a:spcBef>
          <a:spcPts val="499"/>
        </a:spcBef>
        <a:buClr>
          <a:schemeClr val="accent4"/>
        </a:buClr>
        <a:buFont typeface="Arial" panose="020B0604020202020204" pitchFamily="34" charset="0"/>
        <a:buChar char="•"/>
        <a:defRPr sz="1600" kern="1200">
          <a:solidFill>
            <a:schemeClr val="bg2"/>
          </a:solidFill>
          <a:latin typeface="Santander Text"/>
          <a:ea typeface="+mn-ea"/>
          <a:cs typeface="+mn-cs"/>
        </a:defRPr>
      </a:lvl4pPr>
      <a:lvl5pPr marL="538163" indent="174625" algn="l" defTabSz="912688" rtl="0" eaLnBrk="1" latinLnBrk="0" hangingPunct="1">
        <a:lnSpc>
          <a:spcPct val="90000"/>
        </a:lnSpc>
        <a:spcBef>
          <a:spcPts val="499"/>
        </a:spcBef>
        <a:buClr>
          <a:srgbClr val="8AB9CC"/>
        </a:buClr>
        <a:buFont typeface="Webdings" panose="05030102010509060703" pitchFamily="18" charset="2"/>
        <a:buChar char=""/>
        <a:defRPr sz="1600" kern="1200">
          <a:solidFill>
            <a:schemeClr val="bg2"/>
          </a:solidFill>
          <a:latin typeface="Santander Text"/>
          <a:ea typeface="+mn-ea"/>
          <a:cs typeface="+mn-cs"/>
        </a:defRPr>
      </a:lvl5pPr>
      <a:lvl6pPr marL="2509895" indent="-228173" algn="l" defTabSz="912688"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6pPr>
      <a:lvl7pPr marL="2966239" indent="-228173" algn="l" defTabSz="912688"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7pPr>
      <a:lvl8pPr marL="3422584" indent="-228173" algn="l" defTabSz="912688"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8pPr>
      <a:lvl9pPr marL="3878929" indent="-228173" algn="l" defTabSz="912688"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2688" rtl="0" eaLnBrk="1" latinLnBrk="0" hangingPunct="1">
        <a:defRPr sz="1797" kern="1200">
          <a:solidFill>
            <a:schemeClr val="tx1"/>
          </a:solidFill>
          <a:latin typeface="+mn-lt"/>
          <a:ea typeface="+mn-ea"/>
          <a:cs typeface="+mn-cs"/>
        </a:defRPr>
      </a:lvl1pPr>
      <a:lvl2pPr marL="456344" algn="l" defTabSz="912688" rtl="0" eaLnBrk="1" latinLnBrk="0" hangingPunct="1">
        <a:defRPr sz="1797" kern="1200">
          <a:solidFill>
            <a:schemeClr val="tx1"/>
          </a:solidFill>
          <a:latin typeface="+mn-lt"/>
          <a:ea typeface="+mn-ea"/>
          <a:cs typeface="+mn-cs"/>
        </a:defRPr>
      </a:lvl2pPr>
      <a:lvl3pPr marL="912688" algn="l" defTabSz="912688" rtl="0" eaLnBrk="1" latinLnBrk="0" hangingPunct="1">
        <a:defRPr sz="1797" kern="1200">
          <a:solidFill>
            <a:schemeClr val="tx1"/>
          </a:solidFill>
          <a:latin typeface="+mn-lt"/>
          <a:ea typeface="+mn-ea"/>
          <a:cs typeface="+mn-cs"/>
        </a:defRPr>
      </a:lvl3pPr>
      <a:lvl4pPr marL="1369034" algn="l" defTabSz="912688" rtl="0" eaLnBrk="1" latinLnBrk="0" hangingPunct="1">
        <a:defRPr sz="1797" kern="1200">
          <a:solidFill>
            <a:schemeClr val="tx1"/>
          </a:solidFill>
          <a:latin typeface="+mn-lt"/>
          <a:ea typeface="+mn-ea"/>
          <a:cs typeface="+mn-cs"/>
        </a:defRPr>
      </a:lvl4pPr>
      <a:lvl5pPr marL="1825378" algn="l" defTabSz="912688" rtl="0" eaLnBrk="1" latinLnBrk="0" hangingPunct="1">
        <a:defRPr sz="1797" kern="1200">
          <a:solidFill>
            <a:schemeClr val="tx1"/>
          </a:solidFill>
          <a:latin typeface="+mn-lt"/>
          <a:ea typeface="+mn-ea"/>
          <a:cs typeface="+mn-cs"/>
        </a:defRPr>
      </a:lvl5pPr>
      <a:lvl6pPr marL="2281722" algn="l" defTabSz="912688" rtl="0" eaLnBrk="1" latinLnBrk="0" hangingPunct="1">
        <a:defRPr sz="1797" kern="1200">
          <a:solidFill>
            <a:schemeClr val="tx1"/>
          </a:solidFill>
          <a:latin typeface="+mn-lt"/>
          <a:ea typeface="+mn-ea"/>
          <a:cs typeface="+mn-cs"/>
        </a:defRPr>
      </a:lvl6pPr>
      <a:lvl7pPr marL="2738067" algn="l" defTabSz="912688" rtl="0" eaLnBrk="1" latinLnBrk="0" hangingPunct="1">
        <a:defRPr sz="1797" kern="1200">
          <a:solidFill>
            <a:schemeClr val="tx1"/>
          </a:solidFill>
          <a:latin typeface="+mn-lt"/>
          <a:ea typeface="+mn-ea"/>
          <a:cs typeface="+mn-cs"/>
        </a:defRPr>
      </a:lvl7pPr>
      <a:lvl8pPr marL="3194412" algn="l" defTabSz="912688" rtl="0" eaLnBrk="1" latinLnBrk="0" hangingPunct="1">
        <a:defRPr sz="1797" kern="1200">
          <a:solidFill>
            <a:schemeClr val="tx1"/>
          </a:solidFill>
          <a:latin typeface="+mn-lt"/>
          <a:ea typeface="+mn-ea"/>
          <a:cs typeface="+mn-cs"/>
        </a:defRPr>
      </a:lvl8pPr>
      <a:lvl9pPr marL="3650757" algn="l" defTabSz="912688" rtl="0" eaLnBrk="1" latinLnBrk="0" hangingPunct="1">
        <a:defRPr sz="179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6">
          <p15:clr>
            <a:srgbClr val="9FCC3B"/>
          </p15:clr>
        </p15:guide>
        <p15:guide id="2" pos="347">
          <p15:clr>
            <a:srgbClr val="F26B43"/>
          </p15:clr>
        </p15:guide>
        <p15:guide id="3" pos="7333">
          <p15:clr>
            <a:srgbClr val="F26B43"/>
          </p15:clr>
        </p15:guide>
        <p15:guide id="4" orient="horz" pos="4042">
          <p15:clr>
            <a:srgbClr val="F26B43"/>
          </p15:clr>
        </p15:guide>
        <p15:guide id="5" orient="horz" pos="958">
          <p15:clr>
            <a:srgbClr val="5ACBF0"/>
          </p15:clr>
        </p15:guide>
        <p15:guide id="6" orient="horz" pos="3816">
          <p15:clr>
            <a:srgbClr val="9FCC3B"/>
          </p15:clr>
        </p15:guide>
        <p15:guide id="7" orient="horz" pos="550">
          <p15:clr>
            <a:srgbClr val="F26B43"/>
          </p15:clr>
        </p15:guide>
        <p15:guide id="8" orient="horz" pos="777">
          <p15:clr>
            <a:srgbClr val="5ACBF0"/>
          </p15:clr>
        </p15:guide>
        <p15:guide id="9" orient="horz" pos="3657">
          <p15:clr>
            <a:srgbClr val="FBAE4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userDrawn="1">
            <p:custDataLst>
              <p:tags r:id="rId24"/>
            </p:custDataLst>
            <p:extLst>
              <p:ext uri="{D42A27DB-BD31-4B8C-83A1-F6EECF244321}">
                <p14:modId xmlns:p14="http://schemas.microsoft.com/office/powerpoint/2010/main" val="2656345117"/>
              </p:ext>
            </p:extLst>
          </p:nvPr>
        </p:nvGraphicFramePr>
        <p:xfrm>
          <a:off x="2120" y="1593"/>
          <a:ext cx="2116" cy="1587"/>
        </p:xfrm>
        <a:graphic>
          <a:graphicData uri="http://schemas.openxmlformats.org/presentationml/2006/ole">
            <mc:AlternateContent xmlns:mc="http://schemas.openxmlformats.org/markup-compatibility/2006">
              <mc:Choice xmlns:v="urn:schemas-microsoft-com:vml" Requires="v">
                <p:oleObj name="Slide do think-cell" r:id="rId25" imgW="216" imgH="216" progId="TCLayout.ActiveDocument.1">
                  <p:embed/>
                </p:oleObj>
              </mc:Choice>
              <mc:Fallback>
                <p:oleObj name="Slide do think-cell" r:id="rId25" imgW="216" imgH="216" progId="TCLayout.ActiveDocument.1">
                  <p:embed/>
                  <p:pic>
                    <p:nvPicPr>
                      <p:cNvPr id="2" name="1 Objeto" hidden="1"/>
                      <p:cNvPicPr/>
                      <p:nvPr/>
                    </p:nvPicPr>
                    <p:blipFill>
                      <a:blip r:embed="rId26"/>
                      <a:stretch>
                        <a:fillRect/>
                      </a:stretch>
                    </p:blipFill>
                    <p:spPr>
                      <a:xfrm>
                        <a:off x="2120" y="1593"/>
                        <a:ext cx="2116" cy="1587"/>
                      </a:xfrm>
                      <a:prstGeom prst="rect">
                        <a:avLst/>
                      </a:prstGeom>
                    </p:spPr>
                  </p:pic>
                </p:oleObj>
              </mc:Fallback>
            </mc:AlternateContent>
          </a:graphicData>
        </a:graphic>
      </p:graphicFrame>
      <p:sp>
        <p:nvSpPr>
          <p:cNvPr id="6" name="Marcador de texto 2">
            <a:extLst>
              <a:ext uri="{FF2B5EF4-FFF2-40B4-BE49-F238E27FC236}">
                <a16:creationId xmlns:a16="http://schemas.microsoft.com/office/drawing/2014/main" id="{70BD3726-4CCC-4808-AF74-D4FC34B77CC4}"/>
              </a:ext>
            </a:extLst>
          </p:cNvPr>
          <p:cNvSpPr>
            <a:spLocks noGrp="1"/>
          </p:cNvSpPr>
          <p:nvPr>
            <p:ph type="body" idx="1"/>
          </p:nvPr>
        </p:nvSpPr>
        <p:spPr>
          <a:xfrm>
            <a:off x="550863" y="1628776"/>
            <a:ext cx="11090274" cy="4429124"/>
          </a:xfrm>
          <a:prstGeom prst="rect">
            <a:avLst/>
          </a:prstGeom>
        </p:spPr>
        <p:txBody>
          <a:bodyPr vert="horz" lIns="0" tIns="108000" rIns="0" bIns="0" rtlCol="0">
            <a:noAutofit/>
          </a:bodyPr>
          <a:lstStyle/>
          <a:p>
            <a:pPr marL="342900" marR="0" lvl="0" indent="-342900" algn="l" defTabSz="912754" rtl="0" eaLnBrk="1" fontAlgn="auto" latinLnBrk="0" hangingPunct="1">
              <a:lnSpc>
                <a:spcPct val="90000"/>
              </a:lnSpc>
              <a:spcBef>
                <a:spcPts val="998"/>
              </a:spcBef>
              <a:spcAft>
                <a:spcPts val="0"/>
              </a:spcAft>
              <a:buClrTx/>
              <a:buSzTx/>
              <a:tabLst/>
              <a:defRPr/>
            </a:pPr>
            <a:r>
              <a:rPr lang="en-US" noProof="0"/>
              <a:t>Edit text</a:t>
            </a:r>
          </a:p>
          <a:p>
            <a:pPr marL="342900" marR="0" lvl="1" indent="-342900" algn="l" defTabSz="912754" rtl="0" eaLnBrk="1" fontAlgn="auto" latinLnBrk="0" hangingPunct="1">
              <a:lnSpc>
                <a:spcPct val="90000"/>
              </a:lnSpc>
              <a:spcBef>
                <a:spcPts val="998"/>
              </a:spcBef>
              <a:spcAft>
                <a:spcPts val="0"/>
              </a:spcAft>
              <a:buClrTx/>
              <a:buSzTx/>
              <a:tabLst/>
              <a:defRPr/>
            </a:pPr>
            <a:r>
              <a:rPr lang="en-US" noProof="0"/>
              <a:t>Second level</a:t>
            </a:r>
          </a:p>
          <a:p>
            <a:pPr marL="531813" marR="0" lvl="3" indent="-342900" algn="l" defTabSz="912754" rtl="0" eaLnBrk="1" fontAlgn="auto" latinLnBrk="0" hangingPunct="1">
              <a:lnSpc>
                <a:spcPct val="90000"/>
              </a:lnSpc>
              <a:spcBef>
                <a:spcPts val="998"/>
              </a:spcBef>
              <a:spcAft>
                <a:spcPts val="0"/>
              </a:spcAft>
              <a:buClrTx/>
              <a:buSzTx/>
              <a:tabLst/>
              <a:defRPr/>
            </a:pPr>
            <a:r>
              <a:rPr lang="en-US" noProof="0"/>
              <a:t>Third level</a:t>
            </a:r>
          </a:p>
        </p:txBody>
      </p:sp>
      <p:pic>
        <p:nvPicPr>
          <p:cNvPr id="10" name="Gráfico 11">
            <a:extLst>
              <a:ext uri="{FF2B5EF4-FFF2-40B4-BE49-F238E27FC236}">
                <a16:creationId xmlns:a16="http://schemas.microsoft.com/office/drawing/2014/main" id="{46F02B97-5DFD-40AB-8C00-253ED62D2D6B}"/>
              </a:ext>
            </a:extLst>
          </p:cNvPr>
          <p:cNvPicPr>
            <a:picLocks noChangeAspect="1"/>
          </p:cNvPicPr>
          <p:nvPr userDrawn="1"/>
        </p:nvPicPr>
        <p:blipFill>
          <a:blip r:embed="rId27">
            <a:extLst>
              <a:ext uri="{96DAC541-7B7A-43D3-8B79-37D633B846F1}">
                <asvg:svgBlip xmlns:asvg="http://schemas.microsoft.com/office/drawing/2016/SVG/main" r:embed="rId28"/>
              </a:ext>
            </a:extLst>
          </a:blip>
          <a:stretch>
            <a:fillRect/>
          </a:stretch>
        </p:blipFill>
        <p:spPr>
          <a:xfrm>
            <a:off x="10168185" y="6467037"/>
            <a:ext cx="1223683" cy="214585"/>
          </a:xfrm>
          <a:prstGeom prst="rect">
            <a:avLst/>
          </a:prstGeom>
        </p:spPr>
      </p:pic>
      <p:cxnSp>
        <p:nvCxnSpPr>
          <p:cNvPr id="8" name="Straight Connector 7">
            <a:extLst>
              <a:ext uri="{FF2B5EF4-FFF2-40B4-BE49-F238E27FC236}">
                <a16:creationId xmlns:a16="http://schemas.microsoft.com/office/drawing/2014/main" id="{37BA9BCE-A3E8-411D-907B-B79FCB4A37A3}"/>
              </a:ext>
            </a:extLst>
          </p:cNvPr>
          <p:cNvCxnSpPr/>
          <p:nvPr userDrawn="1"/>
        </p:nvCxnSpPr>
        <p:spPr>
          <a:xfrm>
            <a:off x="550863" y="6421143"/>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1160276-2D13-4284-981F-C00DEDD71BA8}"/>
              </a:ext>
            </a:extLst>
          </p:cNvPr>
          <p:cNvCxnSpPr/>
          <p:nvPr userDrawn="1"/>
        </p:nvCxnSpPr>
        <p:spPr>
          <a:xfrm>
            <a:off x="550863"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0868193"/>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5" r:id="rId15"/>
    <p:sldLayoutId id="2147483826" r:id="rId16"/>
    <p:sldLayoutId id="2147483827" r:id="rId17"/>
    <p:sldLayoutId id="2147483828" r:id="rId18"/>
    <p:sldLayoutId id="2147483829" r:id="rId19"/>
    <p:sldLayoutId id="2147483830" r:id="rId20"/>
    <p:sldLayoutId id="2147483831" r:id="rId21"/>
    <p:sldLayoutId id="2147483832" r:id="rId22"/>
  </p:sldLayoutIdLst>
  <p:hf sldNum="0" hdr="0" ftr="0" dt="0"/>
  <p:txStyles>
    <p:titleStyle>
      <a:lvl1pPr algn="l" defTabSz="912688" rtl="0" eaLnBrk="1" latinLnBrk="0" hangingPunct="1">
        <a:lnSpc>
          <a:spcPct val="100000"/>
        </a:lnSpc>
        <a:spcBef>
          <a:spcPct val="0"/>
        </a:spcBef>
        <a:buNone/>
        <a:defRPr lang="en-US" sz="2400" b="1" kern="1200" dirty="0">
          <a:solidFill>
            <a:schemeClr val="tx1"/>
          </a:solidFill>
          <a:latin typeface="+mj-lt"/>
          <a:ea typeface="+mj-ea"/>
          <a:cs typeface="Arial" panose="020B0604020202020204" pitchFamily="34" charset="0"/>
        </a:defRPr>
      </a:lvl1pPr>
    </p:titleStyle>
    <p:bodyStyle>
      <a:lvl1pPr marL="0" indent="0" algn="l" defTabSz="912688" rtl="0" eaLnBrk="1" latinLnBrk="0" hangingPunct="1">
        <a:lnSpc>
          <a:spcPct val="100000"/>
        </a:lnSpc>
        <a:spcBef>
          <a:spcPts val="998"/>
        </a:spcBef>
        <a:buFont typeface="Webdings" panose="05030102010509060703" pitchFamily="18" charset="2"/>
        <a:buNone/>
        <a:defRPr sz="1600" kern="1200">
          <a:solidFill>
            <a:schemeClr val="bg2"/>
          </a:solidFill>
          <a:latin typeface="Santander Text"/>
          <a:ea typeface="+mn-ea"/>
          <a:cs typeface="+mn-cs"/>
        </a:defRPr>
      </a:lvl1pPr>
      <a:lvl2pPr marL="0" indent="0" algn="l" defTabSz="912688" rtl="0" eaLnBrk="1" latinLnBrk="0" hangingPunct="1">
        <a:lnSpc>
          <a:spcPct val="100000"/>
        </a:lnSpc>
        <a:spcBef>
          <a:spcPts val="499"/>
        </a:spcBef>
        <a:buClr>
          <a:schemeClr val="accent4"/>
        </a:buClr>
        <a:buSzPct val="110000"/>
        <a:buFont typeface="Webdings" panose="05030102010509060703" pitchFamily="18" charset="2"/>
        <a:buChar char="4"/>
        <a:defRPr sz="1600" kern="1200">
          <a:solidFill>
            <a:schemeClr val="bg2"/>
          </a:solidFill>
          <a:latin typeface="Santander Text"/>
          <a:ea typeface="+mn-ea"/>
          <a:cs typeface="+mn-cs"/>
        </a:defRPr>
      </a:lvl2pPr>
      <a:lvl3pPr marL="174625" indent="188913" algn="l" defTabSz="912688" rtl="0" eaLnBrk="1" latinLnBrk="0" hangingPunct="1">
        <a:lnSpc>
          <a:spcPct val="90000"/>
        </a:lnSpc>
        <a:spcBef>
          <a:spcPts val="499"/>
        </a:spcBef>
        <a:buClr>
          <a:srgbClr val="8AB9CC"/>
        </a:buClr>
        <a:buFont typeface="Webdings" panose="05030102010509060703" pitchFamily="18" charset="2"/>
        <a:buChar char=""/>
        <a:defRPr sz="1600" kern="1200">
          <a:solidFill>
            <a:schemeClr val="bg2"/>
          </a:solidFill>
          <a:latin typeface="Santander Text"/>
          <a:ea typeface="+mn-ea"/>
          <a:cs typeface="+mn-cs"/>
        </a:defRPr>
      </a:lvl3pPr>
      <a:lvl4pPr marL="363538" indent="174625" algn="l" defTabSz="912688" rtl="0" eaLnBrk="1" latinLnBrk="0" hangingPunct="1">
        <a:lnSpc>
          <a:spcPct val="100000"/>
        </a:lnSpc>
        <a:spcBef>
          <a:spcPts val="499"/>
        </a:spcBef>
        <a:buClr>
          <a:schemeClr val="accent4"/>
        </a:buClr>
        <a:buFont typeface="Arial" panose="020B0604020202020204" pitchFamily="34" charset="0"/>
        <a:buChar char="•"/>
        <a:defRPr sz="1600" kern="1200">
          <a:solidFill>
            <a:schemeClr val="bg2"/>
          </a:solidFill>
          <a:latin typeface="Santander Text"/>
          <a:ea typeface="+mn-ea"/>
          <a:cs typeface="+mn-cs"/>
        </a:defRPr>
      </a:lvl4pPr>
      <a:lvl5pPr marL="538163" indent="174625" algn="l" defTabSz="912688" rtl="0" eaLnBrk="1" latinLnBrk="0" hangingPunct="1">
        <a:lnSpc>
          <a:spcPct val="90000"/>
        </a:lnSpc>
        <a:spcBef>
          <a:spcPts val="499"/>
        </a:spcBef>
        <a:buClr>
          <a:srgbClr val="8AB9CC"/>
        </a:buClr>
        <a:buFont typeface="Webdings" panose="05030102010509060703" pitchFamily="18" charset="2"/>
        <a:buChar char=""/>
        <a:defRPr sz="1600" kern="1200">
          <a:solidFill>
            <a:schemeClr val="bg2"/>
          </a:solidFill>
          <a:latin typeface="Santander Text"/>
          <a:ea typeface="+mn-ea"/>
          <a:cs typeface="+mn-cs"/>
        </a:defRPr>
      </a:lvl5pPr>
      <a:lvl6pPr marL="2509895" indent="-228173" algn="l" defTabSz="912688"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6pPr>
      <a:lvl7pPr marL="2966239" indent="-228173" algn="l" defTabSz="912688"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7pPr>
      <a:lvl8pPr marL="3422584" indent="-228173" algn="l" defTabSz="912688"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8pPr>
      <a:lvl9pPr marL="3878929" indent="-228173" algn="l" defTabSz="912688" rtl="0" eaLnBrk="1" latinLnBrk="0" hangingPunct="1">
        <a:lnSpc>
          <a:spcPct val="90000"/>
        </a:lnSpc>
        <a:spcBef>
          <a:spcPts val="499"/>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2688" rtl="0" eaLnBrk="1" latinLnBrk="0" hangingPunct="1">
        <a:defRPr sz="1797" kern="1200">
          <a:solidFill>
            <a:schemeClr val="tx1"/>
          </a:solidFill>
          <a:latin typeface="+mn-lt"/>
          <a:ea typeface="+mn-ea"/>
          <a:cs typeface="+mn-cs"/>
        </a:defRPr>
      </a:lvl1pPr>
      <a:lvl2pPr marL="456344" algn="l" defTabSz="912688" rtl="0" eaLnBrk="1" latinLnBrk="0" hangingPunct="1">
        <a:defRPr sz="1797" kern="1200">
          <a:solidFill>
            <a:schemeClr val="tx1"/>
          </a:solidFill>
          <a:latin typeface="+mn-lt"/>
          <a:ea typeface="+mn-ea"/>
          <a:cs typeface="+mn-cs"/>
        </a:defRPr>
      </a:lvl2pPr>
      <a:lvl3pPr marL="912688" algn="l" defTabSz="912688" rtl="0" eaLnBrk="1" latinLnBrk="0" hangingPunct="1">
        <a:defRPr sz="1797" kern="1200">
          <a:solidFill>
            <a:schemeClr val="tx1"/>
          </a:solidFill>
          <a:latin typeface="+mn-lt"/>
          <a:ea typeface="+mn-ea"/>
          <a:cs typeface="+mn-cs"/>
        </a:defRPr>
      </a:lvl3pPr>
      <a:lvl4pPr marL="1369034" algn="l" defTabSz="912688" rtl="0" eaLnBrk="1" latinLnBrk="0" hangingPunct="1">
        <a:defRPr sz="1797" kern="1200">
          <a:solidFill>
            <a:schemeClr val="tx1"/>
          </a:solidFill>
          <a:latin typeface="+mn-lt"/>
          <a:ea typeface="+mn-ea"/>
          <a:cs typeface="+mn-cs"/>
        </a:defRPr>
      </a:lvl4pPr>
      <a:lvl5pPr marL="1825378" algn="l" defTabSz="912688" rtl="0" eaLnBrk="1" latinLnBrk="0" hangingPunct="1">
        <a:defRPr sz="1797" kern="1200">
          <a:solidFill>
            <a:schemeClr val="tx1"/>
          </a:solidFill>
          <a:latin typeface="+mn-lt"/>
          <a:ea typeface="+mn-ea"/>
          <a:cs typeface="+mn-cs"/>
        </a:defRPr>
      </a:lvl5pPr>
      <a:lvl6pPr marL="2281722" algn="l" defTabSz="912688" rtl="0" eaLnBrk="1" latinLnBrk="0" hangingPunct="1">
        <a:defRPr sz="1797" kern="1200">
          <a:solidFill>
            <a:schemeClr val="tx1"/>
          </a:solidFill>
          <a:latin typeface="+mn-lt"/>
          <a:ea typeface="+mn-ea"/>
          <a:cs typeface="+mn-cs"/>
        </a:defRPr>
      </a:lvl6pPr>
      <a:lvl7pPr marL="2738067" algn="l" defTabSz="912688" rtl="0" eaLnBrk="1" latinLnBrk="0" hangingPunct="1">
        <a:defRPr sz="1797" kern="1200">
          <a:solidFill>
            <a:schemeClr val="tx1"/>
          </a:solidFill>
          <a:latin typeface="+mn-lt"/>
          <a:ea typeface="+mn-ea"/>
          <a:cs typeface="+mn-cs"/>
        </a:defRPr>
      </a:lvl7pPr>
      <a:lvl8pPr marL="3194412" algn="l" defTabSz="912688" rtl="0" eaLnBrk="1" latinLnBrk="0" hangingPunct="1">
        <a:defRPr sz="1797" kern="1200">
          <a:solidFill>
            <a:schemeClr val="tx1"/>
          </a:solidFill>
          <a:latin typeface="+mn-lt"/>
          <a:ea typeface="+mn-ea"/>
          <a:cs typeface="+mn-cs"/>
        </a:defRPr>
      </a:lvl8pPr>
      <a:lvl9pPr marL="3650757" algn="l" defTabSz="912688" rtl="0" eaLnBrk="1" latinLnBrk="0" hangingPunct="1">
        <a:defRPr sz="179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6">
          <p15:clr>
            <a:srgbClr val="9FCC3B"/>
          </p15:clr>
        </p15:guide>
        <p15:guide id="2" pos="347">
          <p15:clr>
            <a:srgbClr val="F26B43"/>
          </p15:clr>
        </p15:guide>
        <p15:guide id="3" pos="7333">
          <p15:clr>
            <a:srgbClr val="F26B43"/>
          </p15:clr>
        </p15:guide>
        <p15:guide id="4" orient="horz" pos="4042">
          <p15:clr>
            <a:srgbClr val="F26B43"/>
          </p15:clr>
        </p15:guide>
        <p15:guide id="5" orient="horz" pos="958">
          <p15:clr>
            <a:srgbClr val="5ACBF0"/>
          </p15:clr>
        </p15:guide>
        <p15:guide id="6" orient="horz" pos="3816">
          <p15:clr>
            <a:srgbClr val="9FCC3B"/>
          </p15:clr>
        </p15:guide>
        <p15:guide id="7" orient="horz" pos="550">
          <p15:clr>
            <a:srgbClr val="F26B43"/>
          </p15:clr>
        </p15:guide>
        <p15:guide id="8" orient="horz" pos="777">
          <p15:clr>
            <a:srgbClr val="5ACBF0"/>
          </p15:clr>
        </p15:guide>
        <p15:guide id="9" orient="horz" pos="3657">
          <p15:clr>
            <a:srgbClr val="FBAE4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userDrawn="1">
            <p:custDataLst>
              <p:tags r:id="rId25"/>
            </p:custDataLst>
          </p:nvPr>
        </p:nvGraphicFramePr>
        <p:xfrm>
          <a:off x="2120" y="1595"/>
          <a:ext cx="2116" cy="1587"/>
        </p:xfrm>
        <a:graphic>
          <a:graphicData uri="http://schemas.openxmlformats.org/presentationml/2006/ole">
            <mc:AlternateContent xmlns:mc="http://schemas.openxmlformats.org/markup-compatibility/2006">
              <mc:Choice xmlns:v="urn:schemas-microsoft-com:vml" Requires="v">
                <p:oleObj name="think-cell Slide" r:id="rId26" imgW="216" imgH="216" progId="TCLayout.ActiveDocument.1">
                  <p:embed/>
                </p:oleObj>
              </mc:Choice>
              <mc:Fallback>
                <p:oleObj name="think-cell Slide" r:id="rId26" imgW="216" imgH="216" progId="TCLayout.ActiveDocument.1">
                  <p:embed/>
                  <p:pic>
                    <p:nvPicPr>
                      <p:cNvPr id="2" name="1 Objeto" hidden="1"/>
                      <p:cNvPicPr/>
                      <p:nvPr/>
                    </p:nvPicPr>
                    <p:blipFill>
                      <a:blip r:embed="rId27"/>
                      <a:stretch>
                        <a:fillRect/>
                      </a:stretch>
                    </p:blipFill>
                    <p:spPr>
                      <a:xfrm>
                        <a:off x="2120" y="1595"/>
                        <a:ext cx="2116" cy="1587"/>
                      </a:xfrm>
                      <a:prstGeom prst="rect">
                        <a:avLst/>
                      </a:prstGeom>
                    </p:spPr>
                  </p:pic>
                </p:oleObj>
              </mc:Fallback>
            </mc:AlternateContent>
          </a:graphicData>
        </a:graphic>
      </p:graphicFrame>
      <p:sp>
        <p:nvSpPr>
          <p:cNvPr id="6" name="Marcador de texto 2">
            <a:extLst>
              <a:ext uri="{FF2B5EF4-FFF2-40B4-BE49-F238E27FC236}">
                <a16:creationId xmlns:a16="http://schemas.microsoft.com/office/drawing/2014/main" id="{70BD3726-4CCC-4808-AF74-D4FC34B77CC4}"/>
              </a:ext>
            </a:extLst>
          </p:cNvPr>
          <p:cNvSpPr>
            <a:spLocks noGrp="1"/>
          </p:cNvSpPr>
          <p:nvPr>
            <p:ph type="body" idx="1"/>
          </p:nvPr>
        </p:nvSpPr>
        <p:spPr>
          <a:xfrm>
            <a:off x="550864" y="1628776"/>
            <a:ext cx="11090274" cy="4429124"/>
          </a:xfrm>
          <a:prstGeom prst="rect">
            <a:avLst/>
          </a:prstGeom>
        </p:spPr>
        <p:txBody>
          <a:bodyPr vert="horz" lIns="0" tIns="108000" rIns="0" bIns="0" rtlCol="0">
            <a:noAutofit/>
          </a:bodyPr>
          <a:lstStyle/>
          <a:p>
            <a:pPr marL="342283" marR="0" lvl="0" indent="-342283" algn="l" defTabSz="911111" rtl="0" eaLnBrk="1" fontAlgn="auto" latinLnBrk="0" hangingPunct="1">
              <a:lnSpc>
                <a:spcPct val="90000"/>
              </a:lnSpc>
              <a:spcBef>
                <a:spcPts val="996"/>
              </a:spcBef>
              <a:spcAft>
                <a:spcPts val="0"/>
              </a:spcAft>
              <a:buClrTx/>
              <a:buSzTx/>
              <a:tabLst/>
              <a:defRPr/>
            </a:pPr>
            <a:r>
              <a:rPr lang="en-US" noProof="0"/>
              <a:t>Edit text</a:t>
            </a:r>
          </a:p>
          <a:p>
            <a:pPr marL="342283" marR="0" lvl="1" indent="-342283" algn="l" defTabSz="911111" rtl="0" eaLnBrk="1" fontAlgn="auto" latinLnBrk="0" hangingPunct="1">
              <a:lnSpc>
                <a:spcPct val="90000"/>
              </a:lnSpc>
              <a:spcBef>
                <a:spcPts val="996"/>
              </a:spcBef>
              <a:spcAft>
                <a:spcPts val="0"/>
              </a:spcAft>
              <a:buClrTx/>
              <a:buSzTx/>
              <a:tabLst/>
              <a:defRPr/>
            </a:pPr>
            <a:r>
              <a:rPr lang="en-US" noProof="0"/>
              <a:t>Second level</a:t>
            </a:r>
          </a:p>
          <a:p>
            <a:pPr marL="530856" marR="0" lvl="3" indent="-342283" algn="l" defTabSz="911111" rtl="0" eaLnBrk="1" fontAlgn="auto" latinLnBrk="0" hangingPunct="1">
              <a:lnSpc>
                <a:spcPct val="90000"/>
              </a:lnSpc>
              <a:spcBef>
                <a:spcPts val="996"/>
              </a:spcBef>
              <a:spcAft>
                <a:spcPts val="0"/>
              </a:spcAft>
              <a:buClrTx/>
              <a:buSzTx/>
              <a:tabLst/>
              <a:defRPr/>
            </a:pPr>
            <a:r>
              <a:rPr lang="en-US" noProof="0"/>
              <a:t>Third level</a:t>
            </a:r>
          </a:p>
        </p:txBody>
      </p:sp>
      <p:pic>
        <p:nvPicPr>
          <p:cNvPr id="10" name="Gráfico 11">
            <a:extLst>
              <a:ext uri="{FF2B5EF4-FFF2-40B4-BE49-F238E27FC236}">
                <a16:creationId xmlns:a16="http://schemas.microsoft.com/office/drawing/2014/main" id="{46F02B97-5DFD-40AB-8C00-253ED62D2D6B}"/>
              </a:ext>
            </a:extLst>
          </p:cNvPr>
          <p:cNvPicPr>
            <a:picLocks noChangeAspect="1"/>
          </p:cNvPicPr>
          <p:nvPr userDrawn="1"/>
        </p:nvPicPr>
        <p:blipFill>
          <a:blip r:embed="rId28">
            <a:extLst>
              <a:ext uri="{96DAC541-7B7A-43D3-8B79-37D633B846F1}">
                <asvg:svgBlip xmlns:asvg="http://schemas.microsoft.com/office/drawing/2016/SVG/main" r:embed="rId29"/>
              </a:ext>
            </a:extLst>
          </a:blip>
          <a:stretch>
            <a:fillRect/>
          </a:stretch>
        </p:blipFill>
        <p:spPr>
          <a:xfrm>
            <a:off x="10168186" y="6467039"/>
            <a:ext cx="1223683" cy="214585"/>
          </a:xfrm>
          <a:prstGeom prst="rect">
            <a:avLst/>
          </a:prstGeom>
        </p:spPr>
      </p:pic>
      <p:cxnSp>
        <p:nvCxnSpPr>
          <p:cNvPr id="8" name="Straight Connector 7">
            <a:extLst>
              <a:ext uri="{FF2B5EF4-FFF2-40B4-BE49-F238E27FC236}">
                <a16:creationId xmlns:a16="http://schemas.microsoft.com/office/drawing/2014/main" id="{37BA9BCE-A3E8-411D-907B-B79FCB4A37A3}"/>
              </a:ext>
            </a:extLst>
          </p:cNvPr>
          <p:cNvCxnSpPr/>
          <p:nvPr userDrawn="1"/>
        </p:nvCxnSpPr>
        <p:spPr>
          <a:xfrm>
            <a:off x="550864" y="6421143"/>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1160276-2D13-4284-981F-C00DEDD71BA8}"/>
              </a:ext>
            </a:extLst>
          </p:cNvPr>
          <p:cNvCxnSpPr/>
          <p:nvPr userDrawn="1"/>
        </p:nvCxnSpPr>
        <p:spPr>
          <a:xfrm>
            <a:off x="550864" y="897979"/>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MSIPCMContentMarking" descr="{&quot;HashCode&quot;:-665463564,&quot;Placement&quot;:&quot;Header&quot;,&quot;Top&quot;:0.0,&quot;Left&quot;:0.0,&quot;SlideWidth&quot;:960,&quot;SlideHeight&quot;:540}">
            <a:extLst>
              <a:ext uri="{FF2B5EF4-FFF2-40B4-BE49-F238E27FC236}">
                <a16:creationId xmlns:a16="http://schemas.microsoft.com/office/drawing/2014/main" id="{66BEA16F-ABE2-F854-016F-82C526DFB1BA}"/>
              </a:ext>
            </a:extLst>
          </p:cNvPr>
          <p:cNvSpPr txBox="1"/>
          <p:nvPr userDrawn="1"/>
        </p:nvSpPr>
        <p:spPr>
          <a:xfrm>
            <a:off x="-152400" y="-40641"/>
            <a:ext cx="1168400" cy="274301"/>
          </a:xfrm>
          <a:prstGeom prst="rect">
            <a:avLst/>
          </a:prstGeom>
        </p:spPr>
        <p:txBody>
          <a:bodyPr vert="horz" wrap="square" lIns="0" tIns="0" rIns="0" bIns="0" rtlCol="0" anchor="ctr" anchorCtr="1">
            <a:noAutofit/>
          </a:bodyPr>
          <a:lstStyle/>
          <a:p>
            <a:pPr marL="285750" indent="-285750" algn="l">
              <a:lnSpc>
                <a:spcPct val="150000"/>
              </a:lnSpc>
              <a:spcBef>
                <a:spcPts val="0"/>
              </a:spcBef>
              <a:spcAft>
                <a:spcPts val="0"/>
              </a:spcAft>
              <a:buClr>
                <a:schemeClr val="accent4"/>
              </a:buClr>
              <a:buFont typeface="Wingdings 3" panose="05040102010807070707" pitchFamily="18" charset="2"/>
              <a:buChar char="}"/>
            </a:pPr>
            <a:r>
              <a:rPr lang="es-PE" sz="1000" b="1" err="1">
                <a:solidFill>
                  <a:srgbClr val="000000"/>
                </a:solidFill>
                <a:latin typeface="Calibri" panose="020F0502020204030204" pitchFamily="34" charset="0"/>
              </a:rPr>
              <a:t>Confidential</a:t>
            </a:r>
            <a:endParaRPr lang="es-PE" sz="1000" b="1">
              <a:solidFill>
                <a:srgbClr val="000000"/>
              </a:solidFill>
              <a:latin typeface="Calibri" panose="020F0502020204030204" pitchFamily="34" charset="0"/>
            </a:endParaRPr>
          </a:p>
        </p:txBody>
      </p:sp>
      <p:sp>
        <p:nvSpPr>
          <p:cNvPr id="4" name="Rectangle 1">
            <a:extLst>
              <a:ext uri="{FF2B5EF4-FFF2-40B4-BE49-F238E27FC236}">
                <a16:creationId xmlns:a16="http://schemas.microsoft.com/office/drawing/2014/main" id="{0BFAE7CA-6EF1-A4B1-C3D1-6A9946CAFE1C}"/>
              </a:ext>
            </a:extLst>
          </p:cNvPr>
          <p:cNvSpPr/>
          <p:nvPr userDrawn="1"/>
        </p:nvSpPr>
        <p:spPr>
          <a:xfrm>
            <a:off x="12407033" y="1621323"/>
            <a:ext cx="508485" cy="513245"/>
          </a:xfrm>
          <a:prstGeom prst="rect">
            <a:avLst/>
          </a:prstGeom>
          <a:solidFill>
            <a:srgbClr val="EB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235</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0</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0</a:t>
            </a:r>
            <a:endParaRPr kumimoji="0" lang="en-US" sz="6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5" name="Rectangle 2">
            <a:extLst>
              <a:ext uri="{FF2B5EF4-FFF2-40B4-BE49-F238E27FC236}">
                <a16:creationId xmlns:a16="http://schemas.microsoft.com/office/drawing/2014/main" id="{5426E751-DE19-A47D-6576-68F94B76451E}"/>
              </a:ext>
            </a:extLst>
          </p:cNvPr>
          <p:cNvSpPr/>
          <p:nvPr userDrawn="1"/>
        </p:nvSpPr>
        <p:spPr>
          <a:xfrm>
            <a:off x="12407033" y="2231192"/>
            <a:ext cx="508485" cy="513245"/>
          </a:xfrm>
          <a:prstGeom prst="rect">
            <a:avLst/>
          </a:prstGeom>
          <a:solidFill>
            <a:srgbClr val="DEEDF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black"/>
                </a:solidFill>
                <a:effectLst/>
                <a:uLnTx/>
                <a:uFillTx/>
                <a:latin typeface="Arial" panose="020B0604020202020204"/>
                <a:ea typeface="+mn-ea"/>
                <a:cs typeface="+mn-cs"/>
              </a:rPr>
              <a:t>222</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black"/>
                </a:solidFill>
                <a:effectLst/>
                <a:uLnTx/>
                <a:uFillTx/>
                <a:latin typeface="Arial" panose="020B0604020202020204"/>
                <a:ea typeface="+mn-ea"/>
                <a:cs typeface="+mn-cs"/>
              </a:rPr>
              <a:t>23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black"/>
                </a:solidFill>
                <a:effectLst/>
                <a:uLnTx/>
                <a:uFillTx/>
                <a:latin typeface="Arial" panose="020B0604020202020204"/>
                <a:ea typeface="+mn-ea"/>
                <a:cs typeface="+mn-cs"/>
              </a:rPr>
              <a:t>241</a:t>
            </a:r>
            <a:endParaRPr kumimoji="0" lang="en-US" sz="65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7" name="Rectangle 3">
            <a:extLst>
              <a:ext uri="{FF2B5EF4-FFF2-40B4-BE49-F238E27FC236}">
                <a16:creationId xmlns:a16="http://schemas.microsoft.com/office/drawing/2014/main" id="{06DC0BFC-5506-7654-0127-43A65913D4E2}"/>
              </a:ext>
            </a:extLst>
          </p:cNvPr>
          <p:cNvSpPr/>
          <p:nvPr userDrawn="1"/>
        </p:nvSpPr>
        <p:spPr>
          <a:xfrm>
            <a:off x="12407033" y="2841061"/>
            <a:ext cx="508485" cy="513245"/>
          </a:xfrm>
          <a:prstGeom prst="rect">
            <a:avLst/>
          </a:prstGeom>
          <a:solidFill>
            <a:srgbClr val="9D356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5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53</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02</a:t>
            </a:r>
            <a:endParaRPr kumimoji="0" lang="en-US" sz="6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 name="Rectangle 4">
            <a:extLst>
              <a:ext uri="{FF2B5EF4-FFF2-40B4-BE49-F238E27FC236}">
                <a16:creationId xmlns:a16="http://schemas.microsoft.com/office/drawing/2014/main" id="{C2B6151A-DD78-A9D8-210F-E47638DC519F}"/>
              </a:ext>
            </a:extLst>
          </p:cNvPr>
          <p:cNvSpPr/>
          <p:nvPr userDrawn="1"/>
        </p:nvSpPr>
        <p:spPr>
          <a:xfrm>
            <a:off x="12407033" y="3450930"/>
            <a:ext cx="508485" cy="513245"/>
          </a:xfrm>
          <a:prstGeom prst="rect">
            <a:avLst/>
          </a:prstGeom>
          <a:solidFill>
            <a:srgbClr val="62B96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98</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85</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03</a:t>
            </a:r>
            <a:endParaRPr kumimoji="0" lang="en-US" sz="6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1" name="Rectangle 5">
            <a:extLst>
              <a:ext uri="{FF2B5EF4-FFF2-40B4-BE49-F238E27FC236}">
                <a16:creationId xmlns:a16="http://schemas.microsoft.com/office/drawing/2014/main" id="{4A06F27B-DC08-C57F-4769-7117A5385609}"/>
              </a:ext>
            </a:extLst>
          </p:cNvPr>
          <p:cNvSpPr/>
          <p:nvPr userDrawn="1"/>
        </p:nvSpPr>
        <p:spPr>
          <a:xfrm>
            <a:off x="12407033" y="4060799"/>
            <a:ext cx="508485" cy="513245"/>
          </a:xfrm>
          <a:prstGeom prst="rect">
            <a:avLst/>
          </a:prstGeom>
          <a:solidFill>
            <a:srgbClr val="1AB2B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2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78</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87</a:t>
            </a:r>
            <a:endParaRPr kumimoji="0" lang="en-US" sz="6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2" name="Rectangle 7">
            <a:extLst>
              <a:ext uri="{FF2B5EF4-FFF2-40B4-BE49-F238E27FC236}">
                <a16:creationId xmlns:a16="http://schemas.microsoft.com/office/drawing/2014/main" id="{A91ABF9D-57D7-63F3-4577-ECB81BD1455C}"/>
              </a:ext>
            </a:extLst>
          </p:cNvPr>
          <p:cNvSpPr/>
          <p:nvPr userDrawn="1"/>
        </p:nvSpPr>
        <p:spPr>
          <a:xfrm>
            <a:off x="12407033" y="4670668"/>
            <a:ext cx="508485" cy="513245"/>
          </a:xfrm>
          <a:prstGeom prst="rect">
            <a:avLst/>
          </a:prstGeom>
          <a:solidFill>
            <a:srgbClr val="FFCB3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black"/>
                </a:solidFill>
                <a:effectLst/>
                <a:uLnTx/>
                <a:uFillTx/>
                <a:latin typeface="Arial" panose="020B0604020202020204"/>
                <a:ea typeface="+mn-ea"/>
                <a:cs typeface="+mn-cs"/>
              </a:rPr>
              <a:t>255</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black"/>
                </a:solidFill>
                <a:effectLst/>
                <a:uLnTx/>
                <a:uFillTx/>
                <a:latin typeface="Arial" panose="020B0604020202020204"/>
                <a:ea typeface="+mn-ea"/>
                <a:cs typeface="+mn-cs"/>
              </a:rPr>
              <a:t>203</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black"/>
                </a:solidFill>
                <a:effectLst/>
                <a:uLnTx/>
                <a:uFillTx/>
                <a:latin typeface="Arial" panose="020B0604020202020204"/>
                <a:ea typeface="+mn-ea"/>
                <a:cs typeface="+mn-cs"/>
              </a:rPr>
              <a:t>50</a:t>
            </a:r>
            <a:endParaRPr kumimoji="0" lang="en-US" sz="65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3" name="Rectangle 8">
            <a:extLst>
              <a:ext uri="{FF2B5EF4-FFF2-40B4-BE49-F238E27FC236}">
                <a16:creationId xmlns:a16="http://schemas.microsoft.com/office/drawing/2014/main" id="{1646FA30-D1F2-8221-744B-227C3D2F905F}"/>
              </a:ext>
            </a:extLst>
          </p:cNvPr>
          <p:cNvSpPr/>
          <p:nvPr userDrawn="1"/>
        </p:nvSpPr>
        <p:spPr>
          <a:xfrm>
            <a:off x="12407033" y="5280535"/>
            <a:ext cx="508485" cy="513245"/>
          </a:xfrm>
          <a:prstGeom prst="rect">
            <a:avLst/>
          </a:prstGeom>
          <a:solidFill>
            <a:srgbClr val="6E767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10</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18</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20</a:t>
            </a:r>
            <a:endParaRPr kumimoji="0" lang="en-US" sz="6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4" name="Rectangle 10">
            <a:extLst>
              <a:ext uri="{FF2B5EF4-FFF2-40B4-BE49-F238E27FC236}">
                <a16:creationId xmlns:a16="http://schemas.microsoft.com/office/drawing/2014/main" id="{FA76D269-4E60-EDC7-4D29-98E555C7880E}"/>
              </a:ext>
            </a:extLst>
          </p:cNvPr>
          <p:cNvSpPr/>
          <p:nvPr userDrawn="1"/>
        </p:nvSpPr>
        <p:spPr>
          <a:xfrm>
            <a:off x="-663081" y="1011324"/>
            <a:ext cx="508485" cy="513245"/>
          </a:xfrm>
          <a:prstGeom prst="rect">
            <a:avLst/>
          </a:prstGeom>
          <a:solidFill>
            <a:srgbClr val="22475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34</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7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81</a:t>
            </a:r>
            <a:endParaRPr kumimoji="0" lang="en-US" sz="6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6" name="Rectangle 11">
            <a:extLst>
              <a:ext uri="{FF2B5EF4-FFF2-40B4-BE49-F238E27FC236}">
                <a16:creationId xmlns:a16="http://schemas.microsoft.com/office/drawing/2014/main" id="{F379A881-2E7D-33F4-A188-48E30638E6AB}"/>
              </a:ext>
            </a:extLst>
          </p:cNvPr>
          <p:cNvSpPr/>
          <p:nvPr userDrawn="1"/>
        </p:nvSpPr>
        <p:spPr>
          <a:xfrm>
            <a:off x="-663081" y="1621193"/>
            <a:ext cx="508485" cy="513245"/>
          </a:xfrm>
          <a:prstGeom prst="rect">
            <a:avLst/>
          </a:prstGeom>
          <a:solidFill>
            <a:srgbClr val="458F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69</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43</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63</a:t>
            </a:r>
            <a:endParaRPr kumimoji="0" lang="en-US" sz="6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7" name="Rectangle 14">
            <a:extLst>
              <a:ext uri="{FF2B5EF4-FFF2-40B4-BE49-F238E27FC236}">
                <a16:creationId xmlns:a16="http://schemas.microsoft.com/office/drawing/2014/main" id="{B03F3EDE-8271-98C0-6A03-186A8DA71E3A}"/>
              </a:ext>
            </a:extLst>
          </p:cNvPr>
          <p:cNvSpPr/>
          <p:nvPr userDrawn="1"/>
        </p:nvSpPr>
        <p:spPr>
          <a:xfrm>
            <a:off x="-663081" y="2231062"/>
            <a:ext cx="508485" cy="513245"/>
          </a:xfrm>
          <a:prstGeom prst="rect">
            <a:avLst/>
          </a:prstGeom>
          <a:solidFill>
            <a:srgbClr val="8DC1C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4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93</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207</a:t>
            </a:r>
            <a:endParaRPr kumimoji="0" lang="en-US" sz="6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8" name="Rectangle 15">
            <a:extLst>
              <a:ext uri="{FF2B5EF4-FFF2-40B4-BE49-F238E27FC236}">
                <a16:creationId xmlns:a16="http://schemas.microsoft.com/office/drawing/2014/main" id="{7E5179BC-826B-5BDC-7969-96670715E7AA}"/>
              </a:ext>
            </a:extLst>
          </p:cNvPr>
          <p:cNvSpPr/>
          <p:nvPr userDrawn="1"/>
        </p:nvSpPr>
        <p:spPr>
          <a:xfrm>
            <a:off x="-663081" y="2840931"/>
            <a:ext cx="508485" cy="513245"/>
          </a:xfrm>
          <a:prstGeom prst="rect">
            <a:avLst/>
          </a:prstGeom>
          <a:solidFill>
            <a:srgbClr val="DEEDF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black"/>
                </a:solidFill>
                <a:effectLst/>
                <a:uLnTx/>
                <a:uFillTx/>
                <a:latin typeface="Arial" panose="020B0604020202020204"/>
                <a:ea typeface="+mn-ea"/>
                <a:cs typeface="+mn-cs"/>
              </a:rPr>
              <a:t>222</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black"/>
                </a:solidFill>
                <a:effectLst/>
                <a:uLnTx/>
                <a:uFillTx/>
                <a:latin typeface="Arial" panose="020B0604020202020204"/>
                <a:ea typeface="+mn-ea"/>
                <a:cs typeface="+mn-cs"/>
              </a:rPr>
              <a:t>23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a:ln>
                  <a:noFill/>
                </a:ln>
                <a:solidFill>
                  <a:prstClr val="black"/>
                </a:solidFill>
                <a:effectLst/>
                <a:uLnTx/>
                <a:uFillTx/>
                <a:latin typeface="Arial" panose="020B0604020202020204"/>
                <a:ea typeface="+mn-ea"/>
                <a:cs typeface="+mn-cs"/>
              </a:rPr>
              <a:t>241</a:t>
            </a:r>
          </a:p>
        </p:txBody>
      </p:sp>
      <p:sp>
        <p:nvSpPr>
          <p:cNvPr id="19" name="Rectangle 16">
            <a:extLst>
              <a:ext uri="{FF2B5EF4-FFF2-40B4-BE49-F238E27FC236}">
                <a16:creationId xmlns:a16="http://schemas.microsoft.com/office/drawing/2014/main" id="{12531798-8DCB-9F44-E2E3-B6EE919EA917}"/>
              </a:ext>
            </a:extLst>
          </p:cNvPr>
          <p:cNvSpPr/>
          <p:nvPr userDrawn="1"/>
        </p:nvSpPr>
        <p:spPr>
          <a:xfrm>
            <a:off x="-663081" y="3450798"/>
            <a:ext cx="508485" cy="513245"/>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black"/>
                </a:solidFill>
                <a:effectLst/>
                <a:uLnTx/>
                <a:uFillTx/>
                <a:latin typeface="Arial" panose="020B0604020202020204"/>
                <a:ea typeface="+mn-ea"/>
                <a:cs typeface="+mn-cs"/>
              </a:rPr>
              <a:t>2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black"/>
                </a:solidFill>
                <a:effectLst/>
                <a:uLnTx/>
                <a:uFillTx/>
                <a:latin typeface="Arial" panose="020B0604020202020204"/>
                <a:ea typeface="+mn-ea"/>
                <a:cs typeface="+mn-cs"/>
              </a:rPr>
              <a:t>2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black"/>
                </a:solidFill>
                <a:effectLst/>
                <a:uLnTx/>
                <a:uFillTx/>
                <a:latin typeface="Arial" panose="020B0604020202020204"/>
                <a:ea typeface="+mn-ea"/>
                <a:cs typeface="+mn-cs"/>
              </a:rPr>
              <a:t>217</a:t>
            </a:r>
            <a:endParaRPr kumimoji="0" lang="en-US" sz="65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0" name="Rectangle 17">
            <a:extLst>
              <a:ext uri="{FF2B5EF4-FFF2-40B4-BE49-F238E27FC236}">
                <a16:creationId xmlns:a16="http://schemas.microsoft.com/office/drawing/2014/main" id="{B178AF9C-955A-01B3-31DD-9D386F223962}"/>
              </a:ext>
            </a:extLst>
          </p:cNvPr>
          <p:cNvSpPr/>
          <p:nvPr userDrawn="1"/>
        </p:nvSpPr>
        <p:spPr>
          <a:xfrm>
            <a:off x="-663081" y="4060669"/>
            <a:ext cx="508485" cy="513245"/>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6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6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66</a:t>
            </a:r>
            <a:endParaRPr kumimoji="0" lang="en-US" sz="6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1" name="Rectangle 18">
            <a:extLst>
              <a:ext uri="{FF2B5EF4-FFF2-40B4-BE49-F238E27FC236}">
                <a16:creationId xmlns:a16="http://schemas.microsoft.com/office/drawing/2014/main" id="{A7DFE4C0-C453-E10B-3CE0-0903B20E4713}"/>
              </a:ext>
            </a:extLst>
          </p:cNvPr>
          <p:cNvSpPr/>
          <p:nvPr userDrawn="1"/>
        </p:nvSpPr>
        <p:spPr>
          <a:xfrm>
            <a:off x="-663081" y="4670536"/>
            <a:ext cx="508485" cy="513245"/>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2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2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127</a:t>
            </a:r>
            <a:endParaRPr kumimoji="0" lang="en-US" sz="6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2" name="Rectangle 23">
            <a:extLst>
              <a:ext uri="{FF2B5EF4-FFF2-40B4-BE49-F238E27FC236}">
                <a16:creationId xmlns:a16="http://schemas.microsoft.com/office/drawing/2014/main" id="{34EE36D3-7A6E-A58B-2E3E-BDF10876F3C1}"/>
              </a:ext>
            </a:extLst>
          </p:cNvPr>
          <p:cNvSpPr/>
          <p:nvPr userDrawn="1"/>
        </p:nvSpPr>
        <p:spPr>
          <a:xfrm>
            <a:off x="-663081" y="5280403"/>
            <a:ext cx="508485" cy="513245"/>
          </a:xfrm>
          <a:prstGeom prst="rect">
            <a:avLst/>
          </a:prstGeom>
          <a:solidFill>
            <a:srgbClr val="6E7678">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83</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89</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a:ln>
                  <a:noFill/>
                </a:ln>
                <a:solidFill>
                  <a:prstClr val="white"/>
                </a:solidFill>
                <a:effectLst/>
                <a:uLnTx/>
                <a:uFillTx/>
                <a:latin typeface="Arial" panose="020B0604020202020204"/>
                <a:ea typeface="+mn-ea"/>
                <a:cs typeface="+mn-cs"/>
              </a:rPr>
              <a:t>90</a:t>
            </a:r>
          </a:p>
        </p:txBody>
      </p:sp>
      <p:sp>
        <p:nvSpPr>
          <p:cNvPr id="23" name="Rectangle 24">
            <a:extLst>
              <a:ext uri="{FF2B5EF4-FFF2-40B4-BE49-F238E27FC236}">
                <a16:creationId xmlns:a16="http://schemas.microsoft.com/office/drawing/2014/main" id="{A128D6AC-7AAB-60A7-A66E-73904B16142B}"/>
              </a:ext>
            </a:extLst>
          </p:cNvPr>
          <p:cNvSpPr/>
          <p:nvPr userDrawn="1"/>
        </p:nvSpPr>
        <p:spPr>
          <a:xfrm>
            <a:off x="-663081" y="5890270"/>
            <a:ext cx="508485" cy="513245"/>
          </a:xfrm>
          <a:prstGeom prst="rect">
            <a:avLst/>
          </a:prstGeom>
          <a:solidFill>
            <a:srgbClr val="6E7678">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55</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59</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650" b="0" i="0" u="none" strike="noStrike" kern="0" cap="none" spc="0" normalizeH="0" baseline="0" noProof="0">
                <a:ln>
                  <a:noFill/>
                </a:ln>
                <a:solidFill>
                  <a:prstClr val="white"/>
                </a:solidFill>
                <a:effectLst/>
                <a:uLnTx/>
                <a:uFillTx/>
                <a:latin typeface="Arial" panose="020B0604020202020204"/>
                <a:ea typeface="+mn-ea"/>
                <a:cs typeface="+mn-cs"/>
              </a:rPr>
              <a:t>60</a:t>
            </a:r>
            <a:endParaRPr kumimoji="0" lang="en-US" sz="650" b="0" i="0" u="none" strike="noStrike" kern="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55995976"/>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 id="2147483854" r:id="rId20"/>
    <p:sldLayoutId id="2147483855" r:id="rId21"/>
    <p:sldLayoutId id="2147483856" r:id="rId22"/>
    <p:sldLayoutId id="2147483857" r:id="rId23"/>
  </p:sldLayoutIdLst>
  <p:hf sldNum="0" hdr="0" ftr="0" dt="0"/>
  <p:txStyles>
    <p:titleStyle>
      <a:lvl1pPr algn="l" defTabSz="911045" rtl="0" eaLnBrk="1" latinLnBrk="0" hangingPunct="1">
        <a:lnSpc>
          <a:spcPct val="100000"/>
        </a:lnSpc>
        <a:spcBef>
          <a:spcPct val="0"/>
        </a:spcBef>
        <a:buNone/>
        <a:defRPr lang="en-US" sz="2396" b="1" kern="1200" dirty="0">
          <a:solidFill>
            <a:schemeClr val="tx1"/>
          </a:solidFill>
          <a:latin typeface="+mj-lt"/>
          <a:ea typeface="+mj-ea"/>
          <a:cs typeface="Arial" panose="020B0604020202020204" pitchFamily="34" charset="0"/>
        </a:defRPr>
      </a:lvl1pPr>
    </p:titleStyle>
    <p:bodyStyle>
      <a:lvl1pPr marL="0" indent="0" algn="l" defTabSz="911045" rtl="0" eaLnBrk="1" latinLnBrk="0" hangingPunct="1">
        <a:lnSpc>
          <a:spcPct val="100000"/>
        </a:lnSpc>
        <a:spcBef>
          <a:spcPts val="996"/>
        </a:spcBef>
        <a:buFont typeface="Webdings" panose="05030102010509060703" pitchFamily="18" charset="2"/>
        <a:buNone/>
        <a:defRPr sz="1597" kern="1200">
          <a:solidFill>
            <a:schemeClr val="bg2"/>
          </a:solidFill>
          <a:latin typeface="Santander Text"/>
          <a:ea typeface="+mn-ea"/>
          <a:cs typeface="+mn-cs"/>
        </a:defRPr>
      </a:lvl1pPr>
      <a:lvl2pPr marL="0" indent="0" algn="l" defTabSz="911045" rtl="0" eaLnBrk="1" latinLnBrk="0" hangingPunct="1">
        <a:lnSpc>
          <a:spcPct val="100000"/>
        </a:lnSpc>
        <a:spcBef>
          <a:spcPts val="498"/>
        </a:spcBef>
        <a:buClr>
          <a:schemeClr val="accent4"/>
        </a:buClr>
        <a:buSzPct val="110000"/>
        <a:buFont typeface="Webdings" panose="05030102010509060703" pitchFamily="18" charset="2"/>
        <a:buChar char="4"/>
        <a:defRPr sz="1597" kern="1200">
          <a:solidFill>
            <a:schemeClr val="bg2"/>
          </a:solidFill>
          <a:latin typeface="Santander Text"/>
          <a:ea typeface="+mn-ea"/>
          <a:cs typeface="+mn-cs"/>
        </a:defRPr>
      </a:lvl2pPr>
      <a:lvl3pPr marL="174311" indent="188573" algn="l" defTabSz="911045" rtl="0" eaLnBrk="1" latinLnBrk="0" hangingPunct="1">
        <a:lnSpc>
          <a:spcPct val="90000"/>
        </a:lnSpc>
        <a:spcBef>
          <a:spcPts val="498"/>
        </a:spcBef>
        <a:buClr>
          <a:srgbClr val="8AB9CC"/>
        </a:buClr>
        <a:buFont typeface="Webdings" panose="05030102010509060703" pitchFamily="18" charset="2"/>
        <a:buChar char=""/>
        <a:defRPr sz="1597" kern="1200">
          <a:solidFill>
            <a:schemeClr val="bg2"/>
          </a:solidFill>
          <a:latin typeface="Santander Text"/>
          <a:ea typeface="+mn-ea"/>
          <a:cs typeface="+mn-cs"/>
        </a:defRPr>
      </a:lvl3pPr>
      <a:lvl4pPr marL="362884" indent="174311" algn="l" defTabSz="911045" rtl="0" eaLnBrk="1" latinLnBrk="0" hangingPunct="1">
        <a:lnSpc>
          <a:spcPct val="100000"/>
        </a:lnSpc>
        <a:spcBef>
          <a:spcPts val="498"/>
        </a:spcBef>
        <a:buClr>
          <a:schemeClr val="accent4"/>
        </a:buClr>
        <a:buFont typeface="Arial" panose="020B0604020202020204" pitchFamily="34" charset="0"/>
        <a:buChar char="•"/>
        <a:defRPr sz="1597" kern="1200">
          <a:solidFill>
            <a:schemeClr val="bg2"/>
          </a:solidFill>
          <a:latin typeface="Santander Text"/>
          <a:ea typeface="+mn-ea"/>
          <a:cs typeface="+mn-cs"/>
        </a:defRPr>
      </a:lvl4pPr>
      <a:lvl5pPr marL="537194" indent="174311" algn="l" defTabSz="911045" rtl="0" eaLnBrk="1" latinLnBrk="0" hangingPunct="1">
        <a:lnSpc>
          <a:spcPct val="90000"/>
        </a:lnSpc>
        <a:spcBef>
          <a:spcPts val="498"/>
        </a:spcBef>
        <a:buClr>
          <a:srgbClr val="8AB9CC"/>
        </a:buClr>
        <a:buFont typeface="Webdings" panose="05030102010509060703" pitchFamily="18" charset="2"/>
        <a:buChar char=""/>
        <a:defRPr sz="1597" kern="1200">
          <a:solidFill>
            <a:schemeClr val="bg2"/>
          </a:solidFill>
          <a:latin typeface="Santander Text"/>
          <a:ea typeface="+mn-ea"/>
          <a:cs typeface="+mn-cs"/>
        </a:defRPr>
      </a:lvl5pPr>
      <a:lvl6pPr marL="2505377"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6pPr>
      <a:lvl7pPr marL="2960900"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7pPr>
      <a:lvl8pPr marL="3416423"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8pPr>
      <a:lvl9pPr marL="3871947"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9pPr>
    </p:bodyStyle>
    <p:otherStyle>
      <a:defPPr>
        <a:defRPr lang="en-US"/>
      </a:defPPr>
      <a:lvl1pPr marL="0" algn="l" defTabSz="911045" rtl="0" eaLnBrk="1" latinLnBrk="0" hangingPunct="1">
        <a:defRPr sz="1794" kern="1200">
          <a:solidFill>
            <a:schemeClr val="tx1"/>
          </a:solidFill>
          <a:latin typeface="+mn-lt"/>
          <a:ea typeface="+mn-ea"/>
          <a:cs typeface="+mn-cs"/>
        </a:defRPr>
      </a:lvl1pPr>
      <a:lvl2pPr marL="455523" algn="l" defTabSz="911045" rtl="0" eaLnBrk="1" latinLnBrk="0" hangingPunct="1">
        <a:defRPr sz="1794" kern="1200">
          <a:solidFill>
            <a:schemeClr val="tx1"/>
          </a:solidFill>
          <a:latin typeface="+mn-lt"/>
          <a:ea typeface="+mn-ea"/>
          <a:cs typeface="+mn-cs"/>
        </a:defRPr>
      </a:lvl2pPr>
      <a:lvl3pPr marL="911045" algn="l" defTabSz="911045" rtl="0" eaLnBrk="1" latinLnBrk="0" hangingPunct="1">
        <a:defRPr sz="1794" kern="1200">
          <a:solidFill>
            <a:schemeClr val="tx1"/>
          </a:solidFill>
          <a:latin typeface="+mn-lt"/>
          <a:ea typeface="+mn-ea"/>
          <a:cs typeface="+mn-cs"/>
        </a:defRPr>
      </a:lvl3pPr>
      <a:lvl4pPr marL="1366570" algn="l" defTabSz="911045" rtl="0" eaLnBrk="1" latinLnBrk="0" hangingPunct="1">
        <a:defRPr sz="1794" kern="1200">
          <a:solidFill>
            <a:schemeClr val="tx1"/>
          </a:solidFill>
          <a:latin typeface="+mn-lt"/>
          <a:ea typeface="+mn-ea"/>
          <a:cs typeface="+mn-cs"/>
        </a:defRPr>
      </a:lvl4pPr>
      <a:lvl5pPr marL="1822092" algn="l" defTabSz="911045" rtl="0" eaLnBrk="1" latinLnBrk="0" hangingPunct="1">
        <a:defRPr sz="1794" kern="1200">
          <a:solidFill>
            <a:schemeClr val="tx1"/>
          </a:solidFill>
          <a:latin typeface="+mn-lt"/>
          <a:ea typeface="+mn-ea"/>
          <a:cs typeface="+mn-cs"/>
        </a:defRPr>
      </a:lvl5pPr>
      <a:lvl6pPr marL="2277615" algn="l" defTabSz="911045" rtl="0" eaLnBrk="1" latinLnBrk="0" hangingPunct="1">
        <a:defRPr sz="1794" kern="1200">
          <a:solidFill>
            <a:schemeClr val="tx1"/>
          </a:solidFill>
          <a:latin typeface="+mn-lt"/>
          <a:ea typeface="+mn-ea"/>
          <a:cs typeface="+mn-cs"/>
        </a:defRPr>
      </a:lvl6pPr>
      <a:lvl7pPr marL="2733138" algn="l" defTabSz="911045" rtl="0" eaLnBrk="1" latinLnBrk="0" hangingPunct="1">
        <a:defRPr sz="1794" kern="1200">
          <a:solidFill>
            <a:schemeClr val="tx1"/>
          </a:solidFill>
          <a:latin typeface="+mn-lt"/>
          <a:ea typeface="+mn-ea"/>
          <a:cs typeface="+mn-cs"/>
        </a:defRPr>
      </a:lvl7pPr>
      <a:lvl8pPr marL="3188662" algn="l" defTabSz="911045" rtl="0" eaLnBrk="1" latinLnBrk="0" hangingPunct="1">
        <a:defRPr sz="1794" kern="1200">
          <a:solidFill>
            <a:schemeClr val="tx1"/>
          </a:solidFill>
          <a:latin typeface="+mn-lt"/>
          <a:ea typeface="+mn-ea"/>
          <a:cs typeface="+mn-cs"/>
        </a:defRPr>
      </a:lvl8pPr>
      <a:lvl9pPr marL="3644186" algn="l" defTabSz="911045" rtl="0" eaLnBrk="1" latinLnBrk="0" hangingPunct="1">
        <a:defRPr sz="179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6">
          <p15:clr>
            <a:srgbClr val="9FCC3B"/>
          </p15:clr>
        </p15:guide>
        <p15:guide id="2" pos="347">
          <p15:clr>
            <a:srgbClr val="F26B43"/>
          </p15:clr>
        </p15:guide>
        <p15:guide id="3" pos="7333">
          <p15:clr>
            <a:srgbClr val="F26B43"/>
          </p15:clr>
        </p15:guide>
        <p15:guide id="4" orient="horz" pos="4042">
          <p15:clr>
            <a:srgbClr val="F26B43"/>
          </p15:clr>
        </p15:guide>
        <p15:guide id="5" orient="horz" pos="958">
          <p15:clr>
            <a:srgbClr val="5ACBF0"/>
          </p15:clr>
        </p15:guide>
        <p15:guide id="6" orient="horz" pos="3816">
          <p15:clr>
            <a:srgbClr val="9FCC3B"/>
          </p15:clr>
        </p15:guide>
        <p15:guide id="7" orient="horz" pos="550">
          <p15:clr>
            <a:srgbClr val="F26B43"/>
          </p15:clr>
        </p15:guide>
        <p15:guide id="8" orient="horz" pos="777">
          <p15:clr>
            <a:srgbClr val="5ACBF0"/>
          </p15:clr>
        </p15:guide>
        <p15:guide id="9" orient="horz" pos="3657">
          <p15:clr>
            <a:srgbClr val="FBAE4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A508141E-100E-4635-9FC3-353399DFCC8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70BD3726-4CCC-4808-AF74-D4FC34B77C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289DA10A-F167-488F-8E2B-A0FE5650228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s-ES"/>
          </a:p>
        </p:txBody>
      </p:sp>
      <p:sp>
        <p:nvSpPr>
          <p:cNvPr id="5" name="Marcador de pie de página 4">
            <a:extLst>
              <a:ext uri="{FF2B5EF4-FFF2-40B4-BE49-F238E27FC236}">
                <a16:creationId xmlns:a16="http://schemas.microsoft.com/office/drawing/2014/main" id="{0C937220-A8C8-4E71-8BA2-4260C5636D0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a:extLst>
              <a:ext uri="{FF2B5EF4-FFF2-40B4-BE49-F238E27FC236}">
                <a16:creationId xmlns:a16="http://schemas.microsoft.com/office/drawing/2014/main" id="{2D5E98D6-3F4E-4F5E-9BFB-DDFD9AC1E7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0D97B6-E32F-4D7D-B839-7C3B51F2640F}" type="slidenum">
              <a:rPr lang="es-ES" smtClean="0"/>
              <a:t>‹#›</a:t>
            </a:fld>
            <a:endParaRPr lang="es-ES"/>
          </a:p>
        </p:txBody>
      </p:sp>
    </p:spTree>
    <p:extLst>
      <p:ext uri="{BB962C8B-B14F-4D97-AF65-F5344CB8AC3E}">
        <p14:creationId xmlns:p14="http://schemas.microsoft.com/office/powerpoint/2010/main" val="1130698322"/>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72"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2">
          <p15:clr>
            <a:srgbClr val="F26B43"/>
          </p15:clr>
        </p15:guide>
        <p15:guide id="2" pos="7225">
          <p15:clr>
            <a:srgbClr val="F26B43"/>
          </p15:clr>
        </p15:guide>
        <p15:guide id="3" pos="5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png"/><Relationship Id="rId18" Type="http://schemas.openxmlformats.org/officeDocument/2006/relationships/image" Target="../media/image99.png"/><Relationship Id="rId3" Type="http://schemas.openxmlformats.org/officeDocument/2006/relationships/image" Target="../media/image84.png"/><Relationship Id="rId7" Type="http://schemas.openxmlformats.org/officeDocument/2006/relationships/image" Target="../media/image88.png"/><Relationship Id="rId12" Type="http://schemas.openxmlformats.org/officeDocument/2006/relationships/image" Target="../media/image93.png"/><Relationship Id="rId17" Type="http://schemas.openxmlformats.org/officeDocument/2006/relationships/image" Target="../media/image98.png"/><Relationship Id="rId2" Type="http://schemas.openxmlformats.org/officeDocument/2006/relationships/notesSlide" Target="../notesSlides/notesSlide7.xml"/><Relationship Id="rId16" Type="http://schemas.openxmlformats.org/officeDocument/2006/relationships/image" Target="../media/image97.jpeg"/><Relationship Id="rId20" Type="http://schemas.openxmlformats.org/officeDocument/2006/relationships/image" Target="../media/image101.jpeg"/><Relationship Id="rId1" Type="http://schemas.openxmlformats.org/officeDocument/2006/relationships/slideLayout" Target="../slideLayouts/slideLayout5.xml"/><Relationship Id="rId6" Type="http://schemas.openxmlformats.org/officeDocument/2006/relationships/image" Target="../media/image87.png"/><Relationship Id="rId11" Type="http://schemas.openxmlformats.org/officeDocument/2006/relationships/image" Target="../media/image92.png"/><Relationship Id="rId5" Type="http://schemas.openxmlformats.org/officeDocument/2006/relationships/image" Target="../media/image86.png"/><Relationship Id="rId15" Type="http://schemas.openxmlformats.org/officeDocument/2006/relationships/image" Target="../media/image96.png"/><Relationship Id="rId10" Type="http://schemas.openxmlformats.org/officeDocument/2006/relationships/image" Target="../media/image91.png"/><Relationship Id="rId19" Type="http://schemas.openxmlformats.org/officeDocument/2006/relationships/image" Target="../media/image100.png"/><Relationship Id="rId4" Type="http://schemas.openxmlformats.org/officeDocument/2006/relationships/image" Target="../media/image85.png"/><Relationship Id="rId9" Type="http://schemas.openxmlformats.org/officeDocument/2006/relationships/image" Target="../media/image90.png"/><Relationship Id="rId14" Type="http://schemas.openxmlformats.org/officeDocument/2006/relationships/image" Target="../media/image9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85.png"/><Relationship Id="rId3" Type="http://schemas.openxmlformats.org/officeDocument/2006/relationships/image" Target="../media/image102.png"/><Relationship Id="rId7" Type="http://schemas.openxmlformats.org/officeDocument/2006/relationships/image" Target="../media/image91.png"/><Relationship Id="rId12" Type="http://schemas.openxmlformats.org/officeDocument/2006/relationships/image" Target="../media/image86.png"/><Relationship Id="rId2" Type="http://schemas.openxmlformats.org/officeDocument/2006/relationships/notesSlide" Target="../notesSlides/notesSlide8.xml"/><Relationship Id="rId16" Type="http://schemas.openxmlformats.org/officeDocument/2006/relationships/image" Target="../media/image103.jpeg"/><Relationship Id="rId1" Type="http://schemas.openxmlformats.org/officeDocument/2006/relationships/slideLayout" Target="../slideLayouts/slideLayout5.xml"/><Relationship Id="rId6" Type="http://schemas.openxmlformats.org/officeDocument/2006/relationships/image" Target="../media/image89.png"/><Relationship Id="rId11" Type="http://schemas.openxmlformats.org/officeDocument/2006/relationships/image" Target="../media/image100.png"/><Relationship Id="rId5" Type="http://schemas.openxmlformats.org/officeDocument/2006/relationships/image" Target="../media/image88.png"/><Relationship Id="rId15" Type="http://schemas.openxmlformats.org/officeDocument/2006/relationships/image" Target="../media/image98.png"/><Relationship Id="rId10" Type="http://schemas.openxmlformats.org/officeDocument/2006/relationships/image" Target="../media/image95.png"/><Relationship Id="rId4" Type="http://schemas.openxmlformats.org/officeDocument/2006/relationships/image" Target="../media/image87.png"/><Relationship Id="rId9" Type="http://schemas.openxmlformats.org/officeDocument/2006/relationships/image" Target="../media/image93.png"/><Relationship Id="rId14" Type="http://schemas.openxmlformats.org/officeDocument/2006/relationships/image" Target="../media/image97.jpeg"/></Relationships>
</file>

<file path=ppt/slides/_rels/slide1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106.png"/><Relationship Id="rId4" Type="http://schemas.openxmlformats.org/officeDocument/2006/relationships/image" Target="../media/image105.png"/></Relationships>
</file>

<file path=ppt/slides/_rels/slide1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108.png"/><Relationship Id="rId4" Type="http://schemas.openxmlformats.org/officeDocument/2006/relationships/image" Target="../media/image10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111.png"/><Relationship Id="rId5" Type="http://schemas.microsoft.com/office/2007/relationships/hdphoto" Target="../media/hdphoto9.wdp"/><Relationship Id="rId4" Type="http://schemas.openxmlformats.org/officeDocument/2006/relationships/image" Target="../media/image110.png"/></Relationships>
</file>

<file path=ppt/slides/_rels/slide1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113.png"/></Relationships>
</file>

<file path=ppt/slides/_rels/slide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8" Type="http://schemas.openxmlformats.org/officeDocument/2006/relationships/image" Target="../media/image119.svg"/><Relationship Id="rId3" Type="http://schemas.openxmlformats.org/officeDocument/2006/relationships/image" Target="../media/image114.png"/><Relationship Id="rId7" Type="http://schemas.openxmlformats.org/officeDocument/2006/relationships/image" Target="../media/image118.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117.svg"/><Relationship Id="rId5" Type="http://schemas.openxmlformats.org/officeDocument/2006/relationships/image" Target="../media/image116.png"/><Relationship Id="rId4" Type="http://schemas.openxmlformats.org/officeDocument/2006/relationships/image" Target="../media/image115.sv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image" Target="../media/image122.png"/><Relationship Id="rId4" Type="http://schemas.openxmlformats.org/officeDocument/2006/relationships/image" Target="../media/image121.png"/></Relationships>
</file>

<file path=ppt/slides/_rels/slide2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58.svg"/></Relationships>
</file>

<file path=ppt/slides/_rels/slide3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62.png"/></Relationships>
</file>

<file path=ppt/slides/_rels/slide6.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6.xml"/><Relationship Id="rId1" Type="http://schemas.openxmlformats.org/officeDocument/2006/relationships/slideLayout" Target="../slideLayouts/slideLayout134.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7.png"/><Relationship Id="rId18" Type="http://schemas.microsoft.com/office/2007/relationships/hdphoto" Target="../media/hdphoto6.wdp"/><Relationship Id="rId3" Type="http://schemas.microsoft.com/office/2007/relationships/hdphoto" Target="../media/hdphoto2.wdp"/><Relationship Id="rId21" Type="http://schemas.openxmlformats.org/officeDocument/2006/relationships/image" Target="../media/image83.png"/><Relationship Id="rId7" Type="http://schemas.microsoft.com/office/2007/relationships/hdphoto" Target="../media/hdphoto4.wdp"/><Relationship Id="rId12" Type="http://schemas.openxmlformats.org/officeDocument/2006/relationships/image" Target="../media/image76.svg"/><Relationship Id="rId17" Type="http://schemas.openxmlformats.org/officeDocument/2006/relationships/image" Target="../media/image81.png"/><Relationship Id="rId2" Type="http://schemas.openxmlformats.org/officeDocument/2006/relationships/image" Target="../media/image70.png"/><Relationship Id="rId16" Type="http://schemas.openxmlformats.org/officeDocument/2006/relationships/image" Target="../media/image80.svg"/><Relationship Id="rId20" Type="http://schemas.microsoft.com/office/2007/relationships/hdphoto" Target="../media/hdphoto7.wdp"/><Relationship Id="rId1" Type="http://schemas.openxmlformats.org/officeDocument/2006/relationships/slideLayout" Target="../slideLayouts/slideLayout12.xml"/><Relationship Id="rId6" Type="http://schemas.openxmlformats.org/officeDocument/2006/relationships/image" Target="../media/image72.png"/><Relationship Id="rId11" Type="http://schemas.openxmlformats.org/officeDocument/2006/relationships/image" Target="../media/image75.png"/><Relationship Id="rId5" Type="http://schemas.microsoft.com/office/2007/relationships/hdphoto" Target="../media/hdphoto3.wdp"/><Relationship Id="rId15" Type="http://schemas.openxmlformats.org/officeDocument/2006/relationships/image" Target="../media/image79.png"/><Relationship Id="rId10" Type="http://schemas.openxmlformats.org/officeDocument/2006/relationships/image" Target="../media/image74.png"/><Relationship Id="rId19" Type="http://schemas.openxmlformats.org/officeDocument/2006/relationships/image" Target="../media/image82.png"/><Relationship Id="rId4" Type="http://schemas.openxmlformats.org/officeDocument/2006/relationships/image" Target="../media/image71.png"/><Relationship Id="rId9" Type="http://schemas.microsoft.com/office/2007/relationships/hdphoto" Target="../media/hdphoto5.wdp"/><Relationship Id="rId14" Type="http://schemas.openxmlformats.org/officeDocument/2006/relationships/image" Target="../media/image78.svg"/><Relationship Id="rId22" Type="http://schemas.microsoft.com/office/2007/relationships/hdphoto" Target="../media/hdphoto8.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A tall glass building with a logo on it&#10;&#10;Description automatically generated">
            <a:extLst>
              <a:ext uri="{FF2B5EF4-FFF2-40B4-BE49-F238E27FC236}">
                <a16:creationId xmlns:a16="http://schemas.microsoft.com/office/drawing/2014/main" id="{79775E2C-4049-3343-D892-22053AC971E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18479"/>
          <a:stretch/>
        </p:blipFill>
        <p:spPr>
          <a:xfrm>
            <a:off x="3804423" y="0"/>
            <a:ext cx="8387577" cy="6858000"/>
          </a:xfrm>
          <a:prstGeom prst="rect">
            <a:avLst/>
          </a:prstGeom>
        </p:spPr>
      </p:pic>
      <p:sp>
        <p:nvSpPr>
          <p:cNvPr id="9" name="Rectángulo 8">
            <a:extLst>
              <a:ext uri="{FF2B5EF4-FFF2-40B4-BE49-F238E27FC236}">
                <a16:creationId xmlns:a16="http://schemas.microsoft.com/office/drawing/2014/main" id="{55D08B8E-EB1B-66BA-295A-139EB20E3144}"/>
              </a:ext>
            </a:extLst>
          </p:cNvPr>
          <p:cNvSpPr/>
          <p:nvPr/>
        </p:nvSpPr>
        <p:spPr>
          <a:xfrm>
            <a:off x="4121025" y="0"/>
            <a:ext cx="4526018" cy="6858000"/>
          </a:xfrm>
          <a:prstGeom prst="rect">
            <a:avLst/>
          </a:prstGeom>
          <a:gradFill>
            <a:gsLst>
              <a:gs pos="65000">
                <a:schemeClr val="bg1">
                  <a:alpha val="94000"/>
                </a:schemeClr>
              </a:gs>
              <a:gs pos="49000">
                <a:schemeClr val="bg1"/>
              </a:gs>
              <a:gs pos="85000">
                <a:schemeClr val="bg1">
                  <a:alpha val="500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 name="Rectángulo 9">
            <a:extLst>
              <a:ext uri="{FF2B5EF4-FFF2-40B4-BE49-F238E27FC236}">
                <a16:creationId xmlns:a16="http://schemas.microsoft.com/office/drawing/2014/main" id="{1CCDF9B7-D8B4-3963-4BDB-449B228CA0D8}"/>
              </a:ext>
            </a:extLst>
          </p:cNvPr>
          <p:cNvSpPr/>
          <p:nvPr/>
        </p:nvSpPr>
        <p:spPr>
          <a:xfrm>
            <a:off x="3496058" y="0"/>
            <a:ext cx="3319609"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 name="Título 1">
            <a:extLst>
              <a:ext uri="{FF2B5EF4-FFF2-40B4-BE49-F238E27FC236}">
                <a16:creationId xmlns:a16="http://schemas.microsoft.com/office/drawing/2014/main" id="{D082CC37-57B5-ECBF-0015-143F91F1A068}"/>
              </a:ext>
            </a:extLst>
          </p:cNvPr>
          <p:cNvSpPr>
            <a:spLocks noGrp="1"/>
          </p:cNvSpPr>
          <p:nvPr>
            <p:ph type="title"/>
          </p:nvPr>
        </p:nvSpPr>
        <p:spPr>
          <a:xfrm>
            <a:off x="534994" y="1797309"/>
            <a:ext cx="6280673" cy="1962317"/>
          </a:xfrm>
        </p:spPr>
        <p:txBody>
          <a:bodyPr/>
          <a:lstStyle/>
          <a:p>
            <a:r>
              <a:rPr lang="es-MX" sz="4000"/>
              <a:t>COE</a:t>
            </a:r>
            <a:br>
              <a:rPr lang="es-MX" sz="4000"/>
            </a:br>
            <a:r>
              <a:rPr lang="es-MX" sz="4000"/>
              <a:t>Aseguramiento Calidad (QA)</a:t>
            </a:r>
            <a:br>
              <a:rPr lang="es-MX" sz="4000"/>
            </a:br>
            <a:r>
              <a:rPr lang="es-MX" sz="2400"/>
              <a:t>Proyecto Helios</a:t>
            </a:r>
            <a:endParaRPr lang="es-PE" sz="2400" b="0"/>
          </a:p>
        </p:txBody>
      </p:sp>
      <p:sp>
        <p:nvSpPr>
          <p:cNvPr id="6" name="Marcador de contenido 5">
            <a:extLst>
              <a:ext uri="{FF2B5EF4-FFF2-40B4-BE49-F238E27FC236}">
                <a16:creationId xmlns:a16="http://schemas.microsoft.com/office/drawing/2014/main" id="{54A0DD8D-AC17-4104-AA76-E414A5410685}"/>
              </a:ext>
            </a:extLst>
          </p:cNvPr>
          <p:cNvSpPr>
            <a:spLocks noGrp="1"/>
          </p:cNvSpPr>
          <p:nvPr>
            <p:ph idx="12"/>
          </p:nvPr>
        </p:nvSpPr>
        <p:spPr/>
        <p:txBody>
          <a:bodyPr/>
          <a:lstStyle/>
          <a:p>
            <a:endParaRPr lang="es-PE"/>
          </a:p>
        </p:txBody>
      </p:sp>
    </p:spTree>
    <p:extLst>
      <p:ext uri="{BB962C8B-B14F-4D97-AF65-F5344CB8AC3E}">
        <p14:creationId xmlns:p14="http://schemas.microsoft.com/office/powerpoint/2010/main" val="321114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997A99-C315-7A36-706D-8621A7FA157B}"/>
            </a:ext>
          </a:extLst>
        </p:cNvPr>
        <p:cNvGrpSpPr/>
        <p:nvPr/>
      </p:nvGrpSpPr>
      <p:grpSpPr>
        <a:xfrm>
          <a:off x="0" y="0"/>
          <a:ext cx="0" cy="0"/>
          <a:chOff x="0" y="0"/>
          <a:chExt cx="0" cy="0"/>
        </a:xfrm>
      </p:grpSpPr>
      <p:pic>
        <p:nvPicPr>
          <p:cNvPr id="29" name="Picture 22" descr="How to Use SonarQube for Code Quality Analysis">
            <a:extLst>
              <a:ext uri="{FF2B5EF4-FFF2-40B4-BE49-F238E27FC236}">
                <a16:creationId xmlns:a16="http://schemas.microsoft.com/office/drawing/2014/main" id="{31F27B48-85FA-AC9B-697B-5511A28691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0266" y="4226489"/>
            <a:ext cx="1950248" cy="1080000"/>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GitHub - grafana/k6: A modern load testing tool, using Go and ...">
            <a:extLst>
              <a:ext uri="{FF2B5EF4-FFF2-40B4-BE49-F238E27FC236}">
                <a16:creationId xmlns:a16="http://schemas.microsoft.com/office/drawing/2014/main" id="{B2CFB86B-C197-D537-FD82-BFDC6E75CDA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3625" t="3688" r="30548"/>
          <a:stretch>
            <a:fillRect/>
          </a:stretch>
        </p:blipFill>
        <p:spPr bwMode="auto">
          <a:xfrm>
            <a:off x="4781444" y="3358952"/>
            <a:ext cx="981637" cy="94321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4" descr="What is Jmeter and How it works? An Overview and Its Use Cases ...">
            <a:extLst>
              <a:ext uri="{FF2B5EF4-FFF2-40B4-BE49-F238E27FC236}">
                <a16:creationId xmlns:a16="http://schemas.microsoft.com/office/drawing/2014/main" id="{6E037F47-4D33-C500-AB9A-7DF7C784177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68879" y="3239980"/>
            <a:ext cx="2160000" cy="1080000"/>
          </a:xfrm>
          <a:prstGeom prst="rect">
            <a:avLst/>
          </a:prstGeom>
          <a:noFill/>
          <a:extLst>
            <a:ext uri="{909E8E84-426E-40DD-AFC4-6F175D3DCCD1}">
              <a14:hiddenFill xmlns:a14="http://schemas.microsoft.com/office/drawing/2010/main">
                <a:solidFill>
                  <a:srgbClr val="FFFFFF"/>
                </a:solidFill>
              </a14:hiddenFill>
            </a:ext>
          </a:extLst>
        </p:spPr>
      </p:pic>
      <p:sp>
        <p:nvSpPr>
          <p:cNvPr id="8" name="Marcador de texto 7">
            <a:extLst>
              <a:ext uri="{FF2B5EF4-FFF2-40B4-BE49-F238E27FC236}">
                <a16:creationId xmlns:a16="http://schemas.microsoft.com/office/drawing/2014/main" id="{BA864E74-0BD5-B52B-B48C-F941F7379865}"/>
              </a:ext>
            </a:extLst>
          </p:cNvPr>
          <p:cNvSpPr>
            <a:spLocks noGrp="1"/>
          </p:cNvSpPr>
          <p:nvPr>
            <p:ph type="body" sz="quarter" idx="14"/>
          </p:nvPr>
        </p:nvSpPr>
        <p:spPr/>
        <p:txBody>
          <a:bodyPr/>
          <a:lstStyle/>
          <a:p>
            <a:endParaRPr lang="es-PE"/>
          </a:p>
        </p:txBody>
      </p:sp>
      <p:sp>
        <p:nvSpPr>
          <p:cNvPr id="2" name="Rectángulo 1">
            <a:extLst>
              <a:ext uri="{FF2B5EF4-FFF2-40B4-BE49-F238E27FC236}">
                <a16:creationId xmlns:a16="http://schemas.microsoft.com/office/drawing/2014/main" id="{14C16EE7-115A-97B4-86E3-DA60CF1CF254}"/>
              </a:ext>
            </a:extLst>
          </p:cNvPr>
          <p:cNvSpPr/>
          <p:nvPr/>
        </p:nvSpPr>
        <p:spPr>
          <a:xfrm>
            <a:off x="550863" y="1219200"/>
            <a:ext cx="11090275" cy="5061857"/>
          </a:xfrm>
          <a:prstGeom prst="rect">
            <a:avLst/>
          </a:prstGeom>
          <a:noFill/>
          <a:ln w="6350" cap="flat" cmpd="sng" algn="ctr">
            <a:solidFill>
              <a:schemeClr val="accent5"/>
            </a:solidFill>
            <a:prstDash val="lgDash"/>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s-PE"/>
          </a:p>
        </p:txBody>
      </p:sp>
      <p:pic>
        <p:nvPicPr>
          <p:cNvPr id="3" name="Picture 6" descr="Jira Logo : histoire, signification de l'emblème">
            <a:extLst>
              <a:ext uri="{FF2B5EF4-FFF2-40B4-BE49-F238E27FC236}">
                <a16:creationId xmlns:a16="http://schemas.microsoft.com/office/drawing/2014/main" id="{D8BFAB40-F71D-980F-30AF-E4AC2ED1796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60514" y="1100328"/>
            <a:ext cx="19200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Xray Test Management">
            <a:extLst>
              <a:ext uri="{FF2B5EF4-FFF2-40B4-BE49-F238E27FC236}">
                <a16:creationId xmlns:a16="http://schemas.microsoft.com/office/drawing/2014/main" id="{E39122EB-78EA-F7D9-4D55-EAB06530FCD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061" t="2707" r="20823"/>
          <a:stretch>
            <a:fillRect/>
          </a:stretch>
        </p:blipFill>
        <p:spPr bwMode="auto">
          <a:xfrm>
            <a:off x="4773168" y="1290075"/>
            <a:ext cx="1389888" cy="70050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4" descr="Confluence | Dokumenthanteringssystem, omdömen | businesswith.se">
            <a:extLst>
              <a:ext uri="{FF2B5EF4-FFF2-40B4-BE49-F238E27FC236}">
                <a16:creationId xmlns:a16="http://schemas.microsoft.com/office/drawing/2014/main" id="{2D379E5F-528E-99DB-FE29-C5BF198C70C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55710" y="1100328"/>
            <a:ext cx="21600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8" descr="Power BI Logo: valor, história, PNG">
            <a:extLst>
              <a:ext uri="{FF2B5EF4-FFF2-40B4-BE49-F238E27FC236}">
                <a16:creationId xmlns:a16="http://schemas.microsoft.com/office/drawing/2014/main" id="{D71D6AFA-7004-8AA0-CDA1-E04D723B7F2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21259" y="5235291"/>
            <a:ext cx="1920000" cy="1080000"/>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Conector recto 10">
            <a:extLst>
              <a:ext uri="{FF2B5EF4-FFF2-40B4-BE49-F238E27FC236}">
                <a16:creationId xmlns:a16="http://schemas.microsoft.com/office/drawing/2014/main" id="{452B48DB-111D-8051-2D11-79FB781C266B}"/>
              </a:ext>
            </a:extLst>
          </p:cNvPr>
          <p:cNvCxnSpPr/>
          <p:nvPr/>
        </p:nvCxnSpPr>
        <p:spPr>
          <a:xfrm>
            <a:off x="2468880" y="1219200"/>
            <a:ext cx="0" cy="5061857"/>
          </a:xfrm>
          <a:prstGeom prst="line">
            <a:avLst/>
          </a:prstGeom>
          <a:ln w="6350" cap="flat" cmpd="sng" algn="ctr">
            <a:solidFill>
              <a:schemeClr val="accent3"/>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 name="Conector recto 11">
            <a:extLst>
              <a:ext uri="{FF2B5EF4-FFF2-40B4-BE49-F238E27FC236}">
                <a16:creationId xmlns:a16="http://schemas.microsoft.com/office/drawing/2014/main" id="{E35B1834-D402-9BFE-648F-32A5C388CDB2}"/>
              </a:ext>
            </a:extLst>
          </p:cNvPr>
          <p:cNvCxnSpPr>
            <a:cxnSpLocks/>
          </p:cNvCxnSpPr>
          <p:nvPr/>
        </p:nvCxnSpPr>
        <p:spPr>
          <a:xfrm>
            <a:off x="550864" y="1990581"/>
            <a:ext cx="11090274" cy="0"/>
          </a:xfrm>
          <a:prstGeom prst="line">
            <a:avLst/>
          </a:prstGeom>
          <a:ln w="6350" cap="flat" cmpd="sng" algn="ctr">
            <a:solidFill>
              <a:schemeClr val="accent3"/>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 name="Conector recto 14">
            <a:extLst>
              <a:ext uri="{FF2B5EF4-FFF2-40B4-BE49-F238E27FC236}">
                <a16:creationId xmlns:a16="http://schemas.microsoft.com/office/drawing/2014/main" id="{43A4DD06-D1C4-F651-9154-FD5396C3640D}"/>
              </a:ext>
            </a:extLst>
          </p:cNvPr>
          <p:cNvCxnSpPr>
            <a:cxnSpLocks/>
          </p:cNvCxnSpPr>
          <p:nvPr/>
        </p:nvCxnSpPr>
        <p:spPr>
          <a:xfrm>
            <a:off x="550864" y="3322557"/>
            <a:ext cx="11090274" cy="0"/>
          </a:xfrm>
          <a:prstGeom prst="line">
            <a:avLst/>
          </a:prstGeom>
          <a:ln w="6350" cap="flat" cmpd="sng" algn="ctr">
            <a:solidFill>
              <a:schemeClr val="accent3"/>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6" name="Picture 12" descr="How to make requests in python">
            <a:extLst>
              <a:ext uri="{FF2B5EF4-FFF2-40B4-BE49-F238E27FC236}">
                <a16:creationId xmlns:a16="http://schemas.microsoft.com/office/drawing/2014/main" id="{8A12AC1D-99E4-D3FF-78D1-C61E8FC66CE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78264" y="2109454"/>
            <a:ext cx="84225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8" descr="Selenium Overview | Selenium">
            <a:extLst>
              <a:ext uri="{FF2B5EF4-FFF2-40B4-BE49-F238E27FC236}">
                <a16:creationId xmlns:a16="http://schemas.microsoft.com/office/drawing/2014/main" id="{EFC4F112-E1F6-F3D1-2173-1B7C87262B0F}"/>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r="7773"/>
          <a:stretch>
            <a:fillRect/>
          </a:stretch>
        </p:blipFill>
        <p:spPr bwMode="auto">
          <a:xfrm>
            <a:off x="3901659" y="2059216"/>
            <a:ext cx="2369798" cy="540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0" descr="Appium Documentation - Appium Documentation">
            <a:extLst>
              <a:ext uri="{FF2B5EF4-FFF2-40B4-BE49-F238E27FC236}">
                <a16:creationId xmlns:a16="http://schemas.microsoft.com/office/drawing/2014/main" id="{ADB0652A-D2FC-88E5-0798-EE1DAD3360E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868667" y="2682179"/>
            <a:ext cx="2515001" cy="5400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Cucumber Logo PNG Transparent &amp; SVG Vector - Freebie Supply">
            <a:extLst>
              <a:ext uri="{FF2B5EF4-FFF2-40B4-BE49-F238E27FC236}">
                <a16:creationId xmlns:a16="http://schemas.microsoft.com/office/drawing/2014/main" id="{8F562055-F17E-E827-0E1A-8421E144469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891043" y="2316214"/>
            <a:ext cx="624667" cy="720000"/>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Knowledge Base | Comprehensive Guides on Legacy and Emerging Technologies">
            <a:extLst>
              <a:ext uri="{FF2B5EF4-FFF2-40B4-BE49-F238E27FC236}">
                <a16:creationId xmlns:a16="http://schemas.microsoft.com/office/drawing/2014/main" id="{93833311-6872-F012-DA7D-8B3EA53678E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643120" y="2106056"/>
            <a:ext cx="10800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Node.js Logo - LogoDix">
            <a:extLst>
              <a:ext uri="{FF2B5EF4-FFF2-40B4-BE49-F238E27FC236}">
                <a16:creationId xmlns:a16="http://schemas.microsoft.com/office/drawing/2014/main" id="{932086AB-7B7F-CE58-0B2D-DD08776BFE8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781444" y="5082184"/>
            <a:ext cx="1440000" cy="1440000"/>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Conector recto 24">
            <a:extLst>
              <a:ext uri="{FF2B5EF4-FFF2-40B4-BE49-F238E27FC236}">
                <a16:creationId xmlns:a16="http://schemas.microsoft.com/office/drawing/2014/main" id="{BB898DD3-A8AF-C82A-ECEE-1CC6EC6A5E3A}"/>
              </a:ext>
            </a:extLst>
          </p:cNvPr>
          <p:cNvCxnSpPr>
            <a:cxnSpLocks/>
          </p:cNvCxnSpPr>
          <p:nvPr/>
        </p:nvCxnSpPr>
        <p:spPr>
          <a:xfrm>
            <a:off x="550863" y="4311073"/>
            <a:ext cx="11090274" cy="0"/>
          </a:xfrm>
          <a:prstGeom prst="line">
            <a:avLst/>
          </a:prstGeom>
          <a:ln w="6350" cap="flat" cmpd="sng" algn="ctr">
            <a:solidFill>
              <a:schemeClr val="accent3"/>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2072" name="Picture 24" descr="Grafana Logo PNG vector in SVG, PDF, AI, CDR format">
            <a:extLst>
              <a:ext uri="{FF2B5EF4-FFF2-40B4-BE49-F238E27FC236}">
                <a16:creationId xmlns:a16="http://schemas.microsoft.com/office/drawing/2014/main" id="{B12BC7A1-8D64-00A3-4DC8-75CAEAAC8C36}"/>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11681" t="36439" r="11608" b="37353"/>
          <a:stretch>
            <a:fillRect/>
          </a:stretch>
        </p:blipFill>
        <p:spPr bwMode="auto">
          <a:xfrm>
            <a:off x="6029112" y="3525140"/>
            <a:ext cx="2105895" cy="540000"/>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descr="Dynatrace White Logo Transparent Png Stickpng - vrogue.co">
            <a:extLst>
              <a:ext uri="{FF2B5EF4-FFF2-40B4-BE49-F238E27FC236}">
                <a16:creationId xmlns:a16="http://schemas.microsoft.com/office/drawing/2014/main" id="{D0D33C72-9207-4CC0-C4F6-53533E036F9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401038" y="3640323"/>
            <a:ext cx="2040443"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Conector recto 26">
            <a:extLst>
              <a:ext uri="{FF2B5EF4-FFF2-40B4-BE49-F238E27FC236}">
                <a16:creationId xmlns:a16="http://schemas.microsoft.com/office/drawing/2014/main" id="{87E2A27B-1A65-9B65-EC1F-AECE7A42BF2E}"/>
              </a:ext>
            </a:extLst>
          </p:cNvPr>
          <p:cNvCxnSpPr>
            <a:cxnSpLocks/>
          </p:cNvCxnSpPr>
          <p:nvPr/>
        </p:nvCxnSpPr>
        <p:spPr>
          <a:xfrm>
            <a:off x="550863" y="5295577"/>
            <a:ext cx="11090274" cy="0"/>
          </a:xfrm>
          <a:prstGeom prst="line">
            <a:avLst/>
          </a:prstGeom>
          <a:ln w="6350" cap="flat" cmpd="sng" algn="ctr">
            <a:solidFill>
              <a:schemeClr val="accent3"/>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2078" name="Picture 30" descr="GitHub Copilot: Accelerating Code Development with AI Assistance ...">
            <a:extLst>
              <a:ext uri="{FF2B5EF4-FFF2-40B4-BE49-F238E27FC236}">
                <a16:creationId xmlns:a16="http://schemas.microsoft.com/office/drawing/2014/main" id="{6962F950-FC02-A7AC-F68F-FD5B814D3A9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844591" y="5235861"/>
            <a:ext cx="3428572" cy="1440000"/>
          </a:xfrm>
          <a:prstGeom prst="rect">
            <a:avLst/>
          </a:prstGeom>
          <a:noFill/>
          <a:extLst>
            <a:ext uri="{909E8E84-426E-40DD-AFC4-6F175D3DCCD1}">
              <a14:hiddenFill xmlns:a14="http://schemas.microsoft.com/office/drawing/2010/main">
                <a:solidFill>
                  <a:srgbClr val="FFFFFF"/>
                </a:solidFill>
              </a14:hiddenFill>
            </a:ext>
          </a:extLst>
        </p:spPr>
      </p:pic>
      <p:pic>
        <p:nvPicPr>
          <p:cNvPr id="2080" name="Picture 32" descr="Logo Visual Studio Code – Logos PNG">
            <a:extLst>
              <a:ext uri="{FF2B5EF4-FFF2-40B4-BE49-F238E27FC236}">
                <a16:creationId xmlns:a16="http://schemas.microsoft.com/office/drawing/2014/main" id="{3D7F951D-78BC-AA9B-6F51-88417794D82C}"/>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576322" y="2080112"/>
            <a:ext cx="1080000" cy="1080000"/>
          </a:xfrm>
          <a:prstGeom prst="rect">
            <a:avLst/>
          </a:prstGeom>
          <a:noFill/>
          <a:extLst>
            <a:ext uri="{909E8E84-426E-40DD-AFC4-6F175D3DCCD1}">
              <a14:hiddenFill xmlns:a14="http://schemas.microsoft.com/office/drawing/2010/main">
                <a:solidFill>
                  <a:srgbClr val="FFFFFF"/>
                </a:solidFill>
              </a14:hiddenFill>
            </a:ext>
          </a:extLst>
        </p:spPr>
      </p:pic>
      <p:sp>
        <p:nvSpPr>
          <p:cNvPr id="31" name="CuadroTexto 30">
            <a:extLst>
              <a:ext uri="{FF2B5EF4-FFF2-40B4-BE49-F238E27FC236}">
                <a16:creationId xmlns:a16="http://schemas.microsoft.com/office/drawing/2014/main" id="{BA038236-2316-5D50-430F-4A97D4A65595}"/>
              </a:ext>
            </a:extLst>
          </p:cNvPr>
          <p:cNvSpPr txBox="1"/>
          <p:nvPr/>
        </p:nvSpPr>
        <p:spPr>
          <a:xfrm>
            <a:off x="509234" y="1089216"/>
            <a:ext cx="1920000" cy="760470"/>
          </a:xfrm>
          <a:prstGeom prst="rect">
            <a:avLst/>
          </a:prstGeom>
        </p:spPr>
        <p:txBody>
          <a:bodyPr vert="horz" wrap="none" lIns="0" tIns="180000" rIns="0" bIns="0" rtlCol="0" anchor="ctr">
            <a:noAutofit/>
          </a:bodyPr>
          <a:lstStyle/>
          <a:p>
            <a:pPr algn="ctr">
              <a:lnSpc>
                <a:spcPct val="150000"/>
              </a:lnSpc>
              <a:spcBef>
                <a:spcPts val="1200"/>
              </a:spcBef>
              <a:spcAft>
                <a:spcPts val="1200"/>
              </a:spcAft>
              <a:buClr>
                <a:schemeClr val="accent4"/>
              </a:buClr>
            </a:pPr>
            <a:r>
              <a:rPr lang="es-MX" sz="2000" b="1"/>
              <a:t>Gestión</a:t>
            </a:r>
            <a:endParaRPr lang="es-PE" sz="2000" b="1"/>
          </a:p>
        </p:txBody>
      </p:sp>
      <p:sp>
        <p:nvSpPr>
          <p:cNvPr id="32" name="CuadroTexto 31">
            <a:extLst>
              <a:ext uri="{FF2B5EF4-FFF2-40B4-BE49-F238E27FC236}">
                <a16:creationId xmlns:a16="http://schemas.microsoft.com/office/drawing/2014/main" id="{2BB82D9E-0585-0054-3B21-3A45F9082AEA}"/>
              </a:ext>
            </a:extLst>
          </p:cNvPr>
          <p:cNvSpPr txBox="1"/>
          <p:nvPr/>
        </p:nvSpPr>
        <p:spPr>
          <a:xfrm>
            <a:off x="532544" y="2102598"/>
            <a:ext cx="1920000" cy="760470"/>
          </a:xfrm>
          <a:prstGeom prst="rect">
            <a:avLst/>
          </a:prstGeom>
        </p:spPr>
        <p:txBody>
          <a:bodyPr vert="horz" wrap="none" lIns="0" tIns="180000" rIns="0" bIns="0" rtlCol="0" anchor="ctr">
            <a:noAutofit/>
          </a:bodyPr>
          <a:lstStyle/>
          <a:p>
            <a:pPr algn="ctr">
              <a:lnSpc>
                <a:spcPct val="150000"/>
              </a:lnSpc>
              <a:spcBef>
                <a:spcPts val="1200"/>
              </a:spcBef>
              <a:spcAft>
                <a:spcPts val="1200"/>
              </a:spcAft>
              <a:buClr>
                <a:schemeClr val="accent4"/>
              </a:buClr>
            </a:pPr>
            <a:r>
              <a:rPr lang="es-MX" sz="2000" b="1"/>
              <a:t>Automatización</a:t>
            </a:r>
            <a:endParaRPr lang="es-PE" sz="2000" b="1"/>
          </a:p>
        </p:txBody>
      </p:sp>
      <p:sp>
        <p:nvSpPr>
          <p:cNvPr id="33" name="CuadroTexto 32">
            <a:extLst>
              <a:ext uri="{FF2B5EF4-FFF2-40B4-BE49-F238E27FC236}">
                <a16:creationId xmlns:a16="http://schemas.microsoft.com/office/drawing/2014/main" id="{511BE293-9EAA-2C1A-F85F-C42BD38F63DB}"/>
              </a:ext>
            </a:extLst>
          </p:cNvPr>
          <p:cNvSpPr txBox="1"/>
          <p:nvPr/>
        </p:nvSpPr>
        <p:spPr>
          <a:xfrm>
            <a:off x="548878" y="3277600"/>
            <a:ext cx="1920000" cy="760470"/>
          </a:xfrm>
          <a:prstGeom prst="rect">
            <a:avLst/>
          </a:prstGeom>
        </p:spPr>
        <p:txBody>
          <a:bodyPr vert="horz" wrap="none" lIns="0" tIns="180000" rIns="0" bIns="0" rtlCol="0" anchor="ctr">
            <a:noAutofit/>
          </a:bodyPr>
          <a:lstStyle/>
          <a:p>
            <a:pPr algn="ctr">
              <a:lnSpc>
                <a:spcPct val="150000"/>
              </a:lnSpc>
              <a:spcBef>
                <a:spcPts val="1200"/>
              </a:spcBef>
              <a:spcAft>
                <a:spcPts val="1200"/>
              </a:spcAft>
              <a:buClr>
                <a:schemeClr val="accent4"/>
              </a:buClr>
            </a:pPr>
            <a:r>
              <a:rPr lang="es-MX" sz="2000" b="1"/>
              <a:t>Performance</a:t>
            </a:r>
            <a:endParaRPr lang="es-PE" sz="2000" b="1"/>
          </a:p>
        </p:txBody>
      </p:sp>
      <p:sp>
        <p:nvSpPr>
          <p:cNvPr id="34" name="CuadroTexto 33">
            <a:extLst>
              <a:ext uri="{FF2B5EF4-FFF2-40B4-BE49-F238E27FC236}">
                <a16:creationId xmlns:a16="http://schemas.microsoft.com/office/drawing/2014/main" id="{0189E7D5-F0B6-AA59-246F-1FC2984ED4CB}"/>
              </a:ext>
            </a:extLst>
          </p:cNvPr>
          <p:cNvSpPr txBox="1"/>
          <p:nvPr/>
        </p:nvSpPr>
        <p:spPr>
          <a:xfrm>
            <a:off x="509234" y="4274298"/>
            <a:ext cx="1920000" cy="760470"/>
          </a:xfrm>
          <a:prstGeom prst="rect">
            <a:avLst/>
          </a:prstGeom>
        </p:spPr>
        <p:txBody>
          <a:bodyPr vert="horz" wrap="none" lIns="0" tIns="180000" rIns="0" bIns="0" rtlCol="0" anchor="ctr">
            <a:noAutofit/>
          </a:bodyPr>
          <a:lstStyle/>
          <a:p>
            <a:pPr algn="ctr">
              <a:lnSpc>
                <a:spcPct val="150000"/>
              </a:lnSpc>
              <a:spcBef>
                <a:spcPts val="1200"/>
              </a:spcBef>
              <a:spcAft>
                <a:spcPts val="1200"/>
              </a:spcAft>
              <a:buClr>
                <a:schemeClr val="accent4"/>
              </a:buClr>
            </a:pPr>
            <a:r>
              <a:rPr lang="es-MX" sz="2000" b="1"/>
              <a:t>IDC</a:t>
            </a:r>
            <a:endParaRPr lang="es-PE" sz="2000" b="1"/>
          </a:p>
        </p:txBody>
      </p:sp>
      <p:sp>
        <p:nvSpPr>
          <p:cNvPr id="35" name="CuadroTexto 34">
            <a:extLst>
              <a:ext uri="{FF2B5EF4-FFF2-40B4-BE49-F238E27FC236}">
                <a16:creationId xmlns:a16="http://schemas.microsoft.com/office/drawing/2014/main" id="{529A774D-7FEE-4EB2-ED7C-D96092193B90}"/>
              </a:ext>
            </a:extLst>
          </p:cNvPr>
          <p:cNvSpPr txBox="1"/>
          <p:nvPr/>
        </p:nvSpPr>
        <p:spPr>
          <a:xfrm>
            <a:off x="565217" y="5277677"/>
            <a:ext cx="1920000" cy="760470"/>
          </a:xfrm>
          <a:prstGeom prst="rect">
            <a:avLst/>
          </a:prstGeom>
        </p:spPr>
        <p:txBody>
          <a:bodyPr vert="horz" wrap="none" lIns="0" tIns="180000" rIns="0" bIns="0" rtlCol="0" anchor="ctr">
            <a:noAutofit/>
          </a:bodyPr>
          <a:lstStyle/>
          <a:p>
            <a:pPr algn="ctr">
              <a:lnSpc>
                <a:spcPct val="150000"/>
              </a:lnSpc>
              <a:spcBef>
                <a:spcPts val="1200"/>
              </a:spcBef>
              <a:spcAft>
                <a:spcPts val="1200"/>
              </a:spcAft>
              <a:buClr>
                <a:schemeClr val="accent4"/>
              </a:buClr>
            </a:pPr>
            <a:r>
              <a:rPr lang="es-MX" sz="2000" b="1"/>
              <a:t>Complementarias</a:t>
            </a:r>
            <a:endParaRPr lang="es-PE" sz="2000" b="1"/>
          </a:p>
        </p:txBody>
      </p:sp>
      <p:pic>
        <p:nvPicPr>
          <p:cNvPr id="2086" name="Picture 38" descr="Sauce Labs Logo PNG vector in SVG, PDF, AI, CDR format">
            <a:extLst>
              <a:ext uri="{FF2B5EF4-FFF2-40B4-BE49-F238E27FC236}">
                <a16:creationId xmlns:a16="http://schemas.microsoft.com/office/drawing/2014/main" id="{7F02DE49-E989-6F10-9FBA-B0906B8BC4DF}"/>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12056" t="41146" r="12162" b="42026"/>
          <a:stretch>
            <a:fillRect/>
          </a:stretch>
        </p:blipFill>
        <p:spPr bwMode="auto">
          <a:xfrm>
            <a:off x="6355710" y="5541291"/>
            <a:ext cx="2807849" cy="468000"/>
          </a:xfrm>
          <a:prstGeom prst="rect">
            <a:avLst/>
          </a:prstGeom>
          <a:noFill/>
          <a:extLst>
            <a:ext uri="{909E8E84-426E-40DD-AFC4-6F175D3DCCD1}">
              <a14:hiddenFill xmlns:a14="http://schemas.microsoft.com/office/drawing/2010/main">
                <a:solidFill>
                  <a:srgbClr val="FFFFFF"/>
                </a:solidFill>
              </a14:hiddenFill>
            </a:ext>
          </a:extLst>
        </p:spPr>
      </p:pic>
      <p:sp>
        <p:nvSpPr>
          <p:cNvPr id="5" name="CuadroTexto 4">
            <a:extLst>
              <a:ext uri="{FF2B5EF4-FFF2-40B4-BE49-F238E27FC236}">
                <a16:creationId xmlns:a16="http://schemas.microsoft.com/office/drawing/2014/main" id="{D8B57622-0E79-1BC4-C0F4-302FE00A41B5}"/>
              </a:ext>
            </a:extLst>
          </p:cNvPr>
          <p:cNvSpPr txBox="1"/>
          <p:nvPr/>
        </p:nvSpPr>
        <p:spPr>
          <a:xfrm>
            <a:off x="7606066" y="770549"/>
            <a:ext cx="5369680" cy="340505"/>
          </a:xfrm>
          <a:prstGeom prst="rect">
            <a:avLst/>
          </a:prstGeom>
        </p:spPr>
        <p:txBody>
          <a:bodyPr vert="horz" wrap="square" lIns="0" tIns="180000" rIns="0" bIns="0" rtlCol="0" anchor="ctr">
            <a:noAutofit/>
          </a:bodyPr>
          <a:lstStyle/>
          <a:p>
            <a:pPr algn="just">
              <a:lnSpc>
                <a:spcPct val="150000"/>
              </a:lnSpc>
              <a:spcBef>
                <a:spcPts val="1200"/>
              </a:spcBef>
              <a:spcAft>
                <a:spcPts val="1200"/>
              </a:spcAft>
              <a:buClr>
                <a:schemeClr val="accent4"/>
              </a:buClr>
            </a:pPr>
            <a:r>
              <a:rPr lang="es-MX" sz="1600" i="1"/>
              <a:t>*Revisado y verificado con Gluon y Ciberseguridad</a:t>
            </a:r>
            <a:endParaRPr lang="es-PE" sz="1600" i="1"/>
          </a:p>
        </p:txBody>
      </p:sp>
      <p:sp>
        <p:nvSpPr>
          <p:cNvPr id="10" name="Título 9">
            <a:extLst>
              <a:ext uri="{FF2B5EF4-FFF2-40B4-BE49-F238E27FC236}">
                <a16:creationId xmlns:a16="http://schemas.microsoft.com/office/drawing/2014/main" id="{6640AF97-9CED-B58C-1DD8-2287D944E884}"/>
              </a:ext>
            </a:extLst>
          </p:cNvPr>
          <p:cNvSpPr>
            <a:spLocks noGrp="1"/>
          </p:cNvSpPr>
          <p:nvPr>
            <p:ph type="title"/>
          </p:nvPr>
        </p:nvSpPr>
        <p:spPr/>
        <p:txBody>
          <a:bodyPr/>
          <a:lstStyle/>
          <a:p>
            <a:r>
              <a:rPr lang="es-MX"/>
              <a:t> </a:t>
            </a:r>
            <a:endParaRPr lang="es-PE"/>
          </a:p>
        </p:txBody>
      </p:sp>
      <p:sp>
        <p:nvSpPr>
          <p:cNvPr id="13" name="Title 5">
            <a:extLst>
              <a:ext uri="{FF2B5EF4-FFF2-40B4-BE49-F238E27FC236}">
                <a16:creationId xmlns:a16="http://schemas.microsoft.com/office/drawing/2014/main" id="{749B1C65-6278-1271-CDA1-46B34E4567B0}"/>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a:solidFill>
                  <a:srgbClr val="203864"/>
                </a:solidFill>
                <a:latin typeface="Santander Headline" panose="020B0504020201020104" pitchFamily="34" charset="0"/>
              </a:rPr>
              <a:t>Herramientas</a:t>
            </a:r>
            <a:endParaRPr lang="es-MX">
              <a:solidFill>
                <a:srgbClr val="203864"/>
              </a:solidFill>
            </a:endParaRPr>
          </a:p>
        </p:txBody>
      </p:sp>
    </p:spTree>
    <p:extLst>
      <p:ext uri="{BB962C8B-B14F-4D97-AF65-F5344CB8AC3E}">
        <p14:creationId xmlns:p14="http://schemas.microsoft.com/office/powerpoint/2010/main" val="39008183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5F4F31-1F07-3665-DFA6-811B9A417191}"/>
            </a:ext>
          </a:extLst>
        </p:cNvPr>
        <p:cNvGrpSpPr/>
        <p:nvPr/>
      </p:nvGrpSpPr>
      <p:grpSpPr>
        <a:xfrm>
          <a:off x="0" y="0"/>
          <a:ext cx="0" cy="0"/>
          <a:chOff x="0" y="0"/>
          <a:chExt cx="0" cy="0"/>
        </a:xfrm>
      </p:grpSpPr>
      <p:sp>
        <p:nvSpPr>
          <p:cNvPr id="4" name="Rectángulo: esquinas redondeadas 3">
            <a:extLst>
              <a:ext uri="{FF2B5EF4-FFF2-40B4-BE49-F238E27FC236}">
                <a16:creationId xmlns:a16="http://schemas.microsoft.com/office/drawing/2014/main" id="{8E56C8D3-1A81-16D9-4F05-9586BD40E04D}"/>
              </a:ext>
            </a:extLst>
          </p:cNvPr>
          <p:cNvSpPr/>
          <p:nvPr/>
        </p:nvSpPr>
        <p:spPr>
          <a:xfrm>
            <a:off x="395414" y="1097280"/>
            <a:ext cx="3655378" cy="2331720"/>
          </a:xfrm>
          <a:prstGeom prst="roundRect">
            <a:avLst/>
          </a:prstGeom>
          <a:solidFill>
            <a:schemeClr val="bg2"/>
          </a:solidFill>
        </p:spPr>
        <p:style>
          <a:lnRef idx="0">
            <a:schemeClr val="accent5"/>
          </a:lnRef>
          <a:fillRef idx="3">
            <a:schemeClr val="accent5"/>
          </a:fillRef>
          <a:effectRef idx="3">
            <a:schemeClr val="accent5"/>
          </a:effectRef>
          <a:fontRef idx="minor">
            <a:schemeClr val="lt1"/>
          </a:fontRef>
        </p:style>
        <p:txBody>
          <a:bodyPr rtlCol="0" anchor="ctr"/>
          <a:lstStyle/>
          <a:p>
            <a:pPr algn="ctr"/>
            <a:r>
              <a:rPr lang="es-MX" b="1"/>
              <a:t>Planificación</a:t>
            </a:r>
          </a:p>
          <a:p>
            <a:pPr algn="ctr"/>
            <a:endParaRPr lang="es-MX" b="1"/>
          </a:p>
          <a:p>
            <a:pPr marL="285750" indent="-285750">
              <a:buFont typeface="Arial" panose="020B0604020202020204" pitchFamily="34" charset="0"/>
              <a:buChar char="•"/>
            </a:pPr>
            <a:r>
              <a:rPr lang="es-MX" sz="1100"/>
              <a:t>Definir el alcance y participación del QA.</a:t>
            </a:r>
          </a:p>
          <a:p>
            <a:pPr marL="285750" indent="-285750">
              <a:buFont typeface="Arial" panose="020B0604020202020204" pitchFamily="34" charset="0"/>
              <a:buChar char="•"/>
            </a:pPr>
            <a:r>
              <a:rPr lang="es-MX" sz="1100"/>
              <a:t>Identificar los objetivos de calidad</a:t>
            </a:r>
            <a:r>
              <a:rPr lang="es-PE" sz="1100"/>
              <a:t>.</a:t>
            </a:r>
          </a:p>
          <a:p>
            <a:pPr marL="285750" indent="-285750">
              <a:buFont typeface="Arial" panose="020B0604020202020204" pitchFamily="34" charset="0"/>
              <a:buChar char="•"/>
            </a:pPr>
            <a:r>
              <a:rPr lang="es-PE" sz="1100"/>
              <a:t>Revisar y analizar los requisitos de calidad.</a:t>
            </a:r>
          </a:p>
          <a:p>
            <a:pPr marL="285750" indent="-285750">
              <a:buFont typeface="Arial" panose="020B0604020202020204" pitchFamily="34" charset="0"/>
              <a:buChar char="•"/>
            </a:pPr>
            <a:r>
              <a:rPr lang="es-PE" sz="1100"/>
              <a:t>Estimar recursos: tiempo, personal, etc.</a:t>
            </a:r>
          </a:p>
          <a:p>
            <a:pPr marL="285750" indent="-285750">
              <a:buFont typeface="Arial" panose="020B0604020202020204" pitchFamily="34" charset="0"/>
              <a:buChar char="•"/>
            </a:pPr>
            <a:r>
              <a:rPr lang="es-PE" sz="1100"/>
              <a:t>Definir estrategia y tipos de pruebas a ejecutar.</a:t>
            </a:r>
          </a:p>
          <a:p>
            <a:pPr marL="285750" indent="-285750">
              <a:buFont typeface="Arial" panose="020B0604020202020204" pitchFamily="34" charset="0"/>
              <a:buChar char="•"/>
            </a:pPr>
            <a:r>
              <a:rPr lang="es-PE" sz="1100"/>
              <a:t>Definir y documentar los entregables de calidad.</a:t>
            </a:r>
          </a:p>
          <a:p>
            <a:pPr marL="285750" indent="-285750">
              <a:buFont typeface="Arial" panose="020B0604020202020204" pitchFamily="34" charset="0"/>
              <a:buChar char="•"/>
            </a:pPr>
            <a:r>
              <a:rPr lang="es-PE" sz="1100"/>
              <a:t>Preparar cronograma y calendario de actividades QA.</a:t>
            </a:r>
            <a:endParaRPr lang="es-MX" sz="1100"/>
          </a:p>
        </p:txBody>
      </p:sp>
      <p:sp>
        <p:nvSpPr>
          <p:cNvPr id="7" name="Rectángulo: esquinas redondeadas 6">
            <a:extLst>
              <a:ext uri="{FF2B5EF4-FFF2-40B4-BE49-F238E27FC236}">
                <a16:creationId xmlns:a16="http://schemas.microsoft.com/office/drawing/2014/main" id="{81BD9E03-8B18-9B12-2D70-12443649F792}"/>
              </a:ext>
            </a:extLst>
          </p:cNvPr>
          <p:cNvSpPr/>
          <p:nvPr/>
        </p:nvSpPr>
        <p:spPr>
          <a:xfrm>
            <a:off x="395414" y="3647588"/>
            <a:ext cx="3655378" cy="2331720"/>
          </a:xfrm>
          <a:prstGeom prst="roundRect">
            <a:avLst/>
          </a:prstGeom>
          <a:solidFill>
            <a:srgbClr val="203864"/>
          </a:solidFill>
        </p:spPr>
        <p:style>
          <a:lnRef idx="0">
            <a:schemeClr val="accent5"/>
          </a:lnRef>
          <a:fillRef idx="3">
            <a:schemeClr val="accent5"/>
          </a:fillRef>
          <a:effectRef idx="3">
            <a:schemeClr val="accent5"/>
          </a:effectRef>
          <a:fontRef idx="minor">
            <a:schemeClr val="lt1"/>
          </a:fontRef>
        </p:style>
        <p:txBody>
          <a:bodyPr rtlCol="0" anchor="ctr"/>
          <a:lstStyle/>
          <a:p>
            <a:pPr algn="ctr"/>
            <a:r>
              <a:rPr lang="es-MX" b="1"/>
              <a:t>Preparación</a:t>
            </a:r>
          </a:p>
          <a:p>
            <a:pPr algn="ctr"/>
            <a:endParaRPr lang="es-MX"/>
          </a:p>
          <a:p>
            <a:pPr marL="285750" indent="-285750">
              <a:buFont typeface="Arial" panose="020B0604020202020204" pitchFamily="34" charset="0"/>
              <a:buChar char="•"/>
            </a:pPr>
            <a:r>
              <a:rPr lang="es-MX" sz="1100"/>
              <a:t>Configurar ambientes de pruebas.</a:t>
            </a:r>
          </a:p>
          <a:p>
            <a:pPr marL="285750" indent="-285750">
              <a:buFont typeface="Arial" panose="020B0604020202020204" pitchFamily="34" charset="0"/>
              <a:buChar char="•"/>
            </a:pPr>
            <a:r>
              <a:rPr lang="es-MX" sz="1100"/>
              <a:t>Generación de data de pruebas.</a:t>
            </a:r>
          </a:p>
          <a:p>
            <a:pPr marL="285750" indent="-285750">
              <a:buFont typeface="Arial" panose="020B0604020202020204" pitchFamily="34" charset="0"/>
              <a:buChar char="•"/>
            </a:pPr>
            <a:r>
              <a:rPr lang="es-MX" sz="1100"/>
              <a:t>Verificación de disponibilidad de ambientes QA.</a:t>
            </a:r>
          </a:p>
          <a:p>
            <a:pPr marL="285750" indent="-285750">
              <a:buFont typeface="Arial" panose="020B0604020202020204" pitchFamily="34" charset="0"/>
              <a:buChar char="•"/>
            </a:pPr>
            <a:r>
              <a:rPr lang="es-MX" sz="1100"/>
              <a:t>Instalación de herramientas y dependencias.</a:t>
            </a:r>
          </a:p>
          <a:p>
            <a:pPr marL="285750" indent="-285750">
              <a:buFont typeface="Arial" panose="020B0604020202020204" pitchFamily="34" charset="0"/>
              <a:buChar char="•"/>
            </a:pPr>
            <a:r>
              <a:rPr lang="es-MX" sz="1100"/>
              <a:t>Preparación de frameworks de automatización.</a:t>
            </a:r>
          </a:p>
          <a:p>
            <a:pPr marL="285750" indent="-285750">
              <a:buFont typeface="Arial" panose="020B0604020202020204" pitchFamily="34" charset="0"/>
              <a:buChar char="•"/>
            </a:pPr>
            <a:r>
              <a:rPr lang="es-MX" sz="1100"/>
              <a:t>Comunicación sobre la disponibilidad de ambientes.</a:t>
            </a:r>
            <a:endParaRPr lang="es-PE" sz="1100"/>
          </a:p>
        </p:txBody>
      </p:sp>
      <p:sp>
        <p:nvSpPr>
          <p:cNvPr id="8" name="Rectángulo: esquinas redondeadas 7">
            <a:extLst>
              <a:ext uri="{FF2B5EF4-FFF2-40B4-BE49-F238E27FC236}">
                <a16:creationId xmlns:a16="http://schemas.microsoft.com/office/drawing/2014/main" id="{4F7323D9-65B3-A57A-94BB-05FB87BF364D}"/>
              </a:ext>
            </a:extLst>
          </p:cNvPr>
          <p:cNvSpPr/>
          <p:nvPr/>
        </p:nvSpPr>
        <p:spPr>
          <a:xfrm>
            <a:off x="4177982" y="1097280"/>
            <a:ext cx="3655378" cy="2331720"/>
          </a:xfrm>
          <a:prstGeom prst="roundRect">
            <a:avLst/>
          </a:prstGeom>
          <a:solidFill>
            <a:srgbClr val="203864"/>
          </a:solidFill>
        </p:spPr>
        <p:style>
          <a:lnRef idx="0">
            <a:schemeClr val="accent5"/>
          </a:lnRef>
          <a:fillRef idx="3">
            <a:schemeClr val="accent5"/>
          </a:fillRef>
          <a:effectRef idx="3">
            <a:schemeClr val="accent5"/>
          </a:effectRef>
          <a:fontRef idx="minor">
            <a:schemeClr val="lt1"/>
          </a:fontRef>
        </p:style>
        <p:txBody>
          <a:bodyPr rtlCol="0" anchor="ctr"/>
          <a:lstStyle/>
          <a:p>
            <a:pPr algn="ctr"/>
            <a:r>
              <a:rPr lang="es-MX" b="1"/>
              <a:t>Análisis</a:t>
            </a:r>
            <a:br>
              <a:rPr lang="es-MX" b="1"/>
            </a:br>
            <a:endParaRPr lang="es-MX"/>
          </a:p>
          <a:p>
            <a:pPr marL="285750" indent="-285750">
              <a:buFont typeface="Arial" panose="020B0604020202020204" pitchFamily="34" charset="0"/>
              <a:buChar char="•"/>
            </a:pPr>
            <a:r>
              <a:rPr lang="es-MX" sz="1100"/>
              <a:t>Revisión de los requisitos funcionales y técnicos.</a:t>
            </a:r>
          </a:p>
          <a:p>
            <a:pPr marL="285750" indent="-285750">
              <a:buFont typeface="Arial" panose="020B0604020202020204" pitchFamily="34" charset="0"/>
              <a:buChar char="•"/>
            </a:pPr>
            <a:r>
              <a:rPr lang="es-MX" sz="1100"/>
              <a:t>Identificar criterios de aceptación de calidad.</a:t>
            </a:r>
          </a:p>
          <a:p>
            <a:pPr marL="285750" indent="-285750">
              <a:buFont typeface="Arial" panose="020B0604020202020204" pitchFamily="34" charset="0"/>
              <a:buChar char="•"/>
            </a:pPr>
            <a:r>
              <a:rPr lang="es-MX" sz="1100"/>
              <a:t>Análisis de trazabilidad entre requisitos, desarrollo y pruebas.</a:t>
            </a:r>
          </a:p>
          <a:p>
            <a:pPr marL="285750" indent="-285750">
              <a:buFont typeface="Arial" panose="020B0604020202020204" pitchFamily="34" charset="0"/>
              <a:buChar char="•"/>
            </a:pPr>
            <a:r>
              <a:rPr lang="es-MX" sz="1100"/>
              <a:t>Identificación de riesgos de calidad.</a:t>
            </a:r>
          </a:p>
          <a:p>
            <a:pPr marL="285750" indent="-285750">
              <a:buFont typeface="Arial" panose="020B0604020202020204" pitchFamily="34" charset="0"/>
              <a:buChar char="•"/>
            </a:pPr>
            <a:r>
              <a:rPr lang="es-MX" sz="1100"/>
              <a:t>Elaboración de Matriz de Trazabilidad.</a:t>
            </a:r>
          </a:p>
          <a:p>
            <a:pPr marL="285750" indent="-285750">
              <a:buFont typeface="Arial" panose="020B0604020202020204" pitchFamily="34" charset="0"/>
              <a:buChar char="•"/>
            </a:pPr>
            <a:r>
              <a:rPr lang="es-MX" sz="1100"/>
              <a:t>Estimación de esfuerzo y definición de entregables.</a:t>
            </a:r>
          </a:p>
          <a:p>
            <a:pPr marL="285750" indent="-285750" algn="ctr">
              <a:buFont typeface="Arial" panose="020B0604020202020204" pitchFamily="34" charset="0"/>
              <a:buChar char="•"/>
            </a:pPr>
            <a:endParaRPr lang="es-PE" sz="1100"/>
          </a:p>
        </p:txBody>
      </p:sp>
      <p:sp>
        <p:nvSpPr>
          <p:cNvPr id="9" name="Rectángulo: esquinas redondeadas 8">
            <a:extLst>
              <a:ext uri="{FF2B5EF4-FFF2-40B4-BE49-F238E27FC236}">
                <a16:creationId xmlns:a16="http://schemas.microsoft.com/office/drawing/2014/main" id="{6573FC7C-E155-5258-5C29-9F0BB9C2D1E2}"/>
              </a:ext>
            </a:extLst>
          </p:cNvPr>
          <p:cNvSpPr/>
          <p:nvPr/>
        </p:nvSpPr>
        <p:spPr>
          <a:xfrm>
            <a:off x="4177982" y="3647588"/>
            <a:ext cx="3655378" cy="2331720"/>
          </a:xfrm>
          <a:prstGeom prst="roundRect">
            <a:avLst/>
          </a:prstGeom>
          <a:solidFill>
            <a:srgbClr val="00B050"/>
          </a:solidFill>
        </p:spPr>
        <p:style>
          <a:lnRef idx="0">
            <a:schemeClr val="accent5"/>
          </a:lnRef>
          <a:fillRef idx="3">
            <a:schemeClr val="accent5"/>
          </a:fillRef>
          <a:effectRef idx="3">
            <a:schemeClr val="accent5"/>
          </a:effectRef>
          <a:fontRef idx="minor">
            <a:schemeClr val="lt1"/>
          </a:fontRef>
        </p:style>
        <p:txBody>
          <a:bodyPr rtlCol="0" anchor="ctr"/>
          <a:lstStyle/>
          <a:p>
            <a:pPr algn="ctr"/>
            <a:r>
              <a:rPr lang="es-MX" b="1"/>
              <a:t>Pruebas QA</a:t>
            </a:r>
          </a:p>
          <a:p>
            <a:pPr algn="ctr"/>
            <a:endParaRPr lang="es-MX"/>
          </a:p>
          <a:p>
            <a:pPr marL="285750" indent="-285750">
              <a:buFont typeface="Arial" panose="020B0604020202020204" pitchFamily="34" charset="0"/>
              <a:buChar char="•"/>
            </a:pPr>
            <a:r>
              <a:rPr lang="es-PE" sz="1100"/>
              <a:t>Recepción de entregables listos para pruebas.</a:t>
            </a:r>
          </a:p>
          <a:p>
            <a:pPr marL="285750" indent="-285750">
              <a:buFont typeface="Arial" panose="020B0604020202020204" pitchFamily="34" charset="0"/>
              <a:buChar char="•"/>
            </a:pPr>
            <a:r>
              <a:rPr lang="es-PE" sz="1100"/>
              <a:t>Ejecución de casos y escenarios de prueba manuales y automatizados.</a:t>
            </a:r>
          </a:p>
          <a:p>
            <a:pPr marL="285750" indent="-285750">
              <a:buFont typeface="Arial" panose="020B0604020202020204" pitchFamily="34" charset="0"/>
              <a:buChar char="•"/>
            </a:pPr>
            <a:r>
              <a:rPr lang="es-PE" sz="1100"/>
              <a:t>Registro de resultados y evidencias de ejecución.</a:t>
            </a:r>
          </a:p>
          <a:p>
            <a:pPr marL="285750" indent="-285750">
              <a:buFont typeface="Arial" panose="020B0604020202020204" pitchFamily="34" charset="0"/>
              <a:buChar char="•"/>
            </a:pPr>
            <a:r>
              <a:rPr lang="es-PE" sz="1100"/>
              <a:t>Gestión de Defectos y reportarlos.</a:t>
            </a:r>
          </a:p>
          <a:p>
            <a:pPr marL="285750" indent="-285750">
              <a:buFont typeface="Arial" panose="020B0604020202020204" pitchFamily="34" charset="0"/>
              <a:buChar char="•"/>
            </a:pPr>
            <a:r>
              <a:rPr lang="es-PE" sz="1100"/>
              <a:t>Seguimiento de defectos y retesting (Ciclos de Prueba).</a:t>
            </a:r>
          </a:p>
          <a:p>
            <a:pPr marL="285750" indent="-285750">
              <a:buFont typeface="Arial" panose="020B0604020202020204" pitchFamily="34" charset="0"/>
              <a:buChar char="•"/>
            </a:pPr>
            <a:r>
              <a:rPr lang="es-PE" sz="1100"/>
              <a:t>Análisis de resultados y elaboración de informe.</a:t>
            </a:r>
          </a:p>
        </p:txBody>
      </p:sp>
      <p:sp>
        <p:nvSpPr>
          <p:cNvPr id="10" name="Rectángulo: esquinas redondeadas 9">
            <a:extLst>
              <a:ext uri="{FF2B5EF4-FFF2-40B4-BE49-F238E27FC236}">
                <a16:creationId xmlns:a16="http://schemas.microsoft.com/office/drawing/2014/main" id="{99FA31B3-972F-E671-3DFE-7B2A122E3FFE}"/>
              </a:ext>
            </a:extLst>
          </p:cNvPr>
          <p:cNvSpPr/>
          <p:nvPr/>
        </p:nvSpPr>
        <p:spPr>
          <a:xfrm>
            <a:off x="7960550" y="1097280"/>
            <a:ext cx="3655378" cy="2331720"/>
          </a:xfrm>
          <a:prstGeom prst="roundRect">
            <a:avLst/>
          </a:prstGeom>
          <a:solidFill>
            <a:srgbClr val="203864"/>
          </a:solidFill>
        </p:spPr>
        <p:style>
          <a:lnRef idx="0">
            <a:schemeClr val="accent5"/>
          </a:lnRef>
          <a:fillRef idx="3">
            <a:schemeClr val="accent5"/>
          </a:fillRef>
          <a:effectRef idx="3">
            <a:schemeClr val="accent5"/>
          </a:effectRef>
          <a:fontRef idx="minor">
            <a:schemeClr val="lt1"/>
          </a:fontRef>
        </p:style>
        <p:txBody>
          <a:bodyPr rtlCol="0" anchor="ctr"/>
          <a:lstStyle/>
          <a:p>
            <a:pPr algn="ctr"/>
            <a:r>
              <a:rPr lang="es-MX" b="1"/>
              <a:t>Diseño</a:t>
            </a:r>
            <a:br>
              <a:rPr lang="es-MX" b="1"/>
            </a:br>
            <a:endParaRPr lang="es-MX"/>
          </a:p>
          <a:p>
            <a:pPr marL="285750" indent="-285750">
              <a:buFont typeface="Arial" panose="020B0604020202020204" pitchFamily="34" charset="0"/>
              <a:buChar char="•"/>
            </a:pPr>
            <a:r>
              <a:rPr lang="es-MX" sz="1100"/>
              <a:t>Revisión del diseño funcional y técnico del sistema.</a:t>
            </a:r>
          </a:p>
          <a:p>
            <a:pPr marL="285750" indent="-285750">
              <a:buFont typeface="Arial" panose="020B0604020202020204" pitchFamily="34" charset="0"/>
              <a:buChar char="•"/>
            </a:pPr>
            <a:r>
              <a:rPr lang="es-MX" sz="1100"/>
              <a:t>Diseño de casos y escenarios de prueba (funcional, integración, seguridad, performance, etc.).</a:t>
            </a:r>
          </a:p>
          <a:p>
            <a:pPr marL="285750" indent="-285750">
              <a:buFont typeface="Arial" panose="020B0604020202020204" pitchFamily="34" charset="0"/>
              <a:buChar char="•"/>
            </a:pPr>
            <a:r>
              <a:rPr lang="es-MX" sz="1100"/>
              <a:t>Definir datos, precondiciones y ambientes.</a:t>
            </a:r>
          </a:p>
          <a:p>
            <a:pPr marL="285750" indent="-285750">
              <a:buFont typeface="Arial" panose="020B0604020202020204" pitchFamily="34" charset="0"/>
              <a:buChar char="•"/>
            </a:pPr>
            <a:r>
              <a:rPr lang="es-MX" sz="1100"/>
              <a:t>Documentación de los casos de prueba y escenarios.</a:t>
            </a:r>
          </a:p>
          <a:p>
            <a:pPr marL="285750" indent="-285750">
              <a:buFont typeface="Arial" panose="020B0604020202020204" pitchFamily="34" charset="0"/>
              <a:buChar char="•"/>
            </a:pPr>
            <a:r>
              <a:rPr lang="es-MX" sz="1100"/>
              <a:t>Validación del diseño de pruebas y comunicación al equipo.</a:t>
            </a:r>
            <a:endParaRPr lang="es-PE" sz="1100"/>
          </a:p>
          <a:p>
            <a:pPr marL="285750" indent="-285750">
              <a:buFont typeface="Arial" panose="020B0604020202020204" pitchFamily="34" charset="0"/>
              <a:buChar char="•"/>
            </a:pPr>
            <a:endParaRPr lang="es-PE" sz="1100"/>
          </a:p>
          <a:p>
            <a:pPr marL="285750" indent="-285750">
              <a:buFont typeface="Arial" panose="020B0604020202020204" pitchFamily="34" charset="0"/>
              <a:buChar char="•"/>
            </a:pPr>
            <a:endParaRPr lang="es-PE" sz="1100"/>
          </a:p>
        </p:txBody>
      </p:sp>
      <p:sp>
        <p:nvSpPr>
          <p:cNvPr id="11" name="Rectángulo: esquinas redondeadas 10">
            <a:extLst>
              <a:ext uri="{FF2B5EF4-FFF2-40B4-BE49-F238E27FC236}">
                <a16:creationId xmlns:a16="http://schemas.microsoft.com/office/drawing/2014/main" id="{2BC881B3-4838-339E-F6E8-8C1C51CAF390}"/>
              </a:ext>
            </a:extLst>
          </p:cNvPr>
          <p:cNvSpPr/>
          <p:nvPr/>
        </p:nvSpPr>
        <p:spPr>
          <a:xfrm>
            <a:off x="7960550" y="3647588"/>
            <a:ext cx="3655378" cy="2331720"/>
          </a:xfrm>
          <a:prstGeom prst="roundRect">
            <a:avLst/>
          </a:prstGeom>
          <a:solidFill>
            <a:srgbClr val="05BC57"/>
          </a:solidFill>
        </p:spPr>
        <p:style>
          <a:lnRef idx="0">
            <a:schemeClr val="accent5"/>
          </a:lnRef>
          <a:fillRef idx="3">
            <a:schemeClr val="accent5"/>
          </a:fillRef>
          <a:effectRef idx="3">
            <a:schemeClr val="accent5"/>
          </a:effectRef>
          <a:fontRef idx="minor">
            <a:schemeClr val="lt1"/>
          </a:fontRef>
        </p:style>
        <p:txBody>
          <a:bodyPr rtlCol="0" anchor="ctr"/>
          <a:lstStyle/>
          <a:p>
            <a:pPr algn="ctr"/>
            <a:r>
              <a:rPr lang="es-MX" b="1"/>
              <a:t>Cierre</a:t>
            </a:r>
          </a:p>
          <a:p>
            <a:pPr algn="ctr"/>
            <a:endParaRPr lang="es-MX"/>
          </a:p>
          <a:p>
            <a:pPr marL="285750" indent="-285750">
              <a:buFont typeface="Arial" panose="020B0604020202020204" pitchFamily="34" charset="0"/>
              <a:buChar char="•"/>
            </a:pPr>
            <a:r>
              <a:rPr lang="es-MX" sz="1100"/>
              <a:t>Revisión final de resultados y entregables QA.</a:t>
            </a:r>
          </a:p>
          <a:p>
            <a:pPr marL="285750" indent="-285750">
              <a:buFont typeface="Arial" panose="020B0604020202020204" pitchFamily="34" charset="0"/>
              <a:buChar char="•"/>
            </a:pPr>
            <a:r>
              <a:rPr lang="es-MX" sz="1100"/>
              <a:t>Verificación del cumplimiento de criterios de aceptación y calidad.</a:t>
            </a:r>
          </a:p>
          <a:p>
            <a:pPr marL="285750" indent="-285750">
              <a:buFont typeface="Arial" panose="020B0604020202020204" pitchFamily="34" charset="0"/>
              <a:buChar char="•"/>
            </a:pPr>
            <a:r>
              <a:rPr lang="es-MX" sz="1100"/>
              <a:t>Verificación del cierre de defectos.</a:t>
            </a:r>
          </a:p>
          <a:p>
            <a:pPr marL="285750" indent="-285750">
              <a:buFont typeface="Arial" panose="020B0604020202020204" pitchFamily="34" charset="0"/>
              <a:buChar char="•"/>
            </a:pPr>
            <a:r>
              <a:rPr lang="es-MX" sz="1100"/>
              <a:t>Elaboración del acta de cierre de QA.</a:t>
            </a:r>
          </a:p>
          <a:p>
            <a:pPr marL="285750" indent="-285750">
              <a:buFont typeface="Arial" panose="020B0604020202020204" pitchFamily="34" charset="0"/>
              <a:buChar char="•"/>
            </a:pPr>
            <a:r>
              <a:rPr lang="es-MX" sz="1100"/>
              <a:t>Acompañamiento y validación de pruebas UAT.</a:t>
            </a:r>
          </a:p>
          <a:p>
            <a:pPr marL="285750" indent="-285750">
              <a:buFont typeface="Arial" panose="020B0604020202020204" pitchFamily="34" charset="0"/>
              <a:buChar char="•"/>
            </a:pPr>
            <a:r>
              <a:rPr lang="es-MX" sz="1100"/>
              <a:t>Certificación del cumplimiento de calidad.</a:t>
            </a:r>
          </a:p>
          <a:p>
            <a:pPr marL="285750" indent="-285750">
              <a:buFont typeface="Arial" panose="020B0604020202020204" pitchFamily="34" charset="0"/>
              <a:buChar char="•"/>
            </a:pPr>
            <a:r>
              <a:rPr lang="es-MX" sz="1100"/>
              <a:t>Comunicación formal del cierre a los equipos y Stalkeholders.</a:t>
            </a:r>
            <a:endParaRPr lang="es-PE" sz="1100"/>
          </a:p>
        </p:txBody>
      </p:sp>
      <p:sp>
        <p:nvSpPr>
          <p:cNvPr id="3" name="Rectángulo 2">
            <a:extLst>
              <a:ext uri="{FF2B5EF4-FFF2-40B4-BE49-F238E27FC236}">
                <a16:creationId xmlns:a16="http://schemas.microsoft.com/office/drawing/2014/main" id="{AC97EBCE-141A-2BB8-9B16-8CF49BD0B859}"/>
              </a:ext>
            </a:extLst>
          </p:cNvPr>
          <p:cNvSpPr/>
          <p:nvPr/>
        </p:nvSpPr>
        <p:spPr>
          <a:xfrm>
            <a:off x="6796214" y="6181344"/>
            <a:ext cx="217234" cy="210312"/>
          </a:xfrm>
          <a:prstGeom prst="rect">
            <a:avLst/>
          </a:prstGeom>
          <a:solidFill>
            <a:srgbClr val="636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5" name="CuadroTexto 4">
            <a:extLst>
              <a:ext uri="{FF2B5EF4-FFF2-40B4-BE49-F238E27FC236}">
                <a16:creationId xmlns:a16="http://schemas.microsoft.com/office/drawing/2014/main" id="{BCF49391-DD17-3D95-7C32-1FB6F091AF66}"/>
              </a:ext>
            </a:extLst>
          </p:cNvPr>
          <p:cNvSpPr txBox="1"/>
          <p:nvPr/>
        </p:nvSpPr>
        <p:spPr>
          <a:xfrm>
            <a:off x="7013448" y="6155695"/>
            <a:ext cx="1618488" cy="261610"/>
          </a:xfrm>
          <a:prstGeom prst="rect">
            <a:avLst/>
          </a:prstGeom>
          <a:noFill/>
        </p:spPr>
        <p:txBody>
          <a:bodyPr wrap="square" rtlCol="0">
            <a:spAutoFit/>
          </a:bodyPr>
          <a:lstStyle/>
          <a:p>
            <a:r>
              <a:rPr lang="es-MX" sz="1100">
                <a:solidFill>
                  <a:schemeClr val="accent5"/>
                </a:solidFill>
              </a:rPr>
              <a:t>Equipo QA Transversal</a:t>
            </a:r>
            <a:endParaRPr lang="es-PE" sz="1100">
              <a:solidFill>
                <a:schemeClr val="accent5"/>
              </a:solidFill>
            </a:endParaRPr>
          </a:p>
        </p:txBody>
      </p:sp>
      <p:sp>
        <p:nvSpPr>
          <p:cNvPr id="6" name="Rectángulo 5">
            <a:extLst>
              <a:ext uri="{FF2B5EF4-FFF2-40B4-BE49-F238E27FC236}">
                <a16:creationId xmlns:a16="http://schemas.microsoft.com/office/drawing/2014/main" id="{8FC16E23-38A2-DA98-8EC1-2CBCA966B40A}"/>
              </a:ext>
            </a:extLst>
          </p:cNvPr>
          <p:cNvSpPr/>
          <p:nvPr/>
        </p:nvSpPr>
        <p:spPr>
          <a:xfrm>
            <a:off x="8460422" y="6181344"/>
            <a:ext cx="217234" cy="210312"/>
          </a:xfrm>
          <a:prstGeom prst="rect">
            <a:avLst/>
          </a:prstGeom>
          <a:solidFill>
            <a:srgbClr val="2038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2" name="CuadroTexto 11">
            <a:extLst>
              <a:ext uri="{FF2B5EF4-FFF2-40B4-BE49-F238E27FC236}">
                <a16:creationId xmlns:a16="http://schemas.microsoft.com/office/drawing/2014/main" id="{EAC05EA5-5651-CFE2-19F7-C06721C536A0}"/>
              </a:ext>
            </a:extLst>
          </p:cNvPr>
          <p:cNvSpPr txBox="1"/>
          <p:nvPr/>
        </p:nvSpPr>
        <p:spPr>
          <a:xfrm>
            <a:off x="8677656" y="6155695"/>
            <a:ext cx="1618488" cy="261610"/>
          </a:xfrm>
          <a:prstGeom prst="rect">
            <a:avLst/>
          </a:prstGeom>
          <a:noFill/>
        </p:spPr>
        <p:txBody>
          <a:bodyPr wrap="square" rtlCol="0">
            <a:spAutoFit/>
          </a:bodyPr>
          <a:lstStyle/>
          <a:p>
            <a:r>
              <a:rPr lang="es-MX" sz="1100">
                <a:solidFill>
                  <a:schemeClr val="accent5"/>
                </a:solidFill>
              </a:rPr>
              <a:t>Equipo QA Dedicado BB</a:t>
            </a:r>
            <a:endParaRPr lang="es-PE" sz="1100">
              <a:solidFill>
                <a:schemeClr val="accent5"/>
              </a:solidFill>
            </a:endParaRPr>
          </a:p>
        </p:txBody>
      </p:sp>
      <p:sp>
        <p:nvSpPr>
          <p:cNvPr id="13" name="Rectángulo 12">
            <a:extLst>
              <a:ext uri="{FF2B5EF4-FFF2-40B4-BE49-F238E27FC236}">
                <a16:creationId xmlns:a16="http://schemas.microsoft.com/office/drawing/2014/main" id="{14A902B9-C9B6-2F5E-3728-83B93B1AA25B}"/>
              </a:ext>
            </a:extLst>
          </p:cNvPr>
          <p:cNvSpPr/>
          <p:nvPr/>
        </p:nvSpPr>
        <p:spPr>
          <a:xfrm>
            <a:off x="10206100" y="6181344"/>
            <a:ext cx="217234" cy="210312"/>
          </a:xfrm>
          <a:prstGeom prst="rect">
            <a:avLst/>
          </a:prstGeom>
          <a:solidFill>
            <a:srgbClr val="05BC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4" name="CuadroTexto 13">
            <a:extLst>
              <a:ext uri="{FF2B5EF4-FFF2-40B4-BE49-F238E27FC236}">
                <a16:creationId xmlns:a16="http://schemas.microsoft.com/office/drawing/2014/main" id="{1E31F3B2-A226-76BA-C0E3-C85029391CC3}"/>
              </a:ext>
            </a:extLst>
          </p:cNvPr>
          <p:cNvSpPr txBox="1"/>
          <p:nvPr/>
        </p:nvSpPr>
        <p:spPr>
          <a:xfrm>
            <a:off x="10423334" y="6155695"/>
            <a:ext cx="1618488" cy="261610"/>
          </a:xfrm>
          <a:prstGeom prst="rect">
            <a:avLst/>
          </a:prstGeom>
          <a:noFill/>
        </p:spPr>
        <p:txBody>
          <a:bodyPr wrap="square" rtlCol="0">
            <a:spAutoFit/>
          </a:bodyPr>
          <a:lstStyle/>
          <a:p>
            <a:r>
              <a:rPr lang="es-MX" sz="1100">
                <a:solidFill>
                  <a:schemeClr val="accent5"/>
                </a:solidFill>
              </a:rPr>
              <a:t>Equipo QA Planificado</a:t>
            </a:r>
            <a:endParaRPr lang="es-PE" sz="1100">
              <a:solidFill>
                <a:schemeClr val="accent5"/>
              </a:solidFill>
            </a:endParaRPr>
          </a:p>
        </p:txBody>
      </p:sp>
      <p:sp>
        <p:nvSpPr>
          <p:cNvPr id="16" name="Título 15">
            <a:extLst>
              <a:ext uri="{FF2B5EF4-FFF2-40B4-BE49-F238E27FC236}">
                <a16:creationId xmlns:a16="http://schemas.microsoft.com/office/drawing/2014/main" id="{C6E77911-5840-30C8-6D91-A9609BB5A0E4}"/>
              </a:ext>
            </a:extLst>
          </p:cNvPr>
          <p:cNvSpPr>
            <a:spLocks noGrp="1"/>
          </p:cNvSpPr>
          <p:nvPr>
            <p:ph type="title"/>
          </p:nvPr>
        </p:nvSpPr>
        <p:spPr/>
        <p:txBody>
          <a:bodyPr/>
          <a:lstStyle/>
          <a:p>
            <a:r>
              <a:rPr lang="es-MX"/>
              <a:t>  </a:t>
            </a:r>
            <a:endParaRPr lang="es-PE"/>
          </a:p>
        </p:txBody>
      </p:sp>
      <p:sp>
        <p:nvSpPr>
          <p:cNvPr id="18" name="Title 5">
            <a:extLst>
              <a:ext uri="{FF2B5EF4-FFF2-40B4-BE49-F238E27FC236}">
                <a16:creationId xmlns:a16="http://schemas.microsoft.com/office/drawing/2014/main" id="{60B170AF-C03F-ADF1-66F9-2862F5AAA0DA}"/>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 </a:t>
            </a:r>
            <a:r>
              <a:rPr lang="en-GB" b="0" err="1">
                <a:solidFill>
                  <a:srgbClr val="203864"/>
                </a:solidFill>
                <a:latin typeface="Santander Headline" panose="020B0504020201020104" pitchFamily="34" charset="0"/>
              </a:rPr>
              <a:t>Detalle</a:t>
            </a:r>
            <a:r>
              <a:rPr lang="en-GB" b="0">
                <a:solidFill>
                  <a:srgbClr val="203864"/>
                </a:solidFill>
                <a:latin typeface="Santander Headline" panose="020B0504020201020104" pitchFamily="34" charset="0"/>
              </a:rPr>
              <a:t> de </a:t>
            </a:r>
            <a:r>
              <a:rPr lang="en-GB" b="0" err="1">
                <a:solidFill>
                  <a:srgbClr val="203864"/>
                </a:solidFill>
                <a:latin typeface="Santander Headline" panose="020B0504020201020104" pitchFamily="34" charset="0"/>
              </a:rPr>
              <a:t>Actividades</a:t>
            </a:r>
            <a:r>
              <a:rPr lang="en-GB" b="0">
                <a:solidFill>
                  <a:srgbClr val="203864"/>
                </a:solidFill>
                <a:latin typeface="Santander Headline" panose="020B0504020201020104" pitchFamily="34" charset="0"/>
              </a:rPr>
              <a:t> por Etapa</a:t>
            </a:r>
            <a:endParaRPr lang="es-MX">
              <a:solidFill>
                <a:srgbClr val="203864"/>
              </a:solidFill>
            </a:endParaRPr>
          </a:p>
        </p:txBody>
      </p:sp>
    </p:spTree>
    <p:extLst>
      <p:ext uri="{BB962C8B-B14F-4D97-AF65-F5344CB8AC3E}">
        <p14:creationId xmlns:p14="http://schemas.microsoft.com/office/powerpoint/2010/main" val="6422547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3DCEA2-BEF4-9AA9-441F-D17E7F5F95D5}"/>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7A165EEC-BFAC-1972-2482-EF19C18B7D91}"/>
              </a:ext>
            </a:extLst>
          </p:cNvPr>
          <p:cNvSpPr>
            <a:spLocks noGrp="1"/>
          </p:cNvSpPr>
          <p:nvPr>
            <p:ph type="body" sz="quarter" idx="14"/>
          </p:nvPr>
        </p:nvSpPr>
        <p:spPr/>
        <p:txBody>
          <a:bodyPr/>
          <a:lstStyle/>
          <a:p>
            <a:endParaRPr lang="es-PE"/>
          </a:p>
        </p:txBody>
      </p:sp>
      <p:sp>
        <p:nvSpPr>
          <p:cNvPr id="4" name="Título 3">
            <a:extLst>
              <a:ext uri="{FF2B5EF4-FFF2-40B4-BE49-F238E27FC236}">
                <a16:creationId xmlns:a16="http://schemas.microsoft.com/office/drawing/2014/main" id="{A4F576E8-C21C-C709-7719-2899BD93735E}"/>
              </a:ext>
            </a:extLst>
          </p:cNvPr>
          <p:cNvSpPr>
            <a:spLocks noGrp="1"/>
          </p:cNvSpPr>
          <p:nvPr>
            <p:ph type="title"/>
          </p:nvPr>
        </p:nvSpPr>
        <p:spPr>
          <a:xfrm>
            <a:off x="550863" y="168483"/>
            <a:ext cx="11090275" cy="614413"/>
          </a:xfrm>
        </p:spPr>
        <p:txBody>
          <a:bodyPr/>
          <a:lstStyle/>
          <a:p>
            <a:r>
              <a:rPr lang="es-PE"/>
              <a:t>Aseguramiento de Calidad</a:t>
            </a:r>
            <a:r>
              <a:rPr lang="en-GB" sz="3200" b="0">
                <a:solidFill>
                  <a:srgbClr val="FF0000"/>
                </a:solidFill>
                <a:latin typeface="Santander Headline" panose="020B0504020201020104" pitchFamily="34" charset="0"/>
              </a:rPr>
              <a:t>| </a:t>
            </a:r>
            <a:r>
              <a:rPr lang="en-GB" sz="2400" b="0">
                <a:solidFill>
                  <a:srgbClr val="203864"/>
                </a:solidFill>
                <a:latin typeface="Santander Headline" panose="020B0504020201020104" pitchFamily="34" charset="0"/>
              </a:rPr>
              <a:t>Plan General QA</a:t>
            </a:r>
            <a:endParaRPr lang="es-MX" sz="2400"/>
          </a:p>
        </p:txBody>
      </p:sp>
      <p:pic>
        <p:nvPicPr>
          <p:cNvPr id="16" name="Imagen 15" descr="Diagrama&#10;&#10;El contenido generado por IA puede ser incorrecto.">
            <a:extLst>
              <a:ext uri="{FF2B5EF4-FFF2-40B4-BE49-F238E27FC236}">
                <a16:creationId xmlns:a16="http://schemas.microsoft.com/office/drawing/2014/main" id="{A87C6C29-6C77-748C-A9FD-7C267360A85E}"/>
              </a:ext>
            </a:extLst>
          </p:cNvPr>
          <p:cNvPicPr>
            <a:picLocks noChangeAspect="1"/>
          </p:cNvPicPr>
          <p:nvPr/>
        </p:nvPicPr>
        <p:blipFill>
          <a:blip r:embed="rId3">
            <a:extLst>
              <a:ext uri="{28A0092B-C50C-407E-A947-70E740481C1C}">
                <a14:useLocalDpi xmlns:a14="http://schemas.microsoft.com/office/drawing/2010/main" val="0"/>
              </a:ext>
            </a:extLst>
          </a:blip>
          <a:srcRect t="49519"/>
          <a:stretch>
            <a:fillRect/>
          </a:stretch>
        </p:blipFill>
        <p:spPr>
          <a:xfrm>
            <a:off x="434752" y="2375421"/>
            <a:ext cx="11409458" cy="1612174"/>
          </a:xfrm>
          <a:prstGeom prst="rect">
            <a:avLst/>
          </a:prstGeom>
        </p:spPr>
      </p:pic>
      <p:sp>
        <p:nvSpPr>
          <p:cNvPr id="6" name="CuadroTexto 5">
            <a:extLst>
              <a:ext uri="{FF2B5EF4-FFF2-40B4-BE49-F238E27FC236}">
                <a16:creationId xmlns:a16="http://schemas.microsoft.com/office/drawing/2014/main" id="{06DFB6C0-6451-7E8A-4820-47F4DF695CCE}"/>
              </a:ext>
            </a:extLst>
          </p:cNvPr>
          <p:cNvSpPr txBox="1"/>
          <p:nvPr/>
        </p:nvSpPr>
        <p:spPr>
          <a:xfrm>
            <a:off x="997153" y="3977412"/>
            <a:ext cx="1843905" cy="923330"/>
          </a:xfrm>
          <a:prstGeom prst="rect">
            <a:avLst/>
          </a:prstGeom>
          <a:noFill/>
        </p:spPr>
        <p:txBody>
          <a:bodyPr wrap="square">
            <a:spAutoFit/>
          </a:bodyPr>
          <a:lstStyle/>
          <a:p>
            <a:pPr marL="285750" indent="-285750">
              <a:buFont typeface="Arial" panose="020B0604020202020204" pitchFamily="34" charset="0"/>
              <a:buChar char="•"/>
            </a:pPr>
            <a:r>
              <a:rPr lang="es-MX" sz="900">
                <a:solidFill>
                  <a:srgbClr val="151515"/>
                </a:solidFill>
              </a:rPr>
              <a:t>Definición del Marco de Calidad.</a:t>
            </a:r>
          </a:p>
          <a:p>
            <a:pPr marL="285750" indent="-285750">
              <a:buFont typeface="Arial" panose="020B0604020202020204" pitchFamily="34" charset="0"/>
              <a:buChar char="•"/>
            </a:pPr>
            <a:r>
              <a:rPr lang="es-MX" sz="900">
                <a:solidFill>
                  <a:srgbClr val="151515"/>
                </a:solidFill>
              </a:rPr>
              <a:t>Definir los entregables de calidad.</a:t>
            </a:r>
          </a:p>
          <a:p>
            <a:pPr marL="285750" indent="-285750">
              <a:buFont typeface="Arial" panose="020B0604020202020204" pitchFamily="34" charset="0"/>
              <a:buChar char="•"/>
            </a:pPr>
            <a:r>
              <a:rPr lang="es-MX" sz="900">
                <a:solidFill>
                  <a:srgbClr val="151515"/>
                </a:solidFill>
              </a:rPr>
              <a:t>Planificación de Recursos y Cronograma.</a:t>
            </a:r>
          </a:p>
        </p:txBody>
      </p:sp>
      <p:sp>
        <p:nvSpPr>
          <p:cNvPr id="7" name="CuadroTexto 6">
            <a:extLst>
              <a:ext uri="{FF2B5EF4-FFF2-40B4-BE49-F238E27FC236}">
                <a16:creationId xmlns:a16="http://schemas.microsoft.com/office/drawing/2014/main" id="{B074E8E7-5C16-EEA0-DB4C-E6782EA1615E}"/>
              </a:ext>
            </a:extLst>
          </p:cNvPr>
          <p:cNvSpPr txBox="1"/>
          <p:nvPr/>
        </p:nvSpPr>
        <p:spPr>
          <a:xfrm>
            <a:off x="2927880" y="3977412"/>
            <a:ext cx="1676826" cy="923330"/>
          </a:xfrm>
          <a:prstGeom prst="rect">
            <a:avLst/>
          </a:prstGeom>
          <a:noFill/>
        </p:spPr>
        <p:txBody>
          <a:bodyPr wrap="square">
            <a:spAutoFit/>
          </a:bodyPr>
          <a:lstStyle/>
          <a:p>
            <a:pPr marL="285750" indent="-285750">
              <a:buFont typeface="Arial" panose="020B0604020202020204" pitchFamily="34" charset="0"/>
              <a:buChar char="•"/>
            </a:pPr>
            <a:r>
              <a:rPr lang="es-MX" sz="900">
                <a:solidFill>
                  <a:srgbClr val="151515"/>
                </a:solidFill>
              </a:rPr>
              <a:t>Análisis y Validación de Requisitos.</a:t>
            </a:r>
          </a:p>
          <a:p>
            <a:pPr marL="285750" indent="-285750">
              <a:buFont typeface="Arial" panose="020B0604020202020204" pitchFamily="34" charset="0"/>
              <a:buChar char="•"/>
            </a:pPr>
            <a:r>
              <a:rPr lang="es-MX" sz="900">
                <a:solidFill>
                  <a:srgbClr val="151515"/>
                </a:solidFill>
              </a:rPr>
              <a:t>Gestión de Trazabilidad y Riesgos.</a:t>
            </a:r>
          </a:p>
          <a:p>
            <a:pPr marL="285750" indent="-285750">
              <a:buFont typeface="Arial" panose="020B0604020202020204" pitchFamily="34" charset="0"/>
              <a:buChar char="•"/>
            </a:pPr>
            <a:r>
              <a:rPr lang="es-MX" sz="900">
                <a:solidFill>
                  <a:srgbClr val="151515"/>
                </a:solidFill>
              </a:rPr>
              <a:t>Estimación y Definición de Entregables.</a:t>
            </a:r>
          </a:p>
        </p:txBody>
      </p:sp>
      <p:sp>
        <p:nvSpPr>
          <p:cNvPr id="21" name="CuadroTexto 20">
            <a:extLst>
              <a:ext uri="{FF2B5EF4-FFF2-40B4-BE49-F238E27FC236}">
                <a16:creationId xmlns:a16="http://schemas.microsoft.com/office/drawing/2014/main" id="{9902EEF8-75CD-118E-23CA-1445673DD635}"/>
              </a:ext>
            </a:extLst>
          </p:cNvPr>
          <p:cNvSpPr txBox="1"/>
          <p:nvPr/>
        </p:nvSpPr>
        <p:spPr>
          <a:xfrm>
            <a:off x="4643896" y="3949133"/>
            <a:ext cx="1804648" cy="923330"/>
          </a:xfrm>
          <a:prstGeom prst="rect">
            <a:avLst/>
          </a:prstGeom>
          <a:noFill/>
        </p:spPr>
        <p:txBody>
          <a:bodyPr wrap="square">
            <a:spAutoFit/>
          </a:bodyPr>
          <a:lstStyle/>
          <a:p>
            <a:pPr marL="285750" indent="-285750">
              <a:buFont typeface="Arial" panose="020B0604020202020204" pitchFamily="34" charset="0"/>
              <a:buChar char="•"/>
            </a:pPr>
            <a:r>
              <a:rPr lang="es-MX" sz="900">
                <a:solidFill>
                  <a:schemeClr val="accent5"/>
                </a:solidFill>
              </a:rPr>
              <a:t>Revisión y Análisis del Diseño del Sistema.</a:t>
            </a:r>
          </a:p>
          <a:p>
            <a:pPr marL="285750" indent="-285750">
              <a:buFont typeface="Arial" panose="020B0604020202020204" pitchFamily="34" charset="0"/>
              <a:buChar char="•"/>
            </a:pPr>
            <a:r>
              <a:rPr lang="es-MX" sz="900">
                <a:solidFill>
                  <a:schemeClr val="accent5"/>
                </a:solidFill>
              </a:rPr>
              <a:t>Diseño y Especificación de Pruebas.</a:t>
            </a:r>
          </a:p>
          <a:p>
            <a:pPr marL="285750" indent="-285750">
              <a:buFont typeface="Arial" panose="020B0604020202020204" pitchFamily="34" charset="0"/>
              <a:buChar char="•"/>
            </a:pPr>
            <a:r>
              <a:rPr lang="es-MX" sz="900">
                <a:solidFill>
                  <a:schemeClr val="accent5"/>
                </a:solidFill>
              </a:rPr>
              <a:t>Validación y Comunicación del Diseño.</a:t>
            </a:r>
            <a:endParaRPr lang="es-PE" sz="900">
              <a:solidFill>
                <a:schemeClr val="accent5"/>
              </a:solidFill>
            </a:endParaRPr>
          </a:p>
        </p:txBody>
      </p:sp>
      <p:sp>
        <p:nvSpPr>
          <p:cNvPr id="22" name="CuadroTexto 21">
            <a:extLst>
              <a:ext uri="{FF2B5EF4-FFF2-40B4-BE49-F238E27FC236}">
                <a16:creationId xmlns:a16="http://schemas.microsoft.com/office/drawing/2014/main" id="{31C0B427-463C-0C9C-D4CA-E1DBA0709E57}"/>
              </a:ext>
            </a:extLst>
          </p:cNvPr>
          <p:cNvSpPr txBox="1"/>
          <p:nvPr/>
        </p:nvSpPr>
        <p:spPr>
          <a:xfrm>
            <a:off x="6461758" y="3979421"/>
            <a:ext cx="1769295" cy="923330"/>
          </a:xfrm>
          <a:prstGeom prst="rect">
            <a:avLst/>
          </a:prstGeom>
          <a:noFill/>
        </p:spPr>
        <p:txBody>
          <a:bodyPr wrap="square">
            <a:spAutoFit/>
          </a:bodyPr>
          <a:lstStyle/>
          <a:p>
            <a:pPr marL="285750" indent="-285750">
              <a:buFont typeface="Arial" panose="020B0604020202020204" pitchFamily="34" charset="0"/>
              <a:buChar char="•"/>
            </a:pPr>
            <a:r>
              <a:rPr lang="es-MX" sz="900">
                <a:solidFill>
                  <a:schemeClr val="accent5"/>
                </a:solidFill>
              </a:rPr>
              <a:t>Configuración de ambientes.</a:t>
            </a:r>
          </a:p>
          <a:p>
            <a:pPr marL="285750" indent="-285750">
              <a:buFont typeface="Arial" panose="020B0604020202020204" pitchFamily="34" charset="0"/>
              <a:buChar char="•"/>
            </a:pPr>
            <a:r>
              <a:rPr lang="es-MX" sz="900">
                <a:solidFill>
                  <a:schemeClr val="accent5"/>
                </a:solidFill>
              </a:rPr>
              <a:t>Preparación de Recursos de Pruebas.</a:t>
            </a:r>
          </a:p>
          <a:p>
            <a:pPr marL="285750" indent="-285750">
              <a:buFont typeface="Arial" panose="020B0604020202020204" pitchFamily="34" charset="0"/>
              <a:buChar char="•"/>
            </a:pPr>
            <a:r>
              <a:rPr lang="es-MX" sz="900">
                <a:solidFill>
                  <a:schemeClr val="accent5"/>
                </a:solidFill>
              </a:rPr>
              <a:t>Comunicación y Validación de Disponibilidad.</a:t>
            </a:r>
          </a:p>
        </p:txBody>
      </p:sp>
      <p:sp>
        <p:nvSpPr>
          <p:cNvPr id="31" name="CuadroTexto 30">
            <a:extLst>
              <a:ext uri="{FF2B5EF4-FFF2-40B4-BE49-F238E27FC236}">
                <a16:creationId xmlns:a16="http://schemas.microsoft.com/office/drawing/2014/main" id="{FC8FDEAB-B4B0-2D7A-333C-5C9298D29F3E}"/>
              </a:ext>
            </a:extLst>
          </p:cNvPr>
          <p:cNvSpPr txBox="1"/>
          <p:nvPr/>
        </p:nvSpPr>
        <p:spPr>
          <a:xfrm>
            <a:off x="8225191" y="4006021"/>
            <a:ext cx="1809347" cy="923330"/>
          </a:xfrm>
          <a:prstGeom prst="rect">
            <a:avLst/>
          </a:prstGeom>
          <a:noFill/>
        </p:spPr>
        <p:txBody>
          <a:bodyPr wrap="square">
            <a:spAutoFit/>
          </a:bodyPr>
          <a:lstStyle/>
          <a:p>
            <a:pPr marL="285750" indent="-285750">
              <a:buFont typeface="Arial" panose="020B0604020202020204" pitchFamily="34" charset="0"/>
              <a:buChar char="•"/>
            </a:pPr>
            <a:r>
              <a:rPr lang="es-MX" sz="900">
                <a:solidFill>
                  <a:schemeClr val="accent5"/>
                </a:solidFill>
              </a:rPr>
              <a:t>Ejecución y registro de pruebas.</a:t>
            </a:r>
          </a:p>
          <a:p>
            <a:pPr marL="285750" indent="-285750">
              <a:buFont typeface="Arial" panose="020B0604020202020204" pitchFamily="34" charset="0"/>
              <a:buChar char="•"/>
            </a:pPr>
            <a:r>
              <a:rPr lang="es-MX" sz="900">
                <a:solidFill>
                  <a:schemeClr val="accent5"/>
                </a:solidFill>
              </a:rPr>
              <a:t>Gestión del ciclo de defectos.</a:t>
            </a:r>
          </a:p>
          <a:p>
            <a:pPr marL="285750" indent="-285750">
              <a:buFont typeface="Arial" panose="020B0604020202020204" pitchFamily="34" charset="0"/>
              <a:buChar char="•"/>
            </a:pPr>
            <a:r>
              <a:rPr lang="es-MX" sz="900">
                <a:solidFill>
                  <a:schemeClr val="accent5"/>
                </a:solidFill>
              </a:rPr>
              <a:t>Análisis y Reporte de Resultados.</a:t>
            </a:r>
          </a:p>
        </p:txBody>
      </p:sp>
      <p:sp>
        <p:nvSpPr>
          <p:cNvPr id="32" name="CuadroTexto 31">
            <a:extLst>
              <a:ext uri="{FF2B5EF4-FFF2-40B4-BE49-F238E27FC236}">
                <a16:creationId xmlns:a16="http://schemas.microsoft.com/office/drawing/2014/main" id="{F9F5674F-FD6B-5403-FA5A-05D176069A14}"/>
              </a:ext>
            </a:extLst>
          </p:cNvPr>
          <p:cNvSpPr txBox="1"/>
          <p:nvPr/>
        </p:nvSpPr>
        <p:spPr>
          <a:xfrm>
            <a:off x="10147922" y="3976776"/>
            <a:ext cx="1809347" cy="923330"/>
          </a:xfrm>
          <a:prstGeom prst="rect">
            <a:avLst/>
          </a:prstGeom>
          <a:noFill/>
        </p:spPr>
        <p:txBody>
          <a:bodyPr wrap="square">
            <a:spAutoFit/>
          </a:bodyPr>
          <a:lstStyle/>
          <a:p>
            <a:pPr marL="285750" indent="-285750">
              <a:buFont typeface="Arial" panose="020B0604020202020204" pitchFamily="34" charset="0"/>
              <a:buChar char="•"/>
            </a:pPr>
            <a:r>
              <a:rPr lang="es-MX" sz="900">
                <a:solidFill>
                  <a:schemeClr val="accent5"/>
                </a:solidFill>
              </a:rPr>
              <a:t>Validación y Verificación Final.</a:t>
            </a:r>
          </a:p>
          <a:p>
            <a:pPr marL="285750" indent="-285750">
              <a:buFont typeface="Arial" panose="020B0604020202020204" pitchFamily="34" charset="0"/>
              <a:buChar char="•"/>
            </a:pPr>
            <a:r>
              <a:rPr lang="es-MX" sz="900">
                <a:solidFill>
                  <a:schemeClr val="accent5"/>
                </a:solidFill>
              </a:rPr>
              <a:t>Certificación y Documentación.</a:t>
            </a:r>
          </a:p>
          <a:p>
            <a:pPr marL="285750" indent="-285750">
              <a:buFont typeface="Arial" panose="020B0604020202020204" pitchFamily="34" charset="0"/>
              <a:buChar char="•"/>
            </a:pPr>
            <a:r>
              <a:rPr lang="es-MX" sz="900">
                <a:solidFill>
                  <a:schemeClr val="accent5"/>
                </a:solidFill>
              </a:rPr>
              <a:t>Comunicación Formal de Cierre.</a:t>
            </a:r>
          </a:p>
        </p:txBody>
      </p:sp>
      <p:sp>
        <p:nvSpPr>
          <p:cNvPr id="36" name="Rectángulo 35">
            <a:extLst>
              <a:ext uri="{FF2B5EF4-FFF2-40B4-BE49-F238E27FC236}">
                <a16:creationId xmlns:a16="http://schemas.microsoft.com/office/drawing/2014/main" id="{D8AE764C-7561-B9F9-3D3F-A0FF16B18037}"/>
              </a:ext>
            </a:extLst>
          </p:cNvPr>
          <p:cNvSpPr/>
          <p:nvPr/>
        </p:nvSpPr>
        <p:spPr>
          <a:xfrm>
            <a:off x="10107224" y="1023421"/>
            <a:ext cx="1863513" cy="5397008"/>
          </a:xfrm>
          <a:prstGeom prst="rect">
            <a:avLst/>
          </a:prstGeom>
          <a:noFill/>
          <a:ln>
            <a:solidFill>
              <a:srgbClr val="EC0000"/>
            </a:solidFill>
            <a:prstDash val="sysDash"/>
            <a:extLst>
              <a:ext uri="{C807C97D-BFC1-408E-A445-0C87EB9F89A2}">
                <ask:lineSketchStyleProps xmlns:ask="http://schemas.microsoft.com/office/drawing/2018/sketchyshapes" sd="3398701434">
                  <a:custGeom>
                    <a:avLst/>
                    <a:gdLst>
                      <a:gd name="connsiteX0" fmla="*/ 0 w 1793966"/>
                      <a:gd name="connsiteY0" fmla="*/ 0 h 5144459"/>
                      <a:gd name="connsiteX1" fmla="*/ 562109 w 1793966"/>
                      <a:gd name="connsiteY1" fmla="*/ 0 h 5144459"/>
                      <a:gd name="connsiteX2" fmla="*/ 1142158 w 1793966"/>
                      <a:gd name="connsiteY2" fmla="*/ 0 h 5144459"/>
                      <a:gd name="connsiteX3" fmla="*/ 1793966 w 1793966"/>
                      <a:gd name="connsiteY3" fmla="*/ 0 h 5144459"/>
                      <a:gd name="connsiteX4" fmla="*/ 1793966 w 1793966"/>
                      <a:gd name="connsiteY4" fmla="*/ 571607 h 5144459"/>
                      <a:gd name="connsiteX5" fmla="*/ 1793966 w 1793966"/>
                      <a:gd name="connsiteY5" fmla="*/ 1194658 h 5144459"/>
                      <a:gd name="connsiteX6" fmla="*/ 1793966 w 1793966"/>
                      <a:gd name="connsiteY6" fmla="*/ 1611930 h 5144459"/>
                      <a:gd name="connsiteX7" fmla="*/ 1793966 w 1793966"/>
                      <a:gd name="connsiteY7" fmla="*/ 2183537 h 5144459"/>
                      <a:gd name="connsiteX8" fmla="*/ 1793966 w 1793966"/>
                      <a:gd name="connsiteY8" fmla="*/ 2600810 h 5144459"/>
                      <a:gd name="connsiteX9" fmla="*/ 1793966 w 1793966"/>
                      <a:gd name="connsiteY9" fmla="*/ 3275306 h 5144459"/>
                      <a:gd name="connsiteX10" fmla="*/ 1793966 w 1793966"/>
                      <a:gd name="connsiteY10" fmla="*/ 3795468 h 5144459"/>
                      <a:gd name="connsiteX11" fmla="*/ 1793966 w 1793966"/>
                      <a:gd name="connsiteY11" fmla="*/ 4264185 h 5144459"/>
                      <a:gd name="connsiteX12" fmla="*/ 1793966 w 1793966"/>
                      <a:gd name="connsiteY12" fmla="*/ 5144459 h 5144459"/>
                      <a:gd name="connsiteX13" fmla="*/ 1195977 w 1793966"/>
                      <a:gd name="connsiteY13" fmla="*/ 5144459 h 5144459"/>
                      <a:gd name="connsiteX14" fmla="*/ 633868 w 1793966"/>
                      <a:gd name="connsiteY14" fmla="*/ 5144459 h 5144459"/>
                      <a:gd name="connsiteX15" fmla="*/ 0 w 1793966"/>
                      <a:gd name="connsiteY15" fmla="*/ 5144459 h 5144459"/>
                      <a:gd name="connsiteX16" fmla="*/ 0 w 1793966"/>
                      <a:gd name="connsiteY16" fmla="*/ 4624297 h 5144459"/>
                      <a:gd name="connsiteX17" fmla="*/ 0 w 1793966"/>
                      <a:gd name="connsiteY17" fmla="*/ 4104135 h 5144459"/>
                      <a:gd name="connsiteX18" fmla="*/ 0 w 1793966"/>
                      <a:gd name="connsiteY18" fmla="*/ 3532529 h 5144459"/>
                      <a:gd name="connsiteX19" fmla="*/ 0 w 1793966"/>
                      <a:gd name="connsiteY19" fmla="*/ 3063811 h 5144459"/>
                      <a:gd name="connsiteX20" fmla="*/ 0 w 1793966"/>
                      <a:gd name="connsiteY20" fmla="*/ 2492205 h 5144459"/>
                      <a:gd name="connsiteX21" fmla="*/ 0 w 1793966"/>
                      <a:gd name="connsiteY21" fmla="*/ 1972043 h 5144459"/>
                      <a:gd name="connsiteX22" fmla="*/ 0 w 1793966"/>
                      <a:gd name="connsiteY22" fmla="*/ 1400436 h 5144459"/>
                      <a:gd name="connsiteX23" fmla="*/ 0 w 1793966"/>
                      <a:gd name="connsiteY23" fmla="*/ 777385 h 5144459"/>
                      <a:gd name="connsiteX24" fmla="*/ 0 w 1793966"/>
                      <a:gd name="connsiteY24" fmla="*/ 0 h 514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93966" h="5144459" extrusionOk="0">
                        <a:moveTo>
                          <a:pt x="0" y="0"/>
                        </a:moveTo>
                        <a:cubicBezTo>
                          <a:pt x="260618" y="-36244"/>
                          <a:pt x="399115" y="47869"/>
                          <a:pt x="562109" y="0"/>
                        </a:cubicBezTo>
                        <a:cubicBezTo>
                          <a:pt x="725103" y="-47869"/>
                          <a:pt x="992382" y="3088"/>
                          <a:pt x="1142158" y="0"/>
                        </a:cubicBezTo>
                        <a:cubicBezTo>
                          <a:pt x="1291934" y="-3088"/>
                          <a:pt x="1523971" y="55201"/>
                          <a:pt x="1793966" y="0"/>
                        </a:cubicBezTo>
                        <a:cubicBezTo>
                          <a:pt x="1796640" y="137995"/>
                          <a:pt x="1768935" y="436563"/>
                          <a:pt x="1793966" y="571607"/>
                        </a:cubicBezTo>
                        <a:cubicBezTo>
                          <a:pt x="1818997" y="706651"/>
                          <a:pt x="1740987" y="899206"/>
                          <a:pt x="1793966" y="1194658"/>
                        </a:cubicBezTo>
                        <a:cubicBezTo>
                          <a:pt x="1846945" y="1490110"/>
                          <a:pt x="1776442" y="1452181"/>
                          <a:pt x="1793966" y="1611930"/>
                        </a:cubicBezTo>
                        <a:cubicBezTo>
                          <a:pt x="1811490" y="1771679"/>
                          <a:pt x="1730737" y="2062934"/>
                          <a:pt x="1793966" y="2183537"/>
                        </a:cubicBezTo>
                        <a:cubicBezTo>
                          <a:pt x="1857195" y="2304140"/>
                          <a:pt x="1769427" y="2470583"/>
                          <a:pt x="1793966" y="2600810"/>
                        </a:cubicBezTo>
                        <a:cubicBezTo>
                          <a:pt x="1818505" y="2731037"/>
                          <a:pt x="1768942" y="2953335"/>
                          <a:pt x="1793966" y="3275306"/>
                        </a:cubicBezTo>
                        <a:cubicBezTo>
                          <a:pt x="1818990" y="3597277"/>
                          <a:pt x="1748269" y="3683573"/>
                          <a:pt x="1793966" y="3795468"/>
                        </a:cubicBezTo>
                        <a:cubicBezTo>
                          <a:pt x="1839663" y="3907363"/>
                          <a:pt x="1768944" y="4076682"/>
                          <a:pt x="1793966" y="4264185"/>
                        </a:cubicBezTo>
                        <a:cubicBezTo>
                          <a:pt x="1818988" y="4451688"/>
                          <a:pt x="1762192" y="4743581"/>
                          <a:pt x="1793966" y="5144459"/>
                        </a:cubicBezTo>
                        <a:cubicBezTo>
                          <a:pt x="1581536" y="5201636"/>
                          <a:pt x="1384067" y="5073534"/>
                          <a:pt x="1195977" y="5144459"/>
                        </a:cubicBezTo>
                        <a:cubicBezTo>
                          <a:pt x="1007887" y="5215384"/>
                          <a:pt x="761619" y="5089680"/>
                          <a:pt x="633868" y="5144459"/>
                        </a:cubicBezTo>
                        <a:cubicBezTo>
                          <a:pt x="506117" y="5199238"/>
                          <a:pt x="316155" y="5112744"/>
                          <a:pt x="0" y="5144459"/>
                        </a:cubicBezTo>
                        <a:cubicBezTo>
                          <a:pt x="-16352" y="5028514"/>
                          <a:pt x="5089" y="4745756"/>
                          <a:pt x="0" y="4624297"/>
                        </a:cubicBezTo>
                        <a:cubicBezTo>
                          <a:pt x="-5089" y="4502838"/>
                          <a:pt x="42089" y="4259371"/>
                          <a:pt x="0" y="4104135"/>
                        </a:cubicBezTo>
                        <a:cubicBezTo>
                          <a:pt x="-42089" y="3948899"/>
                          <a:pt x="23554" y="3655535"/>
                          <a:pt x="0" y="3532529"/>
                        </a:cubicBezTo>
                        <a:cubicBezTo>
                          <a:pt x="-23554" y="3409523"/>
                          <a:pt x="17386" y="3259292"/>
                          <a:pt x="0" y="3063811"/>
                        </a:cubicBezTo>
                        <a:cubicBezTo>
                          <a:pt x="-17386" y="2868330"/>
                          <a:pt x="21895" y="2647447"/>
                          <a:pt x="0" y="2492205"/>
                        </a:cubicBezTo>
                        <a:cubicBezTo>
                          <a:pt x="-21895" y="2336963"/>
                          <a:pt x="21218" y="2210577"/>
                          <a:pt x="0" y="1972043"/>
                        </a:cubicBezTo>
                        <a:cubicBezTo>
                          <a:pt x="-21218" y="1733509"/>
                          <a:pt x="43209" y="1624025"/>
                          <a:pt x="0" y="1400436"/>
                        </a:cubicBezTo>
                        <a:cubicBezTo>
                          <a:pt x="-43209" y="1176847"/>
                          <a:pt x="14932" y="1051822"/>
                          <a:pt x="0" y="777385"/>
                        </a:cubicBezTo>
                        <a:cubicBezTo>
                          <a:pt x="-14932" y="502948"/>
                          <a:pt x="28178" y="1976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44" name="Rectángulo 43">
            <a:extLst>
              <a:ext uri="{FF2B5EF4-FFF2-40B4-BE49-F238E27FC236}">
                <a16:creationId xmlns:a16="http://schemas.microsoft.com/office/drawing/2014/main" id="{17ED6880-466B-DE0F-D219-6D5603FF1DFA}"/>
              </a:ext>
            </a:extLst>
          </p:cNvPr>
          <p:cNvSpPr/>
          <p:nvPr/>
        </p:nvSpPr>
        <p:spPr>
          <a:xfrm>
            <a:off x="8206028" y="1029987"/>
            <a:ext cx="1863513" cy="5397008"/>
          </a:xfrm>
          <a:prstGeom prst="rect">
            <a:avLst/>
          </a:prstGeom>
          <a:noFill/>
          <a:ln>
            <a:solidFill>
              <a:srgbClr val="EC0000"/>
            </a:solidFill>
            <a:prstDash val="sysDash"/>
            <a:extLst>
              <a:ext uri="{C807C97D-BFC1-408E-A445-0C87EB9F89A2}">
                <ask:lineSketchStyleProps xmlns:ask="http://schemas.microsoft.com/office/drawing/2018/sketchyshapes" sd="3398701434">
                  <a:custGeom>
                    <a:avLst/>
                    <a:gdLst>
                      <a:gd name="connsiteX0" fmla="*/ 0 w 1793966"/>
                      <a:gd name="connsiteY0" fmla="*/ 0 h 5144459"/>
                      <a:gd name="connsiteX1" fmla="*/ 562109 w 1793966"/>
                      <a:gd name="connsiteY1" fmla="*/ 0 h 5144459"/>
                      <a:gd name="connsiteX2" fmla="*/ 1142158 w 1793966"/>
                      <a:gd name="connsiteY2" fmla="*/ 0 h 5144459"/>
                      <a:gd name="connsiteX3" fmla="*/ 1793966 w 1793966"/>
                      <a:gd name="connsiteY3" fmla="*/ 0 h 5144459"/>
                      <a:gd name="connsiteX4" fmla="*/ 1793966 w 1793966"/>
                      <a:gd name="connsiteY4" fmla="*/ 571607 h 5144459"/>
                      <a:gd name="connsiteX5" fmla="*/ 1793966 w 1793966"/>
                      <a:gd name="connsiteY5" fmla="*/ 1194658 h 5144459"/>
                      <a:gd name="connsiteX6" fmla="*/ 1793966 w 1793966"/>
                      <a:gd name="connsiteY6" fmla="*/ 1611930 h 5144459"/>
                      <a:gd name="connsiteX7" fmla="*/ 1793966 w 1793966"/>
                      <a:gd name="connsiteY7" fmla="*/ 2183537 h 5144459"/>
                      <a:gd name="connsiteX8" fmla="*/ 1793966 w 1793966"/>
                      <a:gd name="connsiteY8" fmla="*/ 2600810 h 5144459"/>
                      <a:gd name="connsiteX9" fmla="*/ 1793966 w 1793966"/>
                      <a:gd name="connsiteY9" fmla="*/ 3275306 h 5144459"/>
                      <a:gd name="connsiteX10" fmla="*/ 1793966 w 1793966"/>
                      <a:gd name="connsiteY10" fmla="*/ 3795468 h 5144459"/>
                      <a:gd name="connsiteX11" fmla="*/ 1793966 w 1793966"/>
                      <a:gd name="connsiteY11" fmla="*/ 4264185 h 5144459"/>
                      <a:gd name="connsiteX12" fmla="*/ 1793966 w 1793966"/>
                      <a:gd name="connsiteY12" fmla="*/ 5144459 h 5144459"/>
                      <a:gd name="connsiteX13" fmla="*/ 1195977 w 1793966"/>
                      <a:gd name="connsiteY13" fmla="*/ 5144459 h 5144459"/>
                      <a:gd name="connsiteX14" fmla="*/ 633868 w 1793966"/>
                      <a:gd name="connsiteY14" fmla="*/ 5144459 h 5144459"/>
                      <a:gd name="connsiteX15" fmla="*/ 0 w 1793966"/>
                      <a:gd name="connsiteY15" fmla="*/ 5144459 h 5144459"/>
                      <a:gd name="connsiteX16" fmla="*/ 0 w 1793966"/>
                      <a:gd name="connsiteY16" fmla="*/ 4624297 h 5144459"/>
                      <a:gd name="connsiteX17" fmla="*/ 0 w 1793966"/>
                      <a:gd name="connsiteY17" fmla="*/ 4104135 h 5144459"/>
                      <a:gd name="connsiteX18" fmla="*/ 0 w 1793966"/>
                      <a:gd name="connsiteY18" fmla="*/ 3532529 h 5144459"/>
                      <a:gd name="connsiteX19" fmla="*/ 0 w 1793966"/>
                      <a:gd name="connsiteY19" fmla="*/ 3063811 h 5144459"/>
                      <a:gd name="connsiteX20" fmla="*/ 0 w 1793966"/>
                      <a:gd name="connsiteY20" fmla="*/ 2492205 h 5144459"/>
                      <a:gd name="connsiteX21" fmla="*/ 0 w 1793966"/>
                      <a:gd name="connsiteY21" fmla="*/ 1972043 h 5144459"/>
                      <a:gd name="connsiteX22" fmla="*/ 0 w 1793966"/>
                      <a:gd name="connsiteY22" fmla="*/ 1400436 h 5144459"/>
                      <a:gd name="connsiteX23" fmla="*/ 0 w 1793966"/>
                      <a:gd name="connsiteY23" fmla="*/ 777385 h 5144459"/>
                      <a:gd name="connsiteX24" fmla="*/ 0 w 1793966"/>
                      <a:gd name="connsiteY24" fmla="*/ 0 h 514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93966" h="5144459" extrusionOk="0">
                        <a:moveTo>
                          <a:pt x="0" y="0"/>
                        </a:moveTo>
                        <a:cubicBezTo>
                          <a:pt x="260618" y="-36244"/>
                          <a:pt x="399115" y="47869"/>
                          <a:pt x="562109" y="0"/>
                        </a:cubicBezTo>
                        <a:cubicBezTo>
                          <a:pt x="725103" y="-47869"/>
                          <a:pt x="992382" y="3088"/>
                          <a:pt x="1142158" y="0"/>
                        </a:cubicBezTo>
                        <a:cubicBezTo>
                          <a:pt x="1291934" y="-3088"/>
                          <a:pt x="1523971" y="55201"/>
                          <a:pt x="1793966" y="0"/>
                        </a:cubicBezTo>
                        <a:cubicBezTo>
                          <a:pt x="1796640" y="137995"/>
                          <a:pt x="1768935" y="436563"/>
                          <a:pt x="1793966" y="571607"/>
                        </a:cubicBezTo>
                        <a:cubicBezTo>
                          <a:pt x="1818997" y="706651"/>
                          <a:pt x="1740987" y="899206"/>
                          <a:pt x="1793966" y="1194658"/>
                        </a:cubicBezTo>
                        <a:cubicBezTo>
                          <a:pt x="1846945" y="1490110"/>
                          <a:pt x="1776442" y="1452181"/>
                          <a:pt x="1793966" y="1611930"/>
                        </a:cubicBezTo>
                        <a:cubicBezTo>
                          <a:pt x="1811490" y="1771679"/>
                          <a:pt x="1730737" y="2062934"/>
                          <a:pt x="1793966" y="2183537"/>
                        </a:cubicBezTo>
                        <a:cubicBezTo>
                          <a:pt x="1857195" y="2304140"/>
                          <a:pt x="1769427" y="2470583"/>
                          <a:pt x="1793966" y="2600810"/>
                        </a:cubicBezTo>
                        <a:cubicBezTo>
                          <a:pt x="1818505" y="2731037"/>
                          <a:pt x="1768942" y="2953335"/>
                          <a:pt x="1793966" y="3275306"/>
                        </a:cubicBezTo>
                        <a:cubicBezTo>
                          <a:pt x="1818990" y="3597277"/>
                          <a:pt x="1748269" y="3683573"/>
                          <a:pt x="1793966" y="3795468"/>
                        </a:cubicBezTo>
                        <a:cubicBezTo>
                          <a:pt x="1839663" y="3907363"/>
                          <a:pt x="1768944" y="4076682"/>
                          <a:pt x="1793966" y="4264185"/>
                        </a:cubicBezTo>
                        <a:cubicBezTo>
                          <a:pt x="1818988" y="4451688"/>
                          <a:pt x="1762192" y="4743581"/>
                          <a:pt x="1793966" y="5144459"/>
                        </a:cubicBezTo>
                        <a:cubicBezTo>
                          <a:pt x="1581536" y="5201636"/>
                          <a:pt x="1384067" y="5073534"/>
                          <a:pt x="1195977" y="5144459"/>
                        </a:cubicBezTo>
                        <a:cubicBezTo>
                          <a:pt x="1007887" y="5215384"/>
                          <a:pt x="761619" y="5089680"/>
                          <a:pt x="633868" y="5144459"/>
                        </a:cubicBezTo>
                        <a:cubicBezTo>
                          <a:pt x="506117" y="5199238"/>
                          <a:pt x="316155" y="5112744"/>
                          <a:pt x="0" y="5144459"/>
                        </a:cubicBezTo>
                        <a:cubicBezTo>
                          <a:pt x="-16352" y="5028514"/>
                          <a:pt x="5089" y="4745756"/>
                          <a:pt x="0" y="4624297"/>
                        </a:cubicBezTo>
                        <a:cubicBezTo>
                          <a:pt x="-5089" y="4502838"/>
                          <a:pt x="42089" y="4259371"/>
                          <a:pt x="0" y="4104135"/>
                        </a:cubicBezTo>
                        <a:cubicBezTo>
                          <a:pt x="-42089" y="3948899"/>
                          <a:pt x="23554" y="3655535"/>
                          <a:pt x="0" y="3532529"/>
                        </a:cubicBezTo>
                        <a:cubicBezTo>
                          <a:pt x="-23554" y="3409523"/>
                          <a:pt x="17386" y="3259292"/>
                          <a:pt x="0" y="3063811"/>
                        </a:cubicBezTo>
                        <a:cubicBezTo>
                          <a:pt x="-17386" y="2868330"/>
                          <a:pt x="21895" y="2647447"/>
                          <a:pt x="0" y="2492205"/>
                        </a:cubicBezTo>
                        <a:cubicBezTo>
                          <a:pt x="-21895" y="2336963"/>
                          <a:pt x="21218" y="2210577"/>
                          <a:pt x="0" y="1972043"/>
                        </a:cubicBezTo>
                        <a:cubicBezTo>
                          <a:pt x="-21218" y="1733509"/>
                          <a:pt x="43209" y="1624025"/>
                          <a:pt x="0" y="1400436"/>
                        </a:cubicBezTo>
                        <a:cubicBezTo>
                          <a:pt x="-43209" y="1176847"/>
                          <a:pt x="14932" y="1051822"/>
                          <a:pt x="0" y="777385"/>
                        </a:cubicBezTo>
                        <a:cubicBezTo>
                          <a:pt x="-14932" y="502948"/>
                          <a:pt x="28178" y="1976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45" name="Rectángulo 44">
            <a:extLst>
              <a:ext uri="{FF2B5EF4-FFF2-40B4-BE49-F238E27FC236}">
                <a16:creationId xmlns:a16="http://schemas.microsoft.com/office/drawing/2014/main" id="{53EA7E79-6DF7-4475-C8D5-E205EA240B29}"/>
              </a:ext>
            </a:extLst>
          </p:cNvPr>
          <p:cNvSpPr/>
          <p:nvPr/>
        </p:nvSpPr>
        <p:spPr>
          <a:xfrm>
            <a:off x="6443818" y="1023421"/>
            <a:ext cx="1714682" cy="5397008"/>
          </a:xfrm>
          <a:prstGeom prst="rect">
            <a:avLst/>
          </a:prstGeom>
          <a:noFill/>
          <a:ln>
            <a:solidFill>
              <a:srgbClr val="EC0000"/>
            </a:solidFill>
            <a:prstDash val="sysDash"/>
            <a:extLst>
              <a:ext uri="{C807C97D-BFC1-408E-A445-0C87EB9F89A2}">
                <ask:lineSketchStyleProps xmlns:ask="http://schemas.microsoft.com/office/drawing/2018/sketchyshapes" sd="3398701434">
                  <a:custGeom>
                    <a:avLst/>
                    <a:gdLst>
                      <a:gd name="connsiteX0" fmla="*/ 0 w 1793966"/>
                      <a:gd name="connsiteY0" fmla="*/ 0 h 5144459"/>
                      <a:gd name="connsiteX1" fmla="*/ 562109 w 1793966"/>
                      <a:gd name="connsiteY1" fmla="*/ 0 h 5144459"/>
                      <a:gd name="connsiteX2" fmla="*/ 1142158 w 1793966"/>
                      <a:gd name="connsiteY2" fmla="*/ 0 h 5144459"/>
                      <a:gd name="connsiteX3" fmla="*/ 1793966 w 1793966"/>
                      <a:gd name="connsiteY3" fmla="*/ 0 h 5144459"/>
                      <a:gd name="connsiteX4" fmla="*/ 1793966 w 1793966"/>
                      <a:gd name="connsiteY4" fmla="*/ 571607 h 5144459"/>
                      <a:gd name="connsiteX5" fmla="*/ 1793966 w 1793966"/>
                      <a:gd name="connsiteY5" fmla="*/ 1194658 h 5144459"/>
                      <a:gd name="connsiteX6" fmla="*/ 1793966 w 1793966"/>
                      <a:gd name="connsiteY6" fmla="*/ 1611930 h 5144459"/>
                      <a:gd name="connsiteX7" fmla="*/ 1793966 w 1793966"/>
                      <a:gd name="connsiteY7" fmla="*/ 2183537 h 5144459"/>
                      <a:gd name="connsiteX8" fmla="*/ 1793966 w 1793966"/>
                      <a:gd name="connsiteY8" fmla="*/ 2600810 h 5144459"/>
                      <a:gd name="connsiteX9" fmla="*/ 1793966 w 1793966"/>
                      <a:gd name="connsiteY9" fmla="*/ 3275306 h 5144459"/>
                      <a:gd name="connsiteX10" fmla="*/ 1793966 w 1793966"/>
                      <a:gd name="connsiteY10" fmla="*/ 3795468 h 5144459"/>
                      <a:gd name="connsiteX11" fmla="*/ 1793966 w 1793966"/>
                      <a:gd name="connsiteY11" fmla="*/ 4264185 h 5144459"/>
                      <a:gd name="connsiteX12" fmla="*/ 1793966 w 1793966"/>
                      <a:gd name="connsiteY12" fmla="*/ 5144459 h 5144459"/>
                      <a:gd name="connsiteX13" fmla="*/ 1195977 w 1793966"/>
                      <a:gd name="connsiteY13" fmla="*/ 5144459 h 5144459"/>
                      <a:gd name="connsiteX14" fmla="*/ 633868 w 1793966"/>
                      <a:gd name="connsiteY14" fmla="*/ 5144459 h 5144459"/>
                      <a:gd name="connsiteX15" fmla="*/ 0 w 1793966"/>
                      <a:gd name="connsiteY15" fmla="*/ 5144459 h 5144459"/>
                      <a:gd name="connsiteX16" fmla="*/ 0 w 1793966"/>
                      <a:gd name="connsiteY16" fmla="*/ 4624297 h 5144459"/>
                      <a:gd name="connsiteX17" fmla="*/ 0 w 1793966"/>
                      <a:gd name="connsiteY17" fmla="*/ 4104135 h 5144459"/>
                      <a:gd name="connsiteX18" fmla="*/ 0 w 1793966"/>
                      <a:gd name="connsiteY18" fmla="*/ 3532529 h 5144459"/>
                      <a:gd name="connsiteX19" fmla="*/ 0 w 1793966"/>
                      <a:gd name="connsiteY19" fmla="*/ 3063811 h 5144459"/>
                      <a:gd name="connsiteX20" fmla="*/ 0 w 1793966"/>
                      <a:gd name="connsiteY20" fmla="*/ 2492205 h 5144459"/>
                      <a:gd name="connsiteX21" fmla="*/ 0 w 1793966"/>
                      <a:gd name="connsiteY21" fmla="*/ 1972043 h 5144459"/>
                      <a:gd name="connsiteX22" fmla="*/ 0 w 1793966"/>
                      <a:gd name="connsiteY22" fmla="*/ 1400436 h 5144459"/>
                      <a:gd name="connsiteX23" fmla="*/ 0 w 1793966"/>
                      <a:gd name="connsiteY23" fmla="*/ 777385 h 5144459"/>
                      <a:gd name="connsiteX24" fmla="*/ 0 w 1793966"/>
                      <a:gd name="connsiteY24" fmla="*/ 0 h 514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93966" h="5144459" extrusionOk="0">
                        <a:moveTo>
                          <a:pt x="0" y="0"/>
                        </a:moveTo>
                        <a:cubicBezTo>
                          <a:pt x="260618" y="-36244"/>
                          <a:pt x="399115" y="47869"/>
                          <a:pt x="562109" y="0"/>
                        </a:cubicBezTo>
                        <a:cubicBezTo>
                          <a:pt x="725103" y="-47869"/>
                          <a:pt x="992382" y="3088"/>
                          <a:pt x="1142158" y="0"/>
                        </a:cubicBezTo>
                        <a:cubicBezTo>
                          <a:pt x="1291934" y="-3088"/>
                          <a:pt x="1523971" y="55201"/>
                          <a:pt x="1793966" y="0"/>
                        </a:cubicBezTo>
                        <a:cubicBezTo>
                          <a:pt x="1796640" y="137995"/>
                          <a:pt x="1768935" y="436563"/>
                          <a:pt x="1793966" y="571607"/>
                        </a:cubicBezTo>
                        <a:cubicBezTo>
                          <a:pt x="1818997" y="706651"/>
                          <a:pt x="1740987" y="899206"/>
                          <a:pt x="1793966" y="1194658"/>
                        </a:cubicBezTo>
                        <a:cubicBezTo>
                          <a:pt x="1846945" y="1490110"/>
                          <a:pt x="1776442" y="1452181"/>
                          <a:pt x="1793966" y="1611930"/>
                        </a:cubicBezTo>
                        <a:cubicBezTo>
                          <a:pt x="1811490" y="1771679"/>
                          <a:pt x="1730737" y="2062934"/>
                          <a:pt x="1793966" y="2183537"/>
                        </a:cubicBezTo>
                        <a:cubicBezTo>
                          <a:pt x="1857195" y="2304140"/>
                          <a:pt x="1769427" y="2470583"/>
                          <a:pt x="1793966" y="2600810"/>
                        </a:cubicBezTo>
                        <a:cubicBezTo>
                          <a:pt x="1818505" y="2731037"/>
                          <a:pt x="1768942" y="2953335"/>
                          <a:pt x="1793966" y="3275306"/>
                        </a:cubicBezTo>
                        <a:cubicBezTo>
                          <a:pt x="1818990" y="3597277"/>
                          <a:pt x="1748269" y="3683573"/>
                          <a:pt x="1793966" y="3795468"/>
                        </a:cubicBezTo>
                        <a:cubicBezTo>
                          <a:pt x="1839663" y="3907363"/>
                          <a:pt x="1768944" y="4076682"/>
                          <a:pt x="1793966" y="4264185"/>
                        </a:cubicBezTo>
                        <a:cubicBezTo>
                          <a:pt x="1818988" y="4451688"/>
                          <a:pt x="1762192" y="4743581"/>
                          <a:pt x="1793966" y="5144459"/>
                        </a:cubicBezTo>
                        <a:cubicBezTo>
                          <a:pt x="1581536" y="5201636"/>
                          <a:pt x="1384067" y="5073534"/>
                          <a:pt x="1195977" y="5144459"/>
                        </a:cubicBezTo>
                        <a:cubicBezTo>
                          <a:pt x="1007887" y="5215384"/>
                          <a:pt x="761619" y="5089680"/>
                          <a:pt x="633868" y="5144459"/>
                        </a:cubicBezTo>
                        <a:cubicBezTo>
                          <a:pt x="506117" y="5199238"/>
                          <a:pt x="316155" y="5112744"/>
                          <a:pt x="0" y="5144459"/>
                        </a:cubicBezTo>
                        <a:cubicBezTo>
                          <a:pt x="-16352" y="5028514"/>
                          <a:pt x="5089" y="4745756"/>
                          <a:pt x="0" y="4624297"/>
                        </a:cubicBezTo>
                        <a:cubicBezTo>
                          <a:pt x="-5089" y="4502838"/>
                          <a:pt x="42089" y="4259371"/>
                          <a:pt x="0" y="4104135"/>
                        </a:cubicBezTo>
                        <a:cubicBezTo>
                          <a:pt x="-42089" y="3948899"/>
                          <a:pt x="23554" y="3655535"/>
                          <a:pt x="0" y="3532529"/>
                        </a:cubicBezTo>
                        <a:cubicBezTo>
                          <a:pt x="-23554" y="3409523"/>
                          <a:pt x="17386" y="3259292"/>
                          <a:pt x="0" y="3063811"/>
                        </a:cubicBezTo>
                        <a:cubicBezTo>
                          <a:pt x="-17386" y="2868330"/>
                          <a:pt x="21895" y="2647447"/>
                          <a:pt x="0" y="2492205"/>
                        </a:cubicBezTo>
                        <a:cubicBezTo>
                          <a:pt x="-21895" y="2336963"/>
                          <a:pt x="21218" y="2210577"/>
                          <a:pt x="0" y="1972043"/>
                        </a:cubicBezTo>
                        <a:cubicBezTo>
                          <a:pt x="-21218" y="1733509"/>
                          <a:pt x="43209" y="1624025"/>
                          <a:pt x="0" y="1400436"/>
                        </a:cubicBezTo>
                        <a:cubicBezTo>
                          <a:pt x="-43209" y="1176847"/>
                          <a:pt x="14932" y="1051822"/>
                          <a:pt x="0" y="777385"/>
                        </a:cubicBezTo>
                        <a:cubicBezTo>
                          <a:pt x="-14932" y="502948"/>
                          <a:pt x="28178" y="1976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46" name="Rectángulo 45">
            <a:extLst>
              <a:ext uri="{FF2B5EF4-FFF2-40B4-BE49-F238E27FC236}">
                <a16:creationId xmlns:a16="http://schemas.microsoft.com/office/drawing/2014/main" id="{3DF5F62C-B60E-6AB3-ED93-A8F5E7D4C819}"/>
              </a:ext>
            </a:extLst>
          </p:cNvPr>
          <p:cNvSpPr/>
          <p:nvPr/>
        </p:nvSpPr>
        <p:spPr>
          <a:xfrm>
            <a:off x="4683014" y="1029987"/>
            <a:ext cx="1714682" cy="5397008"/>
          </a:xfrm>
          <a:prstGeom prst="rect">
            <a:avLst/>
          </a:prstGeom>
          <a:noFill/>
          <a:ln>
            <a:solidFill>
              <a:srgbClr val="EC0000"/>
            </a:solidFill>
            <a:prstDash val="sysDash"/>
            <a:extLst>
              <a:ext uri="{C807C97D-BFC1-408E-A445-0C87EB9F89A2}">
                <ask:lineSketchStyleProps xmlns:ask="http://schemas.microsoft.com/office/drawing/2018/sketchyshapes" sd="3398701434">
                  <a:custGeom>
                    <a:avLst/>
                    <a:gdLst>
                      <a:gd name="connsiteX0" fmla="*/ 0 w 1793966"/>
                      <a:gd name="connsiteY0" fmla="*/ 0 h 5144459"/>
                      <a:gd name="connsiteX1" fmla="*/ 562109 w 1793966"/>
                      <a:gd name="connsiteY1" fmla="*/ 0 h 5144459"/>
                      <a:gd name="connsiteX2" fmla="*/ 1142158 w 1793966"/>
                      <a:gd name="connsiteY2" fmla="*/ 0 h 5144459"/>
                      <a:gd name="connsiteX3" fmla="*/ 1793966 w 1793966"/>
                      <a:gd name="connsiteY3" fmla="*/ 0 h 5144459"/>
                      <a:gd name="connsiteX4" fmla="*/ 1793966 w 1793966"/>
                      <a:gd name="connsiteY4" fmla="*/ 571607 h 5144459"/>
                      <a:gd name="connsiteX5" fmla="*/ 1793966 w 1793966"/>
                      <a:gd name="connsiteY5" fmla="*/ 1194658 h 5144459"/>
                      <a:gd name="connsiteX6" fmla="*/ 1793966 w 1793966"/>
                      <a:gd name="connsiteY6" fmla="*/ 1611930 h 5144459"/>
                      <a:gd name="connsiteX7" fmla="*/ 1793966 w 1793966"/>
                      <a:gd name="connsiteY7" fmla="*/ 2183537 h 5144459"/>
                      <a:gd name="connsiteX8" fmla="*/ 1793966 w 1793966"/>
                      <a:gd name="connsiteY8" fmla="*/ 2600810 h 5144459"/>
                      <a:gd name="connsiteX9" fmla="*/ 1793966 w 1793966"/>
                      <a:gd name="connsiteY9" fmla="*/ 3275306 h 5144459"/>
                      <a:gd name="connsiteX10" fmla="*/ 1793966 w 1793966"/>
                      <a:gd name="connsiteY10" fmla="*/ 3795468 h 5144459"/>
                      <a:gd name="connsiteX11" fmla="*/ 1793966 w 1793966"/>
                      <a:gd name="connsiteY11" fmla="*/ 4264185 h 5144459"/>
                      <a:gd name="connsiteX12" fmla="*/ 1793966 w 1793966"/>
                      <a:gd name="connsiteY12" fmla="*/ 5144459 h 5144459"/>
                      <a:gd name="connsiteX13" fmla="*/ 1195977 w 1793966"/>
                      <a:gd name="connsiteY13" fmla="*/ 5144459 h 5144459"/>
                      <a:gd name="connsiteX14" fmla="*/ 633868 w 1793966"/>
                      <a:gd name="connsiteY14" fmla="*/ 5144459 h 5144459"/>
                      <a:gd name="connsiteX15" fmla="*/ 0 w 1793966"/>
                      <a:gd name="connsiteY15" fmla="*/ 5144459 h 5144459"/>
                      <a:gd name="connsiteX16" fmla="*/ 0 w 1793966"/>
                      <a:gd name="connsiteY16" fmla="*/ 4624297 h 5144459"/>
                      <a:gd name="connsiteX17" fmla="*/ 0 w 1793966"/>
                      <a:gd name="connsiteY17" fmla="*/ 4104135 h 5144459"/>
                      <a:gd name="connsiteX18" fmla="*/ 0 w 1793966"/>
                      <a:gd name="connsiteY18" fmla="*/ 3532529 h 5144459"/>
                      <a:gd name="connsiteX19" fmla="*/ 0 w 1793966"/>
                      <a:gd name="connsiteY19" fmla="*/ 3063811 h 5144459"/>
                      <a:gd name="connsiteX20" fmla="*/ 0 w 1793966"/>
                      <a:gd name="connsiteY20" fmla="*/ 2492205 h 5144459"/>
                      <a:gd name="connsiteX21" fmla="*/ 0 w 1793966"/>
                      <a:gd name="connsiteY21" fmla="*/ 1972043 h 5144459"/>
                      <a:gd name="connsiteX22" fmla="*/ 0 w 1793966"/>
                      <a:gd name="connsiteY22" fmla="*/ 1400436 h 5144459"/>
                      <a:gd name="connsiteX23" fmla="*/ 0 w 1793966"/>
                      <a:gd name="connsiteY23" fmla="*/ 777385 h 5144459"/>
                      <a:gd name="connsiteX24" fmla="*/ 0 w 1793966"/>
                      <a:gd name="connsiteY24" fmla="*/ 0 h 514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93966" h="5144459" extrusionOk="0">
                        <a:moveTo>
                          <a:pt x="0" y="0"/>
                        </a:moveTo>
                        <a:cubicBezTo>
                          <a:pt x="260618" y="-36244"/>
                          <a:pt x="399115" y="47869"/>
                          <a:pt x="562109" y="0"/>
                        </a:cubicBezTo>
                        <a:cubicBezTo>
                          <a:pt x="725103" y="-47869"/>
                          <a:pt x="992382" y="3088"/>
                          <a:pt x="1142158" y="0"/>
                        </a:cubicBezTo>
                        <a:cubicBezTo>
                          <a:pt x="1291934" y="-3088"/>
                          <a:pt x="1523971" y="55201"/>
                          <a:pt x="1793966" y="0"/>
                        </a:cubicBezTo>
                        <a:cubicBezTo>
                          <a:pt x="1796640" y="137995"/>
                          <a:pt x="1768935" y="436563"/>
                          <a:pt x="1793966" y="571607"/>
                        </a:cubicBezTo>
                        <a:cubicBezTo>
                          <a:pt x="1818997" y="706651"/>
                          <a:pt x="1740987" y="899206"/>
                          <a:pt x="1793966" y="1194658"/>
                        </a:cubicBezTo>
                        <a:cubicBezTo>
                          <a:pt x="1846945" y="1490110"/>
                          <a:pt x="1776442" y="1452181"/>
                          <a:pt x="1793966" y="1611930"/>
                        </a:cubicBezTo>
                        <a:cubicBezTo>
                          <a:pt x="1811490" y="1771679"/>
                          <a:pt x="1730737" y="2062934"/>
                          <a:pt x="1793966" y="2183537"/>
                        </a:cubicBezTo>
                        <a:cubicBezTo>
                          <a:pt x="1857195" y="2304140"/>
                          <a:pt x="1769427" y="2470583"/>
                          <a:pt x="1793966" y="2600810"/>
                        </a:cubicBezTo>
                        <a:cubicBezTo>
                          <a:pt x="1818505" y="2731037"/>
                          <a:pt x="1768942" y="2953335"/>
                          <a:pt x="1793966" y="3275306"/>
                        </a:cubicBezTo>
                        <a:cubicBezTo>
                          <a:pt x="1818990" y="3597277"/>
                          <a:pt x="1748269" y="3683573"/>
                          <a:pt x="1793966" y="3795468"/>
                        </a:cubicBezTo>
                        <a:cubicBezTo>
                          <a:pt x="1839663" y="3907363"/>
                          <a:pt x="1768944" y="4076682"/>
                          <a:pt x="1793966" y="4264185"/>
                        </a:cubicBezTo>
                        <a:cubicBezTo>
                          <a:pt x="1818988" y="4451688"/>
                          <a:pt x="1762192" y="4743581"/>
                          <a:pt x="1793966" y="5144459"/>
                        </a:cubicBezTo>
                        <a:cubicBezTo>
                          <a:pt x="1581536" y="5201636"/>
                          <a:pt x="1384067" y="5073534"/>
                          <a:pt x="1195977" y="5144459"/>
                        </a:cubicBezTo>
                        <a:cubicBezTo>
                          <a:pt x="1007887" y="5215384"/>
                          <a:pt x="761619" y="5089680"/>
                          <a:pt x="633868" y="5144459"/>
                        </a:cubicBezTo>
                        <a:cubicBezTo>
                          <a:pt x="506117" y="5199238"/>
                          <a:pt x="316155" y="5112744"/>
                          <a:pt x="0" y="5144459"/>
                        </a:cubicBezTo>
                        <a:cubicBezTo>
                          <a:pt x="-16352" y="5028514"/>
                          <a:pt x="5089" y="4745756"/>
                          <a:pt x="0" y="4624297"/>
                        </a:cubicBezTo>
                        <a:cubicBezTo>
                          <a:pt x="-5089" y="4502838"/>
                          <a:pt x="42089" y="4259371"/>
                          <a:pt x="0" y="4104135"/>
                        </a:cubicBezTo>
                        <a:cubicBezTo>
                          <a:pt x="-42089" y="3948899"/>
                          <a:pt x="23554" y="3655535"/>
                          <a:pt x="0" y="3532529"/>
                        </a:cubicBezTo>
                        <a:cubicBezTo>
                          <a:pt x="-23554" y="3409523"/>
                          <a:pt x="17386" y="3259292"/>
                          <a:pt x="0" y="3063811"/>
                        </a:cubicBezTo>
                        <a:cubicBezTo>
                          <a:pt x="-17386" y="2868330"/>
                          <a:pt x="21895" y="2647447"/>
                          <a:pt x="0" y="2492205"/>
                        </a:cubicBezTo>
                        <a:cubicBezTo>
                          <a:pt x="-21895" y="2336963"/>
                          <a:pt x="21218" y="2210577"/>
                          <a:pt x="0" y="1972043"/>
                        </a:cubicBezTo>
                        <a:cubicBezTo>
                          <a:pt x="-21218" y="1733509"/>
                          <a:pt x="43209" y="1624025"/>
                          <a:pt x="0" y="1400436"/>
                        </a:cubicBezTo>
                        <a:cubicBezTo>
                          <a:pt x="-43209" y="1176847"/>
                          <a:pt x="14932" y="1051822"/>
                          <a:pt x="0" y="777385"/>
                        </a:cubicBezTo>
                        <a:cubicBezTo>
                          <a:pt x="-14932" y="502948"/>
                          <a:pt x="28178" y="1976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47" name="Rectángulo 46">
            <a:extLst>
              <a:ext uri="{FF2B5EF4-FFF2-40B4-BE49-F238E27FC236}">
                <a16:creationId xmlns:a16="http://schemas.microsoft.com/office/drawing/2014/main" id="{D15B6CF5-950F-7EE1-F323-005271FCDF75}"/>
              </a:ext>
            </a:extLst>
          </p:cNvPr>
          <p:cNvSpPr/>
          <p:nvPr/>
        </p:nvSpPr>
        <p:spPr>
          <a:xfrm>
            <a:off x="2919633" y="1023421"/>
            <a:ext cx="1714682" cy="5397008"/>
          </a:xfrm>
          <a:prstGeom prst="rect">
            <a:avLst/>
          </a:prstGeom>
          <a:noFill/>
          <a:ln>
            <a:solidFill>
              <a:srgbClr val="EC0000"/>
            </a:solidFill>
            <a:prstDash val="sysDash"/>
            <a:extLst>
              <a:ext uri="{C807C97D-BFC1-408E-A445-0C87EB9F89A2}">
                <ask:lineSketchStyleProps xmlns:ask="http://schemas.microsoft.com/office/drawing/2018/sketchyshapes" sd="3398701434">
                  <a:custGeom>
                    <a:avLst/>
                    <a:gdLst>
                      <a:gd name="connsiteX0" fmla="*/ 0 w 1793966"/>
                      <a:gd name="connsiteY0" fmla="*/ 0 h 5144459"/>
                      <a:gd name="connsiteX1" fmla="*/ 562109 w 1793966"/>
                      <a:gd name="connsiteY1" fmla="*/ 0 h 5144459"/>
                      <a:gd name="connsiteX2" fmla="*/ 1142158 w 1793966"/>
                      <a:gd name="connsiteY2" fmla="*/ 0 h 5144459"/>
                      <a:gd name="connsiteX3" fmla="*/ 1793966 w 1793966"/>
                      <a:gd name="connsiteY3" fmla="*/ 0 h 5144459"/>
                      <a:gd name="connsiteX4" fmla="*/ 1793966 w 1793966"/>
                      <a:gd name="connsiteY4" fmla="*/ 571607 h 5144459"/>
                      <a:gd name="connsiteX5" fmla="*/ 1793966 w 1793966"/>
                      <a:gd name="connsiteY5" fmla="*/ 1194658 h 5144459"/>
                      <a:gd name="connsiteX6" fmla="*/ 1793966 w 1793966"/>
                      <a:gd name="connsiteY6" fmla="*/ 1611930 h 5144459"/>
                      <a:gd name="connsiteX7" fmla="*/ 1793966 w 1793966"/>
                      <a:gd name="connsiteY7" fmla="*/ 2183537 h 5144459"/>
                      <a:gd name="connsiteX8" fmla="*/ 1793966 w 1793966"/>
                      <a:gd name="connsiteY8" fmla="*/ 2600810 h 5144459"/>
                      <a:gd name="connsiteX9" fmla="*/ 1793966 w 1793966"/>
                      <a:gd name="connsiteY9" fmla="*/ 3275306 h 5144459"/>
                      <a:gd name="connsiteX10" fmla="*/ 1793966 w 1793966"/>
                      <a:gd name="connsiteY10" fmla="*/ 3795468 h 5144459"/>
                      <a:gd name="connsiteX11" fmla="*/ 1793966 w 1793966"/>
                      <a:gd name="connsiteY11" fmla="*/ 4264185 h 5144459"/>
                      <a:gd name="connsiteX12" fmla="*/ 1793966 w 1793966"/>
                      <a:gd name="connsiteY12" fmla="*/ 5144459 h 5144459"/>
                      <a:gd name="connsiteX13" fmla="*/ 1195977 w 1793966"/>
                      <a:gd name="connsiteY13" fmla="*/ 5144459 h 5144459"/>
                      <a:gd name="connsiteX14" fmla="*/ 633868 w 1793966"/>
                      <a:gd name="connsiteY14" fmla="*/ 5144459 h 5144459"/>
                      <a:gd name="connsiteX15" fmla="*/ 0 w 1793966"/>
                      <a:gd name="connsiteY15" fmla="*/ 5144459 h 5144459"/>
                      <a:gd name="connsiteX16" fmla="*/ 0 w 1793966"/>
                      <a:gd name="connsiteY16" fmla="*/ 4624297 h 5144459"/>
                      <a:gd name="connsiteX17" fmla="*/ 0 w 1793966"/>
                      <a:gd name="connsiteY17" fmla="*/ 4104135 h 5144459"/>
                      <a:gd name="connsiteX18" fmla="*/ 0 w 1793966"/>
                      <a:gd name="connsiteY18" fmla="*/ 3532529 h 5144459"/>
                      <a:gd name="connsiteX19" fmla="*/ 0 w 1793966"/>
                      <a:gd name="connsiteY19" fmla="*/ 3063811 h 5144459"/>
                      <a:gd name="connsiteX20" fmla="*/ 0 w 1793966"/>
                      <a:gd name="connsiteY20" fmla="*/ 2492205 h 5144459"/>
                      <a:gd name="connsiteX21" fmla="*/ 0 w 1793966"/>
                      <a:gd name="connsiteY21" fmla="*/ 1972043 h 5144459"/>
                      <a:gd name="connsiteX22" fmla="*/ 0 w 1793966"/>
                      <a:gd name="connsiteY22" fmla="*/ 1400436 h 5144459"/>
                      <a:gd name="connsiteX23" fmla="*/ 0 w 1793966"/>
                      <a:gd name="connsiteY23" fmla="*/ 777385 h 5144459"/>
                      <a:gd name="connsiteX24" fmla="*/ 0 w 1793966"/>
                      <a:gd name="connsiteY24" fmla="*/ 0 h 514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93966" h="5144459" extrusionOk="0">
                        <a:moveTo>
                          <a:pt x="0" y="0"/>
                        </a:moveTo>
                        <a:cubicBezTo>
                          <a:pt x="260618" y="-36244"/>
                          <a:pt x="399115" y="47869"/>
                          <a:pt x="562109" y="0"/>
                        </a:cubicBezTo>
                        <a:cubicBezTo>
                          <a:pt x="725103" y="-47869"/>
                          <a:pt x="992382" y="3088"/>
                          <a:pt x="1142158" y="0"/>
                        </a:cubicBezTo>
                        <a:cubicBezTo>
                          <a:pt x="1291934" y="-3088"/>
                          <a:pt x="1523971" y="55201"/>
                          <a:pt x="1793966" y="0"/>
                        </a:cubicBezTo>
                        <a:cubicBezTo>
                          <a:pt x="1796640" y="137995"/>
                          <a:pt x="1768935" y="436563"/>
                          <a:pt x="1793966" y="571607"/>
                        </a:cubicBezTo>
                        <a:cubicBezTo>
                          <a:pt x="1818997" y="706651"/>
                          <a:pt x="1740987" y="899206"/>
                          <a:pt x="1793966" y="1194658"/>
                        </a:cubicBezTo>
                        <a:cubicBezTo>
                          <a:pt x="1846945" y="1490110"/>
                          <a:pt x="1776442" y="1452181"/>
                          <a:pt x="1793966" y="1611930"/>
                        </a:cubicBezTo>
                        <a:cubicBezTo>
                          <a:pt x="1811490" y="1771679"/>
                          <a:pt x="1730737" y="2062934"/>
                          <a:pt x="1793966" y="2183537"/>
                        </a:cubicBezTo>
                        <a:cubicBezTo>
                          <a:pt x="1857195" y="2304140"/>
                          <a:pt x="1769427" y="2470583"/>
                          <a:pt x="1793966" y="2600810"/>
                        </a:cubicBezTo>
                        <a:cubicBezTo>
                          <a:pt x="1818505" y="2731037"/>
                          <a:pt x="1768942" y="2953335"/>
                          <a:pt x="1793966" y="3275306"/>
                        </a:cubicBezTo>
                        <a:cubicBezTo>
                          <a:pt x="1818990" y="3597277"/>
                          <a:pt x="1748269" y="3683573"/>
                          <a:pt x="1793966" y="3795468"/>
                        </a:cubicBezTo>
                        <a:cubicBezTo>
                          <a:pt x="1839663" y="3907363"/>
                          <a:pt x="1768944" y="4076682"/>
                          <a:pt x="1793966" y="4264185"/>
                        </a:cubicBezTo>
                        <a:cubicBezTo>
                          <a:pt x="1818988" y="4451688"/>
                          <a:pt x="1762192" y="4743581"/>
                          <a:pt x="1793966" y="5144459"/>
                        </a:cubicBezTo>
                        <a:cubicBezTo>
                          <a:pt x="1581536" y="5201636"/>
                          <a:pt x="1384067" y="5073534"/>
                          <a:pt x="1195977" y="5144459"/>
                        </a:cubicBezTo>
                        <a:cubicBezTo>
                          <a:pt x="1007887" y="5215384"/>
                          <a:pt x="761619" y="5089680"/>
                          <a:pt x="633868" y="5144459"/>
                        </a:cubicBezTo>
                        <a:cubicBezTo>
                          <a:pt x="506117" y="5199238"/>
                          <a:pt x="316155" y="5112744"/>
                          <a:pt x="0" y="5144459"/>
                        </a:cubicBezTo>
                        <a:cubicBezTo>
                          <a:pt x="-16352" y="5028514"/>
                          <a:pt x="5089" y="4745756"/>
                          <a:pt x="0" y="4624297"/>
                        </a:cubicBezTo>
                        <a:cubicBezTo>
                          <a:pt x="-5089" y="4502838"/>
                          <a:pt x="42089" y="4259371"/>
                          <a:pt x="0" y="4104135"/>
                        </a:cubicBezTo>
                        <a:cubicBezTo>
                          <a:pt x="-42089" y="3948899"/>
                          <a:pt x="23554" y="3655535"/>
                          <a:pt x="0" y="3532529"/>
                        </a:cubicBezTo>
                        <a:cubicBezTo>
                          <a:pt x="-23554" y="3409523"/>
                          <a:pt x="17386" y="3259292"/>
                          <a:pt x="0" y="3063811"/>
                        </a:cubicBezTo>
                        <a:cubicBezTo>
                          <a:pt x="-17386" y="2868330"/>
                          <a:pt x="21895" y="2647447"/>
                          <a:pt x="0" y="2492205"/>
                        </a:cubicBezTo>
                        <a:cubicBezTo>
                          <a:pt x="-21895" y="2336963"/>
                          <a:pt x="21218" y="2210577"/>
                          <a:pt x="0" y="1972043"/>
                        </a:cubicBezTo>
                        <a:cubicBezTo>
                          <a:pt x="-21218" y="1733509"/>
                          <a:pt x="43209" y="1624025"/>
                          <a:pt x="0" y="1400436"/>
                        </a:cubicBezTo>
                        <a:cubicBezTo>
                          <a:pt x="-43209" y="1176847"/>
                          <a:pt x="14932" y="1051822"/>
                          <a:pt x="0" y="777385"/>
                        </a:cubicBezTo>
                        <a:cubicBezTo>
                          <a:pt x="-14932" y="502948"/>
                          <a:pt x="28178" y="1976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48" name="Rectángulo 47">
            <a:extLst>
              <a:ext uri="{FF2B5EF4-FFF2-40B4-BE49-F238E27FC236}">
                <a16:creationId xmlns:a16="http://schemas.microsoft.com/office/drawing/2014/main" id="{E55DA59A-3413-FA05-4A30-A0E0C2F2F284}"/>
              </a:ext>
            </a:extLst>
          </p:cNvPr>
          <p:cNvSpPr/>
          <p:nvPr/>
        </p:nvSpPr>
        <p:spPr>
          <a:xfrm>
            <a:off x="1026762" y="1023421"/>
            <a:ext cx="1843905" cy="5397008"/>
          </a:xfrm>
          <a:prstGeom prst="rect">
            <a:avLst/>
          </a:prstGeom>
          <a:noFill/>
          <a:ln>
            <a:solidFill>
              <a:srgbClr val="EC0000"/>
            </a:solidFill>
            <a:prstDash val="sysDash"/>
            <a:extLst>
              <a:ext uri="{C807C97D-BFC1-408E-A445-0C87EB9F89A2}">
                <ask:lineSketchStyleProps xmlns:ask="http://schemas.microsoft.com/office/drawing/2018/sketchyshapes" sd="3398701434">
                  <a:custGeom>
                    <a:avLst/>
                    <a:gdLst>
                      <a:gd name="connsiteX0" fmla="*/ 0 w 1793966"/>
                      <a:gd name="connsiteY0" fmla="*/ 0 h 5144459"/>
                      <a:gd name="connsiteX1" fmla="*/ 562109 w 1793966"/>
                      <a:gd name="connsiteY1" fmla="*/ 0 h 5144459"/>
                      <a:gd name="connsiteX2" fmla="*/ 1142158 w 1793966"/>
                      <a:gd name="connsiteY2" fmla="*/ 0 h 5144459"/>
                      <a:gd name="connsiteX3" fmla="*/ 1793966 w 1793966"/>
                      <a:gd name="connsiteY3" fmla="*/ 0 h 5144459"/>
                      <a:gd name="connsiteX4" fmla="*/ 1793966 w 1793966"/>
                      <a:gd name="connsiteY4" fmla="*/ 571607 h 5144459"/>
                      <a:gd name="connsiteX5" fmla="*/ 1793966 w 1793966"/>
                      <a:gd name="connsiteY5" fmla="*/ 1194658 h 5144459"/>
                      <a:gd name="connsiteX6" fmla="*/ 1793966 w 1793966"/>
                      <a:gd name="connsiteY6" fmla="*/ 1611930 h 5144459"/>
                      <a:gd name="connsiteX7" fmla="*/ 1793966 w 1793966"/>
                      <a:gd name="connsiteY7" fmla="*/ 2183537 h 5144459"/>
                      <a:gd name="connsiteX8" fmla="*/ 1793966 w 1793966"/>
                      <a:gd name="connsiteY8" fmla="*/ 2600810 h 5144459"/>
                      <a:gd name="connsiteX9" fmla="*/ 1793966 w 1793966"/>
                      <a:gd name="connsiteY9" fmla="*/ 3275306 h 5144459"/>
                      <a:gd name="connsiteX10" fmla="*/ 1793966 w 1793966"/>
                      <a:gd name="connsiteY10" fmla="*/ 3795468 h 5144459"/>
                      <a:gd name="connsiteX11" fmla="*/ 1793966 w 1793966"/>
                      <a:gd name="connsiteY11" fmla="*/ 4264185 h 5144459"/>
                      <a:gd name="connsiteX12" fmla="*/ 1793966 w 1793966"/>
                      <a:gd name="connsiteY12" fmla="*/ 5144459 h 5144459"/>
                      <a:gd name="connsiteX13" fmla="*/ 1195977 w 1793966"/>
                      <a:gd name="connsiteY13" fmla="*/ 5144459 h 5144459"/>
                      <a:gd name="connsiteX14" fmla="*/ 633868 w 1793966"/>
                      <a:gd name="connsiteY14" fmla="*/ 5144459 h 5144459"/>
                      <a:gd name="connsiteX15" fmla="*/ 0 w 1793966"/>
                      <a:gd name="connsiteY15" fmla="*/ 5144459 h 5144459"/>
                      <a:gd name="connsiteX16" fmla="*/ 0 w 1793966"/>
                      <a:gd name="connsiteY16" fmla="*/ 4624297 h 5144459"/>
                      <a:gd name="connsiteX17" fmla="*/ 0 w 1793966"/>
                      <a:gd name="connsiteY17" fmla="*/ 4104135 h 5144459"/>
                      <a:gd name="connsiteX18" fmla="*/ 0 w 1793966"/>
                      <a:gd name="connsiteY18" fmla="*/ 3532529 h 5144459"/>
                      <a:gd name="connsiteX19" fmla="*/ 0 w 1793966"/>
                      <a:gd name="connsiteY19" fmla="*/ 3063811 h 5144459"/>
                      <a:gd name="connsiteX20" fmla="*/ 0 w 1793966"/>
                      <a:gd name="connsiteY20" fmla="*/ 2492205 h 5144459"/>
                      <a:gd name="connsiteX21" fmla="*/ 0 w 1793966"/>
                      <a:gd name="connsiteY21" fmla="*/ 1972043 h 5144459"/>
                      <a:gd name="connsiteX22" fmla="*/ 0 w 1793966"/>
                      <a:gd name="connsiteY22" fmla="*/ 1400436 h 5144459"/>
                      <a:gd name="connsiteX23" fmla="*/ 0 w 1793966"/>
                      <a:gd name="connsiteY23" fmla="*/ 777385 h 5144459"/>
                      <a:gd name="connsiteX24" fmla="*/ 0 w 1793966"/>
                      <a:gd name="connsiteY24" fmla="*/ 0 h 514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93966" h="5144459" extrusionOk="0">
                        <a:moveTo>
                          <a:pt x="0" y="0"/>
                        </a:moveTo>
                        <a:cubicBezTo>
                          <a:pt x="260618" y="-36244"/>
                          <a:pt x="399115" y="47869"/>
                          <a:pt x="562109" y="0"/>
                        </a:cubicBezTo>
                        <a:cubicBezTo>
                          <a:pt x="725103" y="-47869"/>
                          <a:pt x="992382" y="3088"/>
                          <a:pt x="1142158" y="0"/>
                        </a:cubicBezTo>
                        <a:cubicBezTo>
                          <a:pt x="1291934" y="-3088"/>
                          <a:pt x="1523971" y="55201"/>
                          <a:pt x="1793966" y="0"/>
                        </a:cubicBezTo>
                        <a:cubicBezTo>
                          <a:pt x="1796640" y="137995"/>
                          <a:pt x="1768935" y="436563"/>
                          <a:pt x="1793966" y="571607"/>
                        </a:cubicBezTo>
                        <a:cubicBezTo>
                          <a:pt x="1818997" y="706651"/>
                          <a:pt x="1740987" y="899206"/>
                          <a:pt x="1793966" y="1194658"/>
                        </a:cubicBezTo>
                        <a:cubicBezTo>
                          <a:pt x="1846945" y="1490110"/>
                          <a:pt x="1776442" y="1452181"/>
                          <a:pt x="1793966" y="1611930"/>
                        </a:cubicBezTo>
                        <a:cubicBezTo>
                          <a:pt x="1811490" y="1771679"/>
                          <a:pt x="1730737" y="2062934"/>
                          <a:pt x="1793966" y="2183537"/>
                        </a:cubicBezTo>
                        <a:cubicBezTo>
                          <a:pt x="1857195" y="2304140"/>
                          <a:pt x="1769427" y="2470583"/>
                          <a:pt x="1793966" y="2600810"/>
                        </a:cubicBezTo>
                        <a:cubicBezTo>
                          <a:pt x="1818505" y="2731037"/>
                          <a:pt x="1768942" y="2953335"/>
                          <a:pt x="1793966" y="3275306"/>
                        </a:cubicBezTo>
                        <a:cubicBezTo>
                          <a:pt x="1818990" y="3597277"/>
                          <a:pt x="1748269" y="3683573"/>
                          <a:pt x="1793966" y="3795468"/>
                        </a:cubicBezTo>
                        <a:cubicBezTo>
                          <a:pt x="1839663" y="3907363"/>
                          <a:pt x="1768944" y="4076682"/>
                          <a:pt x="1793966" y="4264185"/>
                        </a:cubicBezTo>
                        <a:cubicBezTo>
                          <a:pt x="1818988" y="4451688"/>
                          <a:pt x="1762192" y="4743581"/>
                          <a:pt x="1793966" y="5144459"/>
                        </a:cubicBezTo>
                        <a:cubicBezTo>
                          <a:pt x="1581536" y="5201636"/>
                          <a:pt x="1384067" y="5073534"/>
                          <a:pt x="1195977" y="5144459"/>
                        </a:cubicBezTo>
                        <a:cubicBezTo>
                          <a:pt x="1007887" y="5215384"/>
                          <a:pt x="761619" y="5089680"/>
                          <a:pt x="633868" y="5144459"/>
                        </a:cubicBezTo>
                        <a:cubicBezTo>
                          <a:pt x="506117" y="5199238"/>
                          <a:pt x="316155" y="5112744"/>
                          <a:pt x="0" y="5144459"/>
                        </a:cubicBezTo>
                        <a:cubicBezTo>
                          <a:pt x="-16352" y="5028514"/>
                          <a:pt x="5089" y="4745756"/>
                          <a:pt x="0" y="4624297"/>
                        </a:cubicBezTo>
                        <a:cubicBezTo>
                          <a:pt x="-5089" y="4502838"/>
                          <a:pt x="42089" y="4259371"/>
                          <a:pt x="0" y="4104135"/>
                        </a:cubicBezTo>
                        <a:cubicBezTo>
                          <a:pt x="-42089" y="3948899"/>
                          <a:pt x="23554" y="3655535"/>
                          <a:pt x="0" y="3532529"/>
                        </a:cubicBezTo>
                        <a:cubicBezTo>
                          <a:pt x="-23554" y="3409523"/>
                          <a:pt x="17386" y="3259292"/>
                          <a:pt x="0" y="3063811"/>
                        </a:cubicBezTo>
                        <a:cubicBezTo>
                          <a:pt x="-17386" y="2868330"/>
                          <a:pt x="21895" y="2647447"/>
                          <a:pt x="0" y="2492205"/>
                        </a:cubicBezTo>
                        <a:cubicBezTo>
                          <a:pt x="-21895" y="2336963"/>
                          <a:pt x="21218" y="2210577"/>
                          <a:pt x="0" y="1972043"/>
                        </a:cubicBezTo>
                        <a:cubicBezTo>
                          <a:pt x="-21218" y="1733509"/>
                          <a:pt x="43209" y="1624025"/>
                          <a:pt x="0" y="1400436"/>
                        </a:cubicBezTo>
                        <a:cubicBezTo>
                          <a:pt x="-43209" y="1176847"/>
                          <a:pt x="14932" y="1051822"/>
                          <a:pt x="0" y="777385"/>
                        </a:cubicBezTo>
                        <a:cubicBezTo>
                          <a:pt x="-14932" y="502948"/>
                          <a:pt x="28178" y="197622"/>
                          <a:pt x="0" y="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55" name="Diagrama de flujo: proceso alternativo 54">
            <a:extLst>
              <a:ext uri="{FF2B5EF4-FFF2-40B4-BE49-F238E27FC236}">
                <a16:creationId xmlns:a16="http://schemas.microsoft.com/office/drawing/2014/main" id="{2F82EDC4-7960-15A8-7CA1-2A9E940F207C}"/>
              </a:ext>
            </a:extLst>
          </p:cNvPr>
          <p:cNvSpPr/>
          <p:nvPr/>
        </p:nvSpPr>
        <p:spPr>
          <a:xfrm rot="16200000">
            <a:off x="114864" y="4362564"/>
            <a:ext cx="979447" cy="266361"/>
          </a:xfrm>
          <a:prstGeom prst="flowChartAlternate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050" b="1"/>
              <a:t>ACTIVIDADES</a:t>
            </a:r>
          </a:p>
        </p:txBody>
      </p:sp>
      <p:pic>
        <p:nvPicPr>
          <p:cNvPr id="2" name="Picture 6" descr="Jira Logo : histoire, signification de l'emblème">
            <a:extLst>
              <a:ext uri="{FF2B5EF4-FFF2-40B4-BE49-F238E27FC236}">
                <a16:creationId xmlns:a16="http://schemas.microsoft.com/office/drawing/2014/main" id="{645AD35B-4D78-1050-60E8-AF69E03797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23311" y="966610"/>
            <a:ext cx="1092290" cy="61441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Xray Test Management">
            <a:extLst>
              <a:ext uri="{FF2B5EF4-FFF2-40B4-BE49-F238E27FC236}">
                <a16:creationId xmlns:a16="http://schemas.microsoft.com/office/drawing/2014/main" id="{6EF1EE13-8DEF-545E-1291-8617C48AC45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3061" t="2707" r="20823"/>
          <a:stretch>
            <a:fillRect/>
          </a:stretch>
        </p:blipFill>
        <p:spPr bwMode="auto">
          <a:xfrm>
            <a:off x="4874612" y="1371446"/>
            <a:ext cx="693721" cy="34963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Jira Logo : histoire, signification de l'emblème">
            <a:extLst>
              <a:ext uri="{FF2B5EF4-FFF2-40B4-BE49-F238E27FC236}">
                <a16:creationId xmlns:a16="http://schemas.microsoft.com/office/drawing/2014/main" id="{FB303F1D-BA85-88AF-555D-51C2BE8353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50393" y="966609"/>
            <a:ext cx="1092290" cy="61441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Jira Logo : histoire, signification de l'emblème">
            <a:extLst>
              <a:ext uri="{FF2B5EF4-FFF2-40B4-BE49-F238E27FC236}">
                <a16:creationId xmlns:a16="http://schemas.microsoft.com/office/drawing/2014/main" id="{727F8884-F306-8475-8FB8-25D4A9C15D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67305" y="990972"/>
            <a:ext cx="1092290" cy="61441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Jira Logo : histoire, signification de l'emblème">
            <a:extLst>
              <a:ext uri="{FF2B5EF4-FFF2-40B4-BE49-F238E27FC236}">
                <a16:creationId xmlns:a16="http://schemas.microsoft.com/office/drawing/2014/main" id="{E598E805-00F8-C008-4C6E-36FCFCD622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13290" y="955524"/>
            <a:ext cx="1092290" cy="61441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Jira Logo : histoire, signification de l'emblème">
            <a:extLst>
              <a:ext uri="{FF2B5EF4-FFF2-40B4-BE49-F238E27FC236}">
                <a16:creationId xmlns:a16="http://schemas.microsoft.com/office/drawing/2014/main" id="{2A3D8D61-0059-932C-E19B-E2533203E8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47232" y="1018860"/>
            <a:ext cx="1092290" cy="6144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Xray Test Management">
            <a:extLst>
              <a:ext uri="{FF2B5EF4-FFF2-40B4-BE49-F238E27FC236}">
                <a16:creationId xmlns:a16="http://schemas.microsoft.com/office/drawing/2014/main" id="{6B166E2C-D437-635C-32FF-5E1FEFDA26B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3061" t="2707" r="20823"/>
          <a:stretch>
            <a:fillRect/>
          </a:stretch>
        </p:blipFill>
        <p:spPr bwMode="auto">
          <a:xfrm>
            <a:off x="10422989" y="1393851"/>
            <a:ext cx="693721" cy="34963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4" descr="Confluence | Dokumenthanteringssystem, omdömen | businesswith.se">
            <a:extLst>
              <a:ext uri="{FF2B5EF4-FFF2-40B4-BE49-F238E27FC236}">
                <a16:creationId xmlns:a16="http://schemas.microsoft.com/office/drawing/2014/main" id="{7735428B-1977-85BB-2AC1-BF096E0132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06098" y="1310848"/>
            <a:ext cx="928500" cy="46425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4" descr="Confluence | Dokumenthanteringssystem, omdömen | businesswith.se">
            <a:extLst>
              <a:ext uri="{FF2B5EF4-FFF2-40B4-BE49-F238E27FC236}">
                <a16:creationId xmlns:a16="http://schemas.microsoft.com/office/drawing/2014/main" id="{96792CAF-7C2B-C991-C504-1ACBFFD2C9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61129" y="1273815"/>
            <a:ext cx="928500" cy="46425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4" descr="Confluence | Dokumenthanteringssystem, omdömen | businesswith.se">
            <a:extLst>
              <a:ext uri="{FF2B5EF4-FFF2-40B4-BE49-F238E27FC236}">
                <a16:creationId xmlns:a16="http://schemas.microsoft.com/office/drawing/2014/main" id="{59B8259E-A56A-3EC0-AE00-AED1C53A556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98584" y="1523715"/>
            <a:ext cx="928500" cy="46425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4" descr="Confluence | Dokumenthanteringssystem, omdömen | businesswith.se">
            <a:extLst>
              <a:ext uri="{FF2B5EF4-FFF2-40B4-BE49-F238E27FC236}">
                <a16:creationId xmlns:a16="http://schemas.microsoft.com/office/drawing/2014/main" id="{7219CD3D-C988-D202-BF69-DAC16CD856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47232" y="1554214"/>
            <a:ext cx="928500" cy="46425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2" descr="How to make requests in python">
            <a:extLst>
              <a:ext uri="{FF2B5EF4-FFF2-40B4-BE49-F238E27FC236}">
                <a16:creationId xmlns:a16="http://schemas.microsoft.com/office/drawing/2014/main" id="{8A1445DF-0A9E-F71A-A45A-51EA9CE1401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67812" y="1940484"/>
            <a:ext cx="232119" cy="29764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8" descr="Selenium Overview | Selenium">
            <a:extLst>
              <a:ext uri="{FF2B5EF4-FFF2-40B4-BE49-F238E27FC236}">
                <a16:creationId xmlns:a16="http://schemas.microsoft.com/office/drawing/2014/main" id="{0E285C10-5C6B-90AB-CBFC-D3610D0C4F9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7773"/>
          <a:stretch>
            <a:fillRect/>
          </a:stretch>
        </p:blipFill>
        <p:spPr bwMode="auto">
          <a:xfrm>
            <a:off x="5257356" y="1925993"/>
            <a:ext cx="653103" cy="14882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0" descr="Appium Documentation - Appium Documentation">
            <a:extLst>
              <a:ext uri="{FF2B5EF4-FFF2-40B4-BE49-F238E27FC236}">
                <a16:creationId xmlns:a16="http://schemas.microsoft.com/office/drawing/2014/main" id="{6A58355D-987A-B1CF-ACF4-105E5CEBB7B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83907" y="2130723"/>
            <a:ext cx="693120" cy="14882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6" descr="Knowledge Base | Comprehensive Guides on Legacy and Emerging Technologies">
            <a:extLst>
              <a:ext uri="{FF2B5EF4-FFF2-40B4-BE49-F238E27FC236}">
                <a16:creationId xmlns:a16="http://schemas.microsoft.com/office/drawing/2014/main" id="{0F34E9DB-46B4-0A94-E1A7-800483DED8C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32077" y="1726731"/>
            <a:ext cx="297642" cy="29764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Logo Visual Studio Code – Logos PNG">
            <a:extLst>
              <a:ext uri="{FF2B5EF4-FFF2-40B4-BE49-F238E27FC236}">
                <a16:creationId xmlns:a16="http://schemas.microsoft.com/office/drawing/2014/main" id="{A7AE7122-D740-28A7-A51A-BD3508ABF6F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22284" y="1378359"/>
            <a:ext cx="297642" cy="29764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Xray Test Management">
            <a:extLst>
              <a:ext uri="{FF2B5EF4-FFF2-40B4-BE49-F238E27FC236}">
                <a16:creationId xmlns:a16="http://schemas.microsoft.com/office/drawing/2014/main" id="{72D55666-A40B-F00F-0145-CDD2E297CB0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3061" t="2707" r="20823"/>
          <a:stretch>
            <a:fillRect/>
          </a:stretch>
        </p:blipFill>
        <p:spPr bwMode="auto">
          <a:xfrm>
            <a:off x="6644444" y="1411648"/>
            <a:ext cx="693721" cy="34963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descr="Confluence | Dokumenthanteringssystem, omdömen | businesswith.se">
            <a:extLst>
              <a:ext uri="{FF2B5EF4-FFF2-40B4-BE49-F238E27FC236}">
                <a16:creationId xmlns:a16="http://schemas.microsoft.com/office/drawing/2014/main" id="{31B3B806-8B7A-6955-DD3A-E23AA957C45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68416" y="1563917"/>
            <a:ext cx="928500" cy="46425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2" descr="How to make requests in python">
            <a:extLst>
              <a:ext uri="{FF2B5EF4-FFF2-40B4-BE49-F238E27FC236}">
                <a16:creationId xmlns:a16="http://schemas.microsoft.com/office/drawing/2014/main" id="{AA24D25A-25F5-BE9F-E460-4DA2954198B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37644" y="1980686"/>
            <a:ext cx="232119" cy="297642"/>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8" descr="Selenium Overview | Selenium">
            <a:extLst>
              <a:ext uri="{FF2B5EF4-FFF2-40B4-BE49-F238E27FC236}">
                <a16:creationId xmlns:a16="http://schemas.microsoft.com/office/drawing/2014/main" id="{224EA50D-653E-B002-A9FB-B8F0AB5B077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7773"/>
          <a:stretch>
            <a:fillRect/>
          </a:stretch>
        </p:blipFill>
        <p:spPr bwMode="auto">
          <a:xfrm>
            <a:off x="7027188" y="1966195"/>
            <a:ext cx="653103" cy="148821"/>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0" descr="Appium Documentation - Appium Documentation">
            <a:extLst>
              <a:ext uri="{FF2B5EF4-FFF2-40B4-BE49-F238E27FC236}">
                <a16:creationId xmlns:a16="http://schemas.microsoft.com/office/drawing/2014/main" id="{46C4AB66-9082-55E9-7DE9-B1A11AE31CA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14141" y="2155128"/>
            <a:ext cx="693120" cy="148821"/>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6" descr="Knowledge Base | Comprehensive Guides on Legacy and Emerging Technologies">
            <a:extLst>
              <a:ext uri="{FF2B5EF4-FFF2-40B4-BE49-F238E27FC236}">
                <a16:creationId xmlns:a16="http://schemas.microsoft.com/office/drawing/2014/main" id="{E20A00E2-CE1D-1607-F53C-F0BFA58BA5A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60701" y="1661801"/>
            <a:ext cx="297642" cy="297642"/>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2" descr="Logo Visual Studio Code – Logos PNG">
            <a:extLst>
              <a:ext uri="{FF2B5EF4-FFF2-40B4-BE49-F238E27FC236}">
                <a16:creationId xmlns:a16="http://schemas.microsoft.com/office/drawing/2014/main" id="{A2C7EA22-CD17-F24F-825E-4F87DEF89D0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54127" y="1380136"/>
            <a:ext cx="297642" cy="297642"/>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6" descr="Jira Logo : histoire, signification de l'emblème">
            <a:extLst>
              <a:ext uri="{FF2B5EF4-FFF2-40B4-BE49-F238E27FC236}">
                <a16:creationId xmlns:a16="http://schemas.microsoft.com/office/drawing/2014/main" id="{8493F4D2-0658-5EF3-6313-C834A90EEE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42902" y="1004528"/>
            <a:ext cx="1092290" cy="61441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Xray Test Management">
            <a:extLst>
              <a:ext uri="{FF2B5EF4-FFF2-40B4-BE49-F238E27FC236}">
                <a16:creationId xmlns:a16="http://schemas.microsoft.com/office/drawing/2014/main" id="{83ECC0D4-4D6E-7726-6A6B-1AEF243C885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3061" t="2707" r="20823"/>
          <a:stretch>
            <a:fillRect/>
          </a:stretch>
        </p:blipFill>
        <p:spPr bwMode="auto">
          <a:xfrm>
            <a:off x="8298560" y="1358034"/>
            <a:ext cx="693721" cy="349637"/>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34" descr="Confluence | Dokumenthanteringssystem, omdömen | businesswith.se">
            <a:extLst>
              <a:ext uri="{FF2B5EF4-FFF2-40B4-BE49-F238E27FC236}">
                <a16:creationId xmlns:a16="http://schemas.microsoft.com/office/drawing/2014/main" id="{765664C1-EA76-57EE-C5B7-6713918486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58914" y="1205332"/>
            <a:ext cx="928500" cy="46425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2" descr="How to make requests in python">
            <a:extLst>
              <a:ext uri="{FF2B5EF4-FFF2-40B4-BE49-F238E27FC236}">
                <a16:creationId xmlns:a16="http://schemas.microsoft.com/office/drawing/2014/main" id="{EC8ECA70-DF78-BBD9-58B3-88318F2554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1824" y="1734439"/>
            <a:ext cx="232119" cy="297642"/>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18" descr="Selenium Overview | Selenium">
            <a:extLst>
              <a:ext uri="{FF2B5EF4-FFF2-40B4-BE49-F238E27FC236}">
                <a16:creationId xmlns:a16="http://schemas.microsoft.com/office/drawing/2014/main" id="{34E0BCBC-1924-8DC2-8784-BCB1DD81DEB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7773"/>
          <a:stretch>
            <a:fillRect/>
          </a:stretch>
        </p:blipFill>
        <p:spPr bwMode="auto">
          <a:xfrm>
            <a:off x="9025190" y="1583058"/>
            <a:ext cx="653103" cy="148821"/>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0" descr="Appium Documentation - Appium Documentation">
            <a:extLst>
              <a:ext uri="{FF2B5EF4-FFF2-40B4-BE49-F238E27FC236}">
                <a16:creationId xmlns:a16="http://schemas.microsoft.com/office/drawing/2014/main" id="{B5994C9F-4645-CB33-1658-E8DAB79DC71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08140" y="1799461"/>
            <a:ext cx="693120" cy="148821"/>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6" descr="Knowledge Base | Comprehensive Guides on Legacy and Emerging Technologies">
            <a:extLst>
              <a:ext uri="{FF2B5EF4-FFF2-40B4-BE49-F238E27FC236}">
                <a16:creationId xmlns:a16="http://schemas.microsoft.com/office/drawing/2014/main" id="{0529A272-7B84-37F0-EFF9-2B415A96952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374343" y="1763308"/>
            <a:ext cx="297642" cy="297642"/>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32" descr="Logo Visual Studio Code – Logos PNG">
            <a:extLst>
              <a:ext uri="{FF2B5EF4-FFF2-40B4-BE49-F238E27FC236}">
                <a16:creationId xmlns:a16="http://schemas.microsoft.com/office/drawing/2014/main" id="{B401D515-B473-E8E7-E96B-6DF0047D70B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678293" y="1560431"/>
            <a:ext cx="297642" cy="297642"/>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4" descr="What is Jmeter and How it works? An Overview and Its Use Cases ...">
            <a:extLst>
              <a:ext uri="{FF2B5EF4-FFF2-40B4-BE49-F238E27FC236}">
                <a16:creationId xmlns:a16="http://schemas.microsoft.com/office/drawing/2014/main" id="{357F030A-6600-5687-5A5F-29B5CD90FB2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295916" y="2058849"/>
            <a:ext cx="646472" cy="323236"/>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2" descr="GitHub - grafana/k6: A modern load testing tool, using Go and ...">
            <a:extLst>
              <a:ext uri="{FF2B5EF4-FFF2-40B4-BE49-F238E27FC236}">
                <a16:creationId xmlns:a16="http://schemas.microsoft.com/office/drawing/2014/main" id="{6CA730C1-89E2-2E93-30CD-6F48221ADAEE}"/>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3625" t="3688" r="30548"/>
          <a:stretch>
            <a:fillRect/>
          </a:stretch>
        </p:blipFill>
        <p:spPr bwMode="auto">
          <a:xfrm>
            <a:off x="8925367" y="1971729"/>
            <a:ext cx="368566" cy="354140"/>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4" descr="Grafana Logo PNG vector in SVG, PDF, AI, CDR format">
            <a:extLst>
              <a:ext uri="{FF2B5EF4-FFF2-40B4-BE49-F238E27FC236}">
                <a16:creationId xmlns:a16="http://schemas.microsoft.com/office/drawing/2014/main" id="{A4D91864-BB14-FFC5-417E-DD5AF830EDEA}"/>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1681" t="36439" r="11608" b="37353"/>
          <a:stretch>
            <a:fillRect/>
          </a:stretch>
        </p:blipFill>
        <p:spPr bwMode="auto">
          <a:xfrm>
            <a:off x="9244029" y="2016890"/>
            <a:ext cx="800006" cy="205140"/>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6" descr="Dynatrace White Logo Transparent Png Stickpng - vrogue.co">
            <a:extLst>
              <a:ext uri="{FF2B5EF4-FFF2-40B4-BE49-F238E27FC236}">
                <a16:creationId xmlns:a16="http://schemas.microsoft.com/office/drawing/2014/main" id="{184A39DD-0B0D-7151-5773-212648CABC2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308567" y="2251752"/>
            <a:ext cx="678847" cy="11977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Word Excel Powerpoint Icons Vector Art, Icons, and Graphics for Free  Download">
            <a:extLst>
              <a:ext uri="{FF2B5EF4-FFF2-40B4-BE49-F238E27FC236}">
                <a16:creationId xmlns:a16="http://schemas.microsoft.com/office/drawing/2014/main" id="{E0FD8D94-3F70-0B42-829E-AC240BFD62B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189230" y="1661722"/>
            <a:ext cx="1041626" cy="39382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4" descr="Word Excel Powerpoint Icons Vector Art, Icons, and Graphics for Free  Download">
            <a:extLst>
              <a:ext uri="{FF2B5EF4-FFF2-40B4-BE49-F238E27FC236}">
                <a16:creationId xmlns:a16="http://schemas.microsoft.com/office/drawing/2014/main" id="{9DFCBA19-D2F7-C150-C389-74BD9A9AABE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375010" y="1605036"/>
            <a:ext cx="1041626" cy="393820"/>
          </a:xfrm>
          <a:prstGeom prst="rect">
            <a:avLst/>
          </a:prstGeom>
          <a:noFill/>
          <a:extLst>
            <a:ext uri="{909E8E84-426E-40DD-AFC4-6F175D3DCCD1}">
              <a14:hiddenFill xmlns:a14="http://schemas.microsoft.com/office/drawing/2010/main">
                <a:solidFill>
                  <a:srgbClr val="FFFFFF"/>
                </a:solidFill>
              </a14:hiddenFill>
            </a:ext>
          </a:extLst>
        </p:spPr>
      </p:pic>
      <p:sp>
        <p:nvSpPr>
          <p:cNvPr id="74" name="Diagrama de flujo: proceso alternativo 73">
            <a:extLst>
              <a:ext uri="{FF2B5EF4-FFF2-40B4-BE49-F238E27FC236}">
                <a16:creationId xmlns:a16="http://schemas.microsoft.com/office/drawing/2014/main" id="{667D381E-3FBE-F6A8-FDD2-46F95A8C5245}"/>
              </a:ext>
            </a:extLst>
          </p:cNvPr>
          <p:cNvSpPr/>
          <p:nvPr/>
        </p:nvSpPr>
        <p:spPr>
          <a:xfrm rot="16200000">
            <a:off x="-25550" y="1541293"/>
            <a:ext cx="1262700" cy="327111"/>
          </a:xfrm>
          <a:prstGeom prst="flowChartAlternate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050" b="1"/>
              <a:t>HERRAMIENTAS</a:t>
            </a:r>
            <a:endParaRPr lang="es-MX" sz="1200" b="1"/>
          </a:p>
        </p:txBody>
      </p:sp>
      <p:sp>
        <p:nvSpPr>
          <p:cNvPr id="10" name="Diagrama de flujo: proceso alternativo 9">
            <a:extLst>
              <a:ext uri="{FF2B5EF4-FFF2-40B4-BE49-F238E27FC236}">
                <a16:creationId xmlns:a16="http://schemas.microsoft.com/office/drawing/2014/main" id="{16577BDE-D6A7-00C3-73A2-FAE14FAAE52A}"/>
              </a:ext>
            </a:extLst>
          </p:cNvPr>
          <p:cNvSpPr/>
          <p:nvPr/>
        </p:nvSpPr>
        <p:spPr>
          <a:xfrm rot="16200000">
            <a:off x="84904" y="5640575"/>
            <a:ext cx="1060859" cy="287851"/>
          </a:xfrm>
          <a:prstGeom prst="flowChartAlternateProces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050" b="1"/>
              <a:t>ENTREGABLES</a:t>
            </a:r>
            <a:endParaRPr lang="es-MX" sz="1200" b="1"/>
          </a:p>
        </p:txBody>
      </p:sp>
      <p:sp>
        <p:nvSpPr>
          <p:cNvPr id="13" name="CuadroTexto 12">
            <a:extLst>
              <a:ext uri="{FF2B5EF4-FFF2-40B4-BE49-F238E27FC236}">
                <a16:creationId xmlns:a16="http://schemas.microsoft.com/office/drawing/2014/main" id="{480C0521-0CCC-28C3-CBE2-64D08D96E7CB}"/>
              </a:ext>
            </a:extLst>
          </p:cNvPr>
          <p:cNvSpPr txBox="1"/>
          <p:nvPr/>
        </p:nvSpPr>
        <p:spPr>
          <a:xfrm>
            <a:off x="1043013" y="5354101"/>
            <a:ext cx="1843905" cy="507831"/>
          </a:xfrm>
          <a:prstGeom prst="rect">
            <a:avLst/>
          </a:prstGeom>
          <a:noFill/>
        </p:spPr>
        <p:txBody>
          <a:bodyPr wrap="square">
            <a:spAutoFit/>
          </a:bodyPr>
          <a:lstStyle/>
          <a:p>
            <a:pPr marL="285750" indent="-285750">
              <a:buFont typeface="Arial" panose="020B0604020202020204" pitchFamily="34" charset="0"/>
              <a:buChar char="•"/>
            </a:pPr>
            <a:r>
              <a:rPr lang="es-MX" sz="900">
                <a:solidFill>
                  <a:srgbClr val="151515"/>
                </a:solidFill>
              </a:rPr>
              <a:t>Documento modelo operativo de Aseguramiento de calidad.</a:t>
            </a:r>
          </a:p>
        </p:txBody>
      </p:sp>
      <p:sp>
        <p:nvSpPr>
          <p:cNvPr id="14" name="CuadroTexto 13">
            <a:extLst>
              <a:ext uri="{FF2B5EF4-FFF2-40B4-BE49-F238E27FC236}">
                <a16:creationId xmlns:a16="http://schemas.microsoft.com/office/drawing/2014/main" id="{AB4E85DB-7B7F-08F7-B273-BBC652D3E24F}"/>
              </a:ext>
            </a:extLst>
          </p:cNvPr>
          <p:cNvSpPr txBox="1"/>
          <p:nvPr/>
        </p:nvSpPr>
        <p:spPr>
          <a:xfrm>
            <a:off x="2897686" y="5322519"/>
            <a:ext cx="1843905" cy="369332"/>
          </a:xfrm>
          <a:prstGeom prst="rect">
            <a:avLst/>
          </a:prstGeom>
          <a:noFill/>
        </p:spPr>
        <p:txBody>
          <a:bodyPr wrap="square">
            <a:spAutoFit/>
          </a:bodyPr>
          <a:lstStyle/>
          <a:p>
            <a:pPr marL="285750" indent="-285750">
              <a:buFont typeface="Arial" panose="020B0604020202020204" pitchFamily="34" charset="0"/>
              <a:buChar char="•"/>
            </a:pPr>
            <a:r>
              <a:rPr lang="es-MX" sz="900">
                <a:solidFill>
                  <a:srgbClr val="151515"/>
                </a:solidFill>
              </a:rPr>
              <a:t>Documento Plan de Pruebas</a:t>
            </a:r>
          </a:p>
          <a:p>
            <a:pPr marL="285750" indent="-285750">
              <a:buFont typeface="Arial" panose="020B0604020202020204" pitchFamily="34" charset="0"/>
              <a:buChar char="•"/>
            </a:pPr>
            <a:r>
              <a:rPr lang="es-MX" sz="900">
                <a:solidFill>
                  <a:srgbClr val="151515"/>
                </a:solidFill>
              </a:rPr>
              <a:t>Matriz de Trazabilidad.</a:t>
            </a:r>
          </a:p>
        </p:txBody>
      </p:sp>
      <p:sp>
        <p:nvSpPr>
          <p:cNvPr id="18" name="CuadroTexto 17">
            <a:extLst>
              <a:ext uri="{FF2B5EF4-FFF2-40B4-BE49-F238E27FC236}">
                <a16:creationId xmlns:a16="http://schemas.microsoft.com/office/drawing/2014/main" id="{31BAB409-5DAB-49E6-846B-232D3481D7D1}"/>
              </a:ext>
            </a:extLst>
          </p:cNvPr>
          <p:cNvSpPr txBox="1"/>
          <p:nvPr/>
        </p:nvSpPr>
        <p:spPr>
          <a:xfrm>
            <a:off x="4651082" y="5316320"/>
            <a:ext cx="1843905" cy="230832"/>
          </a:xfrm>
          <a:prstGeom prst="rect">
            <a:avLst/>
          </a:prstGeom>
          <a:noFill/>
        </p:spPr>
        <p:txBody>
          <a:bodyPr wrap="square">
            <a:spAutoFit/>
          </a:bodyPr>
          <a:lstStyle/>
          <a:p>
            <a:pPr marL="285750" indent="-285750">
              <a:buFont typeface="Arial" panose="020B0604020202020204" pitchFamily="34" charset="0"/>
              <a:buChar char="•"/>
            </a:pPr>
            <a:r>
              <a:rPr lang="es-MX" sz="900">
                <a:solidFill>
                  <a:srgbClr val="151515"/>
                </a:solidFill>
              </a:rPr>
              <a:t>Matriz de Casos de Prueba</a:t>
            </a:r>
          </a:p>
        </p:txBody>
      </p:sp>
      <p:sp>
        <p:nvSpPr>
          <p:cNvPr id="23" name="CuadroTexto 22">
            <a:extLst>
              <a:ext uri="{FF2B5EF4-FFF2-40B4-BE49-F238E27FC236}">
                <a16:creationId xmlns:a16="http://schemas.microsoft.com/office/drawing/2014/main" id="{4BE5B22B-83F7-5182-CCCC-C625E44F3CCA}"/>
              </a:ext>
            </a:extLst>
          </p:cNvPr>
          <p:cNvSpPr txBox="1"/>
          <p:nvPr/>
        </p:nvSpPr>
        <p:spPr>
          <a:xfrm>
            <a:off x="8295916" y="5360503"/>
            <a:ext cx="1843905" cy="646331"/>
          </a:xfrm>
          <a:prstGeom prst="rect">
            <a:avLst/>
          </a:prstGeom>
          <a:noFill/>
        </p:spPr>
        <p:txBody>
          <a:bodyPr wrap="square">
            <a:spAutoFit/>
          </a:bodyPr>
          <a:lstStyle/>
          <a:p>
            <a:pPr marL="285750" indent="-285750">
              <a:buFont typeface="Arial" panose="020B0604020202020204" pitchFamily="34" charset="0"/>
              <a:buChar char="•"/>
            </a:pPr>
            <a:r>
              <a:rPr lang="es-MX" sz="900">
                <a:solidFill>
                  <a:srgbClr val="151515"/>
                </a:solidFill>
              </a:rPr>
              <a:t>Reporte consolidado de defectos.</a:t>
            </a:r>
          </a:p>
          <a:p>
            <a:pPr marL="285750" indent="-285750">
              <a:buFont typeface="Arial" panose="020B0604020202020204" pitchFamily="34" charset="0"/>
              <a:buChar char="•"/>
            </a:pPr>
            <a:r>
              <a:rPr lang="es-MX" sz="900">
                <a:solidFill>
                  <a:srgbClr val="151515"/>
                </a:solidFill>
              </a:rPr>
              <a:t>Informe diario de estatus de ejecución de pruebas.</a:t>
            </a:r>
          </a:p>
        </p:txBody>
      </p:sp>
      <p:sp>
        <p:nvSpPr>
          <p:cNvPr id="24" name="CuadroTexto 23">
            <a:extLst>
              <a:ext uri="{FF2B5EF4-FFF2-40B4-BE49-F238E27FC236}">
                <a16:creationId xmlns:a16="http://schemas.microsoft.com/office/drawing/2014/main" id="{9FE2D41C-5998-85D6-AE34-4F7398E2CBF6}"/>
              </a:ext>
            </a:extLst>
          </p:cNvPr>
          <p:cNvSpPr txBox="1"/>
          <p:nvPr/>
        </p:nvSpPr>
        <p:spPr>
          <a:xfrm>
            <a:off x="10107224" y="5360503"/>
            <a:ext cx="1843905" cy="507831"/>
          </a:xfrm>
          <a:prstGeom prst="rect">
            <a:avLst/>
          </a:prstGeom>
          <a:noFill/>
        </p:spPr>
        <p:txBody>
          <a:bodyPr wrap="square">
            <a:spAutoFit/>
          </a:bodyPr>
          <a:lstStyle/>
          <a:p>
            <a:pPr marL="285750" indent="-285750">
              <a:buFont typeface="Arial" panose="020B0604020202020204" pitchFamily="34" charset="0"/>
              <a:buChar char="•"/>
            </a:pPr>
            <a:r>
              <a:rPr lang="es-MX" sz="900">
                <a:solidFill>
                  <a:srgbClr val="151515"/>
                </a:solidFill>
              </a:rPr>
              <a:t>Acta de cierre.</a:t>
            </a:r>
          </a:p>
          <a:p>
            <a:pPr marL="285750" indent="-285750">
              <a:buFont typeface="Arial" panose="020B0604020202020204" pitchFamily="34" charset="0"/>
              <a:buChar char="•"/>
            </a:pPr>
            <a:r>
              <a:rPr lang="es-MX" sz="900">
                <a:solidFill>
                  <a:srgbClr val="151515"/>
                </a:solidFill>
              </a:rPr>
              <a:t>Informe de Resultados de Pruebas.</a:t>
            </a:r>
          </a:p>
        </p:txBody>
      </p:sp>
      <p:sp>
        <p:nvSpPr>
          <p:cNvPr id="37" name="CuadroTexto 36">
            <a:extLst>
              <a:ext uri="{FF2B5EF4-FFF2-40B4-BE49-F238E27FC236}">
                <a16:creationId xmlns:a16="http://schemas.microsoft.com/office/drawing/2014/main" id="{9BE9954C-2591-5348-36EB-903D2E9D8B77}"/>
              </a:ext>
            </a:extLst>
          </p:cNvPr>
          <p:cNvSpPr txBox="1"/>
          <p:nvPr/>
        </p:nvSpPr>
        <p:spPr>
          <a:xfrm>
            <a:off x="6379206" y="5323519"/>
            <a:ext cx="1843905" cy="230832"/>
          </a:xfrm>
          <a:prstGeom prst="rect">
            <a:avLst/>
          </a:prstGeom>
          <a:noFill/>
        </p:spPr>
        <p:txBody>
          <a:bodyPr wrap="square">
            <a:spAutoFit/>
          </a:bodyPr>
          <a:lstStyle/>
          <a:p>
            <a:pPr marL="285750" indent="-285750">
              <a:buFont typeface="Arial" panose="020B0604020202020204" pitchFamily="34" charset="0"/>
              <a:buChar char="•"/>
            </a:pPr>
            <a:r>
              <a:rPr lang="es-MX" sz="900">
                <a:solidFill>
                  <a:srgbClr val="151515"/>
                </a:solidFill>
              </a:rPr>
              <a:t>No aplica entregables.</a:t>
            </a:r>
          </a:p>
        </p:txBody>
      </p:sp>
    </p:spTree>
    <p:extLst>
      <p:ext uri="{BB962C8B-B14F-4D97-AF65-F5344CB8AC3E}">
        <p14:creationId xmlns:p14="http://schemas.microsoft.com/office/powerpoint/2010/main" val="8603387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F3F7FC-F1C4-0AEE-996E-6A1F1BD52DFE}"/>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5C366412-9D7F-9E4D-CEFA-6A89B9118CF6}"/>
              </a:ext>
            </a:extLst>
          </p:cNvPr>
          <p:cNvSpPr>
            <a:spLocks noGrp="1"/>
          </p:cNvSpPr>
          <p:nvPr>
            <p:ph type="body" sz="quarter" idx="14"/>
          </p:nvPr>
        </p:nvSpPr>
        <p:spPr/>
        <p:txBody>
          <a:bodyPr/>
          <a:lstStyle/>
          <a:p>
            <a:endParaRPr lang="es-PE"/>
          </a:p>
        </p:txBody>
      </p:sp>
      <p:sp>
        <p:nvSpPr>
          <p:cNvPr id="4" name="Título 3">
            <a:extLst>
              <a:ext uri="{FF2B5EF4-FFF2-40B4-BE49-F238E27FC236}">
                <a16:creationId xmlns:a16="http://schemas.microsoft.com/office/drawing/2014/main" id="{AACFF360-ECEA-6D68-08CB-CC2E45FFAF3D}"/>
              </a:ext>
            </a:extLst>
          </p:cNvPr>
          <p:cNvSpPr>
            <a:spLocks noGrp="1"/>
          </p:cNvSpPr>
          <p:nvPr>
            <p:ph type="title"/>
          </p:nvPr>
        </p:nvSpPr>
        <p:spPr/>
        <p:txBody>
          <a:bodyPr/>
          <a:lstStyle/>
          <a:p>
            <a:r>
              <a:rPr lang="es-MX"/>
              <a:t>Cómo presentamos el estado de salud de las pruebas a un comité </a:t>
            </a:r>
            <a:endParaRPr lang="es-MX" sz="2400"/>
          </a:p>
        </p:txBody>
      </p:sp>
      <p:pic>
        <p:nvPicPr>
          <p:cNvPr id="7" name="Imagen 6">
            <a:extLst>
              <a:ext uri="{FF2B5EF4-FFF2-40B4-BE49-F238E27FC236}">
                <a16:creationId xmlns:a16="http://schemas.microsoft.com/office/drawing/2014/main" id="{4A054316-FBA7-BB0A-85C7-A399C19BCF48}"/>
              </a:ext>
            </a:extLst>
          </p:cNvPr>
          <p:cNvPicPr>
            <a:picLocks noChangeAspect="1"/>
          </p:cNvPicPr>
          <p:nvPr/>
        </p:nvPicPr>
        <p:blipFill>
          <a:blip r:embed="rId3"/>
          <a:stretch>
            <a:fillRect/>
          </a:stretch>
        </p:blipFill>
        <p:spPr>
          <a:xfrm>
            <a:off x="550862" y="939615"/>
            <a:ext cx="8697539" cy="828791"/>
          </a:xfrm>
          <a:prstGeom prst="rect">
            <a:avLst/>
          </a:prstGeom>
        </p:spPr>
      </p:pic>
      <p:pic>
        <p:nvPicPr>
          <p:cNvPr id="10" name="Imagen 9" descr="Gráfico, Gráfico de proyección solar&#10;&#10;El contenido generado por IA puede ser incorrecto.">
            <a:extLst>
              <a:ext uri="{FF2B5EF4-FFF2-40B4-BE49-F238E27FC236}">
                <a16:creationId xmlns:a16="http://schemas.microsoft.com/office/drawing/2014/main" id="{9C535856-D14E-89C8-F7B5-1C312D8B624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1439" y="2137738"/>
            <a:ext cx="5071110" cy="4149090"/>
          </a:xfrm>
          <a:prstGeom prst="rect">
            <a:avLst/>
          </a:prstGeom>
        </p:spPr>
      </p:pic>
      <p:pic>
        <p:nvPicPr>
          <p:cNvPr id="14" name="Imagen 13">
            <a:extLst>
              <a:ext uri="{FF2B5EF4-FFF2-40B4-BE49-F238E27FC236}">
                <a16:creationId xmlns:a16="http://schemas.microsoft.com/office/drawing/2014/main" id="{2AF5F629-7698-410C-EEF3-5295F18A5DE7}"/>
              </a:ext>
            </a:extLst>
          </p:cNvPr>
          <p:cNvPicPr>
            <a:picLocks noChangeAspect="1"/>
          </p:cNvPicPr>
          <p:nvPr/>
        </p:nvPicPr>
        <p:blipFill>
          <a:blip r:embed="rId5"/>
          <a:srcRect t="7371" b="6297"/>
          <a:stretch>
            <a:fillRect/>
          </a:stretch>
        </p:blipFill>
        <p:spPr>
          <a:xfrm>
            <a:off x="5550675" y="2137738"/>
            <a:ext cx="6641325" cy="4149090"/>
          </a:xfrm>
          <a:prstGeom prst="rect">
            <a:avLst/>
          </a:prstGeom>
        </p:spPr>
      </p:pic>
      <p:sp>
        <p:nvSpPr>
          <p:cNvPr id="15" name="CuadroTexto 14">
            <a:extLst>
              <a:ext uri="{FF2B5EF4-FFF2-40B4-BE49-F238E27FC236}">
                <a16:creationId xmlns:a16="http://schemas.microsoft.com/office/drawing/2014/main" id="{E07976B7-D046-C743-BFAF-E4A6066735ED}"/>
              </a:ext>
            </a:extLst>
          </p:cNvPr>
          <p:cNvSpPr txBox="1"/>
          <p:nvPr/>
        </p:nvSpPr>
        <p:spPr>
          <a:xfrm>
            <a:off x="434339" y="1768406"/>
            <a:ext cx="2342655" cy="369332"/>
          </a:xfrm>
          <a:prstGeom prst="rect">
            <a:avLst/>
          </a:prstGeom>
          <a:noFill/>
        </p:spPr>
        <p:txBody>
          <a:bodyPr wrap="square" rtlCol="0">
            <a:spAutoFit/>
          </a:bodyPr>
          <a:lstStyle/>
          <a:p>
            <a:r>
              <a:rPr lang="es-MX" b="1"/>
              <a:t>Resumen por Estado</a:t>
            </a:r>
            <a:endParaRPr lang="es-PE" b="1"/>
          </a:p>
        </p:txBody>
      </p:sp>
      <p:sp>
        <p:nvSpPr>
          <p:cNvPr id="16" name="CuadroTexto 15">
            <a:extLst>
              <a:ext uri="{FF2B5EF4-FFF2-40B4-BE49-F238E27FC236}">
                <a16:creationId xmlns:a16="http://schemas.microsoft.com/office/drawing/2014/main" id="{31BC21A7-9968-2CE6-0298-F9DC3E8463BC}"/>
              </a:ext>
            </a:extLst>
          </p:cNvPr>
          <p:cNvSpPr txBox="1"/>
          <p:nvPr/>
        </p:nvSpPr>
        <p:spPr>
          <a:xfrm>
            <a:off x="5671998" y="1768406"/>
            <a:ext cx="2607076" cy="369332"/>
          </a:xfrm>
          <a:prstGeom prst="rect">
            <a:avLst/>
          </a:prstGeom>
          <a:noFill/>
        </p:spPr>
        <p:txBody>
          <a:bodyPr wrap="square" rtlCol="0">
            <a:spAutoFit/>
          </a:bodyPr>
          <a:lstStyle/>
          <a:p>
            <a:r>
              <a:rPr lang="es-MX" b="1"/>
              <a:t>Cobertura por Módulo</a:t>
            </a:r>
            <a:endParaRPr lang="es-PE" b="1"/>
          </a:p>
        </p:txBody>
      </p:sp>
    </p:spTree>
    <p:extLst>
      <p:ext uri="{BB962C8B-B14F-4D97-AF65-F5344CB8AC3E}">
        <p14:creationId xmlns:p14="http://schemas.microsoft.com/office/powerpoint/2010/main" val="37848799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BD02D3-5B3F-C25C-9DA4-5AF9A323A00B}"/>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CE5FDE6E-B578-09F4-220A-80C6FA754E0F}"/>
              </a:ext>
            </a:extLst>
          </p:cNvPr>
          <p:cNvSpPr>
            <a:spLocks noGrp="1"/>
          </p:cNvSpPr>
          <p:nvPr>
            <p:ph type="body" sz="quarter" idx="14"/>
          </p:nvPr>
        </p:nvSpPr>
        <p:spPr/>
        <p:txBody>
          <a:bodyPr/>
          <a:lstStyle/>
          <a:p>
            <a:endParaRPr lang="es-PE"/>
          </a:p>
        </p:txBody>
      </p:sp>
      <p:sp>
        <p:nvSpPr>
          <p:cNvPr id="4" name="Título 3">
            <a:extLst>
              <a:ext uri="{FF2B5EF4-FFF2-40B4-BE49-F238E27FC236}">
                <a16:creationId xmlns:a16="http://schemas.microsoft.com/office/drawing/2014/main" id="{1061DEFB-9B13-F213-4585-B38A0FDD8AD8}"/>
              </a:ext>
            </a:extLst>
          </p:cNvPr>
          <p:cNvSpPr>
            <a:spLocks noGrp="1"/>
          </p:cNvSpPr>
          <p:nvPr>
            <p:ph type="title"/>
          </p:nvPr>
        </p:nvSpPr>
        <p:spPr/>
        <p:txBody>
          <a:bodyPr/>
          <a:lstStyle/>
          <a:p>
            <a:r>
              <a:rPr lang="es-MX"/>
              <a:t>Cómo presentamos el estado de salud de las pruebas a un comité </a:t>
            </a:r>
            <a:endParaRPr lang="es-MX" sz="2400"/>
          </a:p>
        </p:txBody>
      </p:sp>
      <p:pic>
        <p:nvPicPr>
          <p:cNvPr id="7" name="Imagen 6">
            <a:extLst>
              <a:ext uri="{FF2B5EF4-FFF2-40B4-BE49-F238E27FC236}">
                <a16:creationId xmlns:a16="http://schemas.microsoft.com/office/drawing/2014/main" id="{B99098FF-360A-31E2-2639-694A6674C810}"/>
              </a:ext>
            </a:extLst>
          </p:cNvPr>
          <p:cNvPicPr>
            <a:picLocks noChangeAspect="1"/>
          </p:cNvPicPr>
          <p:nvPr/>
        </p:nvPicPr>
        <p:blipFill>
          <a:blip r:embed="rId3"/>
          <a:stretch>
            <a:fillRect/>
          </a:stretch>
        </p:blipFill>
        <p:spPr>
          <a:xfrm>
            <a:off x="550862" y="939615"/>
            <a:ext cx="8697539" cy="828791"/>
          </a:xfrm>
          <a:prstGeom prst="rect">
            <a:avLst/>
          </a:prstGeom>
        </p:spPr>
      </p:pic>
      <p:pic>
        <p:nvPicPr>
          <p:cNvPr id="3" name="Imagen 2" descr="Gráfico, Gráfico de barras&#10;&#10;El contenido generado por IA puede ser incorrecto.">
            <a:extLst>
              <a:ext uri="{FF2B5EF4-FFF2-40B4-BE49-F238E27FC236}">
                <a16:creationId xmlns:a16="http://schemas.microsoft.com/office/drawing/2014/main" id="{65839EB2-7369-AFB9-6A2C-16ED8A27F22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0862" y="1931670"/>
            <a:ext cx="5833128" cy="4159901"/>
          </a:xfrm>
          <a:prstGeom prst="rect">
            <a:avLst/>
          </a:prstGeom>
        </p:spPr>
      </p:pic>
      <p:pic>
        <p:nvPicPr>
          <p:cNvPr id="11" name="Imagen 10" descr="Gráfico, Gráfico de barras&#10;&#10;El contenido generado por IA puede ser incorrecto.">
            <a:extLst>
              <a:ext uri="{FF2B5EF4-FFF2-40B4-BE49-F238E27FC236}">
                <a16:creationId xmlns:a16="http://schemas.microsoft.com/office/drawing/2014/main" id="{7DC7177F-B5BF-8C93-4A9E-7ED0B7272CC5}"/>
              </a:ext>
            </a:extLst>
          </p:cNvPr>
          <p:cNvPicPr>
            <a:picLocks noChangeAspect="1"/>
          </p:cNvPicPr>
          <p:nvPr/>
        </p:nvPicPr>
        <p:blipFill>
          <a:blip r:embed="rId5">
            <a:extLst>
              <a:ext uri="{28A0092B-C50C-407E-A947-70E740481C1C}">
                <a14:useLocalDpi xmlns:a14="http://schemas.microsoft.com/office/drawing/2010/main" val="0"/>
              </a:ext>
            </a:extLst>
          </a:blip>
          <a:srcRect t="10931"/>
          <a:stretch>
            <a:fillRect/>
          </a:stretch>
        </p:blipFill>
        <p:spPr>
          <a:xfrm>
            <a:off x="5967415" y="2137737"/>
            <a:ext cx="6224585" cy="3953833"/>
          </a:xfrm>
          <a:prstGeom prst="rect">
            <a:avLst/>
          </a:prstGeom>
        </p:spPr>
      </p:pic>
      <p:sp>
        <p:nvSpPr>
          <p:cNvPr id="12" name="CuadroTexto 11">
            <a:extLst>
              <a:ext uri="{FF2B5EF4-FFF2-40B4-BE49-F238E27FC236}">
                <a16:creationId xmlns:a16="http://schemas.microsoft.com/office/drawing/2014/main" id="{86D612C9-DBCF-8CC1-2B5B-276F9677D987}"/>
              </a:ext>
            </a:extLst>
          </p:cNvPr>
          <p:cNvSpPr txBox="1"/>
          <p:nvPr/>
        </p:nvSpPr>
        <p:spPr>
          <a:xfrm>
            <a:off x="434339" y="1768406"/>
            <a:ext cx="2342655" cy="369332"/>
          </a:xfrm>
          <a:prstGeom prst="rect">
            <a:avLst/>
          </a:prstGeom>
          <a:noFill/>
        </p:spPr>
        <p:txBody>
          <a:bodyPr wrap="square" rtlCol="0">
            <a:spAutoFit/>
          </a:bodyPr>
          <a:lstStyle/>
          <a:p>
            <a:r>
              <a:rPr lang="es-MX" b="1"/>
              <a:t>Defectos por Criticidad</a:t>
            </a:r>
            <a:endParaRPr lang="es-PE" b="1"/>
          </a:p>
        </p:txBody>
      </p:sp>
      <p:sp>
        <p:nvSpPr>
          <p:cNvPr id="13" name="CuadroTexto 12">
            <a:extLst>
              <a:ext uri="{FF2B5EF4-FFF2-40B4-BE49-F238E27FC236}">
                <a16:creationId xmlns:a16="http://schemas.microsoft.com/office/drawing/2014/main" id="{8EE1D999-4C6B-E0D7-55DD-AE35B17614B8}"/>
              </a:ext>
            </a:extLst>
          </p:cNvPr>
          <p:cNvSpPr txBox="1"/>
          <p:nvPr/>
        </p:nvSpPr>
        <p:spPr>
          <a:xfrm>
            <a:off x="5967415" y="1768406"/>
            <a:ext cx="2342655" cy="369332"/>
          </a:xfrm>
          <a:prstGeom prst="rect">
            <a:avLst/>
          </a:prstGeom>
          <a:noFill/>
        </p:spPr>
        <p:txBody>
          <a:bodyPr wrap="square" rtlCol="0">
            <a:spAutoFit/>
          </a:bodyPr>
          <a:lstStyle/>
          <a:p>
            <a:r>
              <a:rPr lang="es-MX" b="1"/>
              <a:t>Defect Cycle Time</a:t>
            </a:r>
            <a:endParaRPr lang="es-PE" b="1"/>
          </a:p>
        </p:txBody>
      </p:sp>
    </p:spTree>
    <p:extLst>
      <p:ext uri="{BB962C8B-B14F-4D97-AF65-F5344CB8AC3E}">
        <p14:creationId xmlns:p14="http://schemas.microsoft.com/office/powerpoint/2010/main" val="34109790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8460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C5061C-7D20-6B34-1692-CBE7338159F6}"/>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C5C68F8D-FBFD-E8CB-AE00-FB96CCD6E798}"/>
              </a:ext>
            </a:extLst>
          </p:cNvPr>
          <p:cNvSpPr>
            <a:spLocks noGrp="1"/>
          </p:cNvSpPr>
          <p:nvPr>
            <p:ph type="body" sz="quarter" idx="14"/>
          </p:nvPr>
        </p:nvSpPr>
        <p:spPr/>
        <p:txBody>
          <a:bodyPr/>
          <a:lstStyle/>
          <a:p>
            <a:endParaRPr lang="es-PE"/>
          </a:p>
        </p:txBody>
      </p:sp>
      <p:sp>
        <p:nvSpPr>
          <p:cNvPr id="14" name="Marcador de número de diapositiva 3">
            <a:extLst>
              <a:ext uri="{FF2B5EF4-FFF2-40B4-BE49-F238E27FC236}">
                <a16:creationId xmlns:a16="http://schemas.microsoft.com/office/drawing/2014/main" id="{958894DD-A9C2-E56D-0E7F-441FA5281F0F}"/>
              </a:ext>
            </a:extLst>
          </p:cNvPr>
          <p:cNvSpPr txBox="1">
            <a:spLocks/>
          </p:cNvSpPr>
          <p:nvPr/>
        </p:nvSpPr>
        <p:spPr>
          <a:xfrm>
            <a:off x="8610600" y="6451239"/>
            <a:ext cx="3030538" cy="333609"/>
          </a:xfrm>
          <a:prstGeom prst="rect">
            <a:avLst/>
          </a:prstGeom>
        </p:spPr>
        <p:txBody>
          <a:bodyPr vert="horz" lIns="0" tIns="36000" rIns="0" bIns="0" rtlCol="0" anchor="t" anchorCtr="0">
            <a:noAutofit/>
          </a:bodyPr>
          <a:lstStyle>
            <a:lvl1pPr marL="0" indent="0" algn="l" defTabSz="911045" rtl="0" eaLnBrk="1" latinLnBrk="0" hangingPunct="1">
              <a:lnSpc>
                <a:spcPct val="100000"/>
              </a:lnSpc>
              <a:spcBef>
                <a:spcPts val="996"/>
              </a:spcBef>
              <a:buFont typeface="Webdings" panose="05030102010509060703" pitchFamily="18" charset="2"/>
              <a:buNone/>
              <a:defRPr sz="998" kern="1200">
                <a:solidFill>
                  <a:schemeClr val="bg2"/>
                </a:solidFill>
                <a:latin typeface="Santander Text"/>
                <a:ea typeface="+mn-ea"/>
                <a:cs typeface="+mn-cs"/>
              </a:defRPr>
            </a:lvl1pPr>
            <a:lvl2pPr marL="0" indent="0" algn="l" defTabSz="911045" rtl="0" eaLnBrk="1" latinLnBrk="0" hangingPunct="1">
              <a:lnSpc>
                <a:spcPct val="100000"/>
              </a:lnSpc>
              <a:spcBef>
                <a:spcPts val="498"/>
              </a:spcBef>
              <a:buClr>
                <a:schemeClr val="accent4"/>
              </a:buClr>
              <a:buSzPct val="110000"/>
              <a:buFont typeface="Webdings" panose="05030102010509060703" pitchFamily="18" charset="2"/>
              <a:buChar char="4"/>
              <a:defRPr sz="1597" kern="1200">
                <a:solidFill>
                  <a:schemeClr val="bg2"/>
                </a:solidFill>
                <a:latin typeface="Santander Text"/>
                <a:ea typeface="+mn-ea"/>
                <a:cs typeface="+mn-cs"/>
              </a:defRPr>
            </a:lvl2pPr>
            <a:lvl3pPr marL="174311" indent="188573" algn="l" defTabSz="911045" rtl="0" eaLnBrk="1" latinLnBrk="0" hangingPunct="1">
              <a:lnSpc>
                <a:spcPct val="90000"/>
              </a:lnSpc>
              <a:spcBef>
                <a:spcPts val="498"/>
              </a:spcBef>
              <a:buClr>
                <a:srgbClr val="8AB9CC"/>
              </a:buClr>
              <a:buFont typeface="Webdings" panose="05030102010509060703" pitchFamily="18" charset="2"/>
              <a:buChar char=""/>
              <a:defRPr sz="1597" kern="1200">
                <a:solidFill>
                  <a:schemeClr val="bg2"/>
                </a:solidFill>
                <a:latin typeface="Santander Text"/>
                <a:ea typeface="+mn-ea"/>
                <a:cs typeface="+mn-cs"/>
              </a:defRPr>
            </a:lvl3pPr>
            <a:lvl4pPr marL="362884" indent="174311" algn="l" defTabSz="911045" rtl="0" eaLnBrk="1" latinLnBrk="0" hangingPunct="1">
              <a:lnSpc>
                <a:spcPct val="100000"/>
              </a:lnSpc>
              <a:spcBef>
                <a:spcPts val="498"/>
              </a:spcBef>
              <a:buClr>
                <a:schemeClr val="accent4"/>
              </a:buClr>
              <a:buFont typeface="Arial" panose="020B0604020202020204" pitchFamily="34" charset="0"/>
              <a:buChar char="•"/>
              <a:defRPr sz="1597" kern="1200">
                <a:solidFill>
                  <a:schemeClr val="bg2"/>
                </a:solidFill>
                <a:latin typeface="Santander Text"/>
                <a:ea typeface="+mn-ea"/>
                <a:cs typeface="+mn-cs"/>
              </a:defRPr>
            </a:lvl4pPr>
            <a:lvl5pPr marL="537194" indent="174311" algn="l" defTabSz="911045" rtl="0" eaLnBrk="1" latinLnBrk="0" hangingPunct="1">
              <a:lnSpc>
                <a:spcPct val="90000"/>
              </a:lnSpc>
              <a:spcBef>
                <a:spcPts val="498"/>
              </a:spcBef>
              <a:buClr>
                <a:srgbClr val="8AB9CC"/>
              </a:buClr>
              <a:buFont typeface="Webdings" panose="05030102010509060703" pitchFamily="18" charset="2"/>
              <a:buChar char=""/>
              <a:defRPr sz="1597" kern="1200">
                <a:solidFill>
                  <a:schemeClr val="bg2"/>
                </a:solidFill>
                <a:latin typeface="Santander Text"/>
                <a:ea typeface="+mn-ea"/>
                <a:cs typeface="+mn-cs"/>
              </a:defRPr>
            </a:lvl5pPr>
            <a:lvl6pPr marL="2505377"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6pPr>
            <a:lvl7pPr marL="2960900"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7pPr>
            <a:lvl8pPr marL="3416423"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8pPr>
            <a:lvl9pPr marL="3871947"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9pPr>
          </a:lstStyle>
          <a:p>
            <a:pPr algn="r"/>
            <a:fld id="{921A6315-1B6D-4306-AE81-37B8137F3D65}" type="slidenum">
              <a:rPr lang="es-ES" sz="1100" smtClean="0"/>
              <a:pPr algn="r"/>
              <a:t>16</a:t>
            </a:fld>
            <a:endParaRPr lang="es-ES" sz="1100"/>
          </a:p>
        </p:txBody>
      </p:sp>
      <p:sp>
        <p:nvSpPr>
          <p:cNvPr id="18" name="CuadroTexto 2">
            <a:extLst>
              <a:ext uri="{FF2B5EF4-FFF2-40B4-BE49-F238E27FC236}">
                <a16:creationId xmlns:a16="http://schemas.microsoft.com/office/drawing/2014/main" id="{D70DFC1B-97A0-9F18-FC73-BD20CBE78211}"/>
              </a:ext>
            </a:extLst>
          </p:cNvPr>
          <p:cNvSpPr txBox="1"/>
          <p:nvPr/>
        </p:nvSpPr>
        <p:spPr>
          <a:xfrm>
            <a:off x="550862" y="1469078"/>
            <a:ext cx="5659139" cy="4607856"/>
          </a:xfrm>
          <a:prstGeom prst="rect">
            <a:avLst/>
          </a:prstGeom>
          <a:solidFill>
            <a:srgbClr val="9BC3D3">
              <a:lumMod val="20000"/>
              <a:lumOff val="80000"/>
            </a:srgbClr>
          </a:solidFill>
        </p:spPr>
        <p:txBody>
          <a:bodyPr wrap="square" lIns="180000" tIns="180000" rIns="180000" bIns="180000" rtlCol="0" anchor="ctr">
            <a:noAutofit/>
          </a:bodyPr>
          <a:lstStyle/>
          <a:p>
            <a:pPr marL="342900" indent="-342900" algn="just">
              <a:buFont typeface="Arial" panose="020B0604020202020204" pitchFamily="34" charset="0"/>
              <a:buChar char="•"/>
            </a:pPr>
            <a:endParaRPr lang="es-MX" sz="2000">
              <a:solidFill>
                <a:schemeClr val="accent5"/>
              </a:solidFill>
            </a:endParaRPr>
          </a:p>
          <a:p>
            <a:pPr marL="342900" indent="-342900" algn="just">
              <a:buFont typeface="Arial" panose="020B0604020202020204" pitchFamily="34" charset="0"/>
              <a:buChar char="•"/>
            </a:pPr>
            <a:endParaRPr lang="es-MX" sz="2000">
              <a:solidFill>
                <a:schemeClr val="accent5"/>
              </a:solidFill>
            </a:endParaRPr>
          </a:p>
          <a:p>
            <a:pPr marL="342900" indent="-342900" algn="just">
              <a:spcAft>
                <a:spcPts val="1200"/>
              </a:spcAft>
              <a:buFont typeface="Arial" panose="020B0604020202020204" pitchFamily="34" charset="0"/>
              <a:buChar char="•"/>
            </a:pPr>
            <a:r>
              <a:rPr lang="es-MX" sz="1400">
                <a:solidFill>
                  <a:schemeClr val="accent5"/>
                </a:solidFill>
              </a:rPr>
              <a:t>Entrega de software según cronograma planificado.</a:t>
            </a:r>
          </a:p>
          <a:p>
            <a:pPr marL="342900" indent="-342900" algn="just">
              <a:spcAft>
                <a:spcPts val="1200"/>
              </a:spcAft>
              <a:buFont typeface="Arial" panose="020B0604020202020204" pitchFamily="34" charset="0"/>
              <a:buChar char="•"/>
            </a:pPr>
            <a:r>
              <a:rPr lang="es-MX" sz="1400">
                <a:solidFill>
                  <a:schemeClr val="accent5"/>
                </a:solidFill>
              </a:rPr>
              <a:t>Proceso correcto de despliegue entre ambientes.</a:t>
            </a:r>
          </a:p>
          <a:p>
            <a:pPr marL="342900" indent="-342900" algn="just">
              <a:spcAft>
                <a:spcPts val="1200"/>
              </a:spcAft>
              <a:buFont typeface="Arial" panose="020B0604020202020204" pitchFamily="34" charset="0"/>
              <a:buChar char="•"/>
            </a:pPr>
            <a:r>
              <a:rPr lang="es-MX" sz="1400">
                <a:solidFill>
                  <a:schemeClr val="accent5"/>
                </a:solidFill>
              </a:rPr>
              <a:t>Disponibilidad de ambiente UAT.</a:t>
            </a:r>
          </a:p>
          <a:p>
            <a:pPr marL="342900" indent="-342900" algn="just">
              <a:spcAft>
                <a:spcPts val="1200"/>
              </a:spcAft>
              <a:buFont typeface="Arial" panose="020B0604020202020204" pitchFamily="34" charset="0"/>
              <a:buChar char="•"/>
            </a:pPr>
            <a:r>
              <a:rPr lang="es-MX" sz="1400">
                <a:solidFill>
                  <a:schemeClr val="accent5"/>
                </a:solidFill>
              </a:rPr>
              <a:t>Respuesta ágil de proveedor externo para resolución de incidentes de </a:t>
            </a:r>
            <a:r>
              <a:rPr lang="es-MX" sz="1400" err="1">
                <a:solidFill>
                  <a:schemeClr val="accent5"/>
                </a:solidFill>
              </a:rPr>
              <a:t>testing</a:t>
            </a:r>
            <a:r>
              <a:rPr lang="es-MX" sz="1400">
                <a:solidFill>
                  <a:schemeClr val="accent5"/>
                </a:solidFill>
              </a:rPr>
              <a:t>.</a:t>
            </a:r>
          </a:p>
          <a:p>
            <a:pPr marL="342900" indent="-342900" algn="just">
              <a:spcAft>
                <a:spcPts val="1200"/>
              </a:spcAft>
              <a:buFont typeface="Arial" panose="020B0604020202020204" pitchFamily="34" charset="0"/>
              <a:buChar char="•"/>
            </a:pPr>
            <a:r>
              <a:rPr lang="es-MX" sz="1400">
                <a:solidFill>
                  <a:schemeClr val="accent5"/>
                </a:solidFill>
              </a:rPr>
              <a:t>VPN y accesos de red configurados para QA </a:t>
            </a:r>
            <a:r>
              <a:rPr lang="es-MX" sz="1400" err="1">
                <a:solidFill>
                  <a:schemeClr val="accent5"/>
                </a:solidFill>
              </a:rPr>
              <a:t>team</a:t>
            </a:r>
            <a:r>
              <a:rPr lang="es-MX" sz="1400">
                <a:solidFill>
                  <a:schemeClr val="accent5"/>
                </a:solidFill>
              </a:rPr>
              <a:t>.</a:t>
            </a:r>
          </a:p>
          <a:p>
            <a:pPr marL="342900" indent="-342900" algn="just">
              <a:spcAft>
                <a:spcPts val="1200"/>
              </a:spcAft>
              <a:buFont typeface="Arial" panose="020B0604020202020204" pitchFamily="34" charset="0"/>
              <a:buChar char="•"/>
            </a:pPr>
            <a:r>
              <a:rPr lang="en-US" sz="1400">
                <a:solidFill>
                  <a:schemeClr val="accent5"/>
                </a:solidFill>
              </a:rPr>
              <a:t>Equipo de </a:t>
            </a:r>
            <a:r>
              <a:rPr lang="en-US" sz="1400" err="1">
                <a:solidFill>
                  <a:schemeClr val="accent5"/>
                </a:solidFill>
              </a:rPr>
              <a:t>CiberSeguridad</a:t>
            </a:r>
            <a:r>
              <a:rPr lang="en-US" sz="1400">
                <a:solidFill>
                  <a:schemeClr val="accent5"/>
                </a:solidFill>
              </a:rPr>
              <a:t> disponible para </a:t>
            </a:r>
            <a:r>
              <a:rPr lang="en-US" sz="1400" err="1">
                <a:solidFill>
                  <a:schemeClr val="accent5"/>
                </a:solidFill>
              </a:rPr>
              <a:t>pruebas</a:t>
            </a:r>
            <a:r>
              <a:rPr lang="en-US" sz="1400">
                <a:solidFill>
                  <a:schemeClr val="accent5"/>
                </a:solidFill>
              </a:rPr>
              <a:t> de ethical hacking y </a:t>
            </a:r>
            <a:r>
              <a:rPr lang="en-US" sz="1400" err="1">
                <a:solidFill>
                  <a:schemeClr val="accent5"/>
                </a:solidFill>
              </a:rPr>
              <a:t>vulnerabilidades</a:t>
            </a:r>
            <a:r>
              <a:rPr lang="en-US" sz="1400">
                <a:solidFill>
                  <a:schemeClr val="accent5"/>
                </a:solidFill>
              </a:rPr>
              <a:t>.</a:t>
            </a:r>
            <a:endParaRPr lang="es-MX" sz="1400">
              <a:solidFill>
                <a:schemeClr val="accent5"/>
              </a:solidFill>
            </a:endParaRPr>
          </a:p>
          <a:p>
            <a:pPr marL="342900" indent="-342900" algn="just">
              <a:spcAft>
                <a:spcPts val="1200"/>
              </a:spcAft>
              <a:buFont typeface="Arial" panose="020B0604020202020204" pitchFamily="34" charset="0"/>
              <a:buChar char="•"/>
            </a:pPr>
            <a:endParaRPr lang="es-MX" sz="2000">
              <a:solidFill>
                <a:schemeClr val="accent5"/>
              </a:solidFill>
            </a:endParaRPr>
          </a:p>
          <a:p>
            <a:pPr marL="342900" indent="-342900" algn="just">
              <a:spcAft>
                <a:spcPts val="1200"/>
              </a:spcAft>
              <a:buFont typeface="Arial" panose="020B0604020202020204" pitchFamily="34" charset="0"/>
              <a:buChar char="•"/>
            </a:pPr>
            <a:endParaRPr lang="es-MX" sz="2000">
              <a:solidFill>
                <a:schemeClr val="accent5"/>
              </a:solidFill>
            </a:endParaRPr>
          </a:p>
          <a:p>
            <a:pPr marL="342900" indent="-342900" algn="just">
              <a:spcAft>
                <a:spcPts val="1200"/>
              </a:spcAft>
              <a:buFont typeface="Arial" panose="020B0604020202020204" pitchFamily="34" charset="0"/>
              <a:buChar char="•"/>
            </a:pPr>
            <a:endParaRPr lang="en-GB" sz="1100" b="0" i="0" u="none" strike="noStrike">
              <a:solidFill>
                <a:srgbClr val="212121"/>
              </a:solidFill>
              <a:effectLst/>
              <a:latin typeface="Santander Text" panose="020B0504020201020104" pitchFamily="34" charset="0"/>
            </a:endParaRPr>
          </a:p>
        </p:txBody>
      </p:sp>
      <p:sp>
        <p:nvSpPr>
          <p:cNvPr id="24" name="CuadroTexto 2">
            <a:extLst>
              <a:ext uri="{FF2B5EF4-FFF2-40B4-BE49-F238E27FC236}">
                <a16:creationId xmlns:a16="http://schemas.microsoft.com/office/drawing/2014/main" id="{11BF66CD-FD97-B532-D369-0038AA6E996B}"/>
              </a:ext>
            </a:extLst>
          </p:cNvPr>
          <p:cNvSpPr txBox="1"/>
          <p:nvPr/>
        </p:nvSpPr>
        <p:spPr>
          <a:xfrm>
            <a:off x="6532084" y="1469078"/>
            <a:ext cx="5109054" cy="4607856"/>
          </a:xfrm>
          <a:prstGeom prst="rect">
            <a:avLst/>
          </a:prstGeom>
          <a:solidFill>
            <a:schemeClr val="bg1">
              <a:lumMod val="95000"/>
            </a:schemeClr>
          </a:solidFill>
        </p:spPr>
        <p:txBody>
          <a:bodyPr wrap="square" lIns="180000" tIns="180000" rIns="180000" bIns="180000" rtlCol="0" anchor="ctr">
            <a:noAutofit/>
          </a:bodyPr>
          <a:lstStyle/>
          <a:p>
            <a:pPr marL="342900" indent="-342900" algn="just">
              <a:spcAft>
                <a:spcPts val="1200"/>
              </a:spcAft>
              <a:buFont typeface="Arial" panose="020B0604020202020204" pitchFamily="34" charset="0"/>
              <a:buChar char="•"/>
            </a:pPr>
            <a:r>
              <a:rPr lang="es-MX" sz="1400">
                <a:solidFill>
                  <a:schemeClr val="accent5"/>
                </a:solidFill>
              </a:rPr>
              <a:t>Retraso en adquisición y configuración de plataforma XRAY.</a:t>
            </a:r>
          </a:p>
          <a:p>
            <a:pPr marL="342900" indent="-342900" algn="just">
              <a:spcAft>
                <a:spcPts val="1200"/>
              </a:spcAft>
              <a:buFont typeface="Arial" panose="020B0604020202020204" pitchFamily="34" charset="0"/>
              <a:buChar char="•"/>
            </a:pPr>
            <a:r>
              <a:rPr lang="es-MX" sz="1400">
                <a:solidFill>
                  <a:schemeClr val="accent5"/>
                </a:solidFill>
              </a:rPr>
              <a:t>Falsos positivos de herramientas de seguridad causando retrasos.</a:t>
            </a:r>
          </a:p>
          <a:p>
            <a:pPr marL="342900" indent="-342900" algn="just">
              <a:spcAft>
                <a:spcPts val="1200"/>
              </a:spcAft>
              <a:buFont typeface="Arial" panose="020B0604020202020204" pitchFamily="34" charset="0"/>
              <a:buChar char="•"/>
            </a:pPr>
            <a:r>
              <a:rPr lang="es-MX" sz="1400">
                <a:solidFill>
                  <a:schemeClr val="accent5"/>
                </a:solidFill>
              </a:rPr>
              <a:t>Retraso en habilitación de </a:t>
            </a:r>
            <a:r>
              <a:rPr lang="es-MX" sz="1400" err="1">
                <a:solidFill>
                  <a:schemeClr val="accent5"/>
                </a:solidFill>
              </a:rPr>
              <a:t>SauceLabs</a:t>
            </a:r>
            <a:r>
              <a:rPr lang="es-MX" sz="1400">
                <a:solidFill>
                  <a:schemeClr val="accent5"/>
                </a:solidFill>
              </a:rPr>
              <a:t> para </a:t>
            </a:r>
            <a:r>
              <a:rPr lang="es-MX" sz="1400" err="1">
                <a:solidFill>
                  <a:schemeClr val="accent5"/>
                </a:solidFill>
              </a:rPr>
              <a:t>testing</a:t>
            </a:r>
            <a:r>
              <a:rPr lang="es-MX" sz="1400">
                <a:solidFill>
                  <a:schemeClr val="accent5"/>
                </a:solidFill>
              </a:rPr>
              <a:t> </a:t>
            </a:r>
            <a:r>
              <a:rPr lang="es-MX" sz="1400" err="1">
                <a:solidFill>
                  <a:schemeClr val="accent5"/>
                </a:solidFill>
              </a:rPr>
              <a:t>mobile</a:t>
            </a:r>
            <a:r>
              <a:rPr lang="es-MX" sz="1400">
                <a:solidFill>
                  <a:schemeClr val="accent5"/>
                </a:solidFill>
              </a:rPr>
              <a:t>.</a:t>
            </a:r>
          </a:p>
          <a:p>
            <a:pPr marL="342900" indent="-342900" algn="just">
              <a:spcAft>
                <a:spcPts val="1200"/>
              </a:spcAft>
              <a:buFont typeface="Arial" panose="020B0604020202020204" pitchFamily="34" charset="0"/>
              <a:buChar char="•"/>
            </a:pPr>
            <a:r>
              <a:rPr lang="es-MX" sz="1400">
                <a:solidFill>
                  <a:schemeClr val="accent5"/>
                </a:solidFill>
              </a:rPr>
              <a:t>Retraso en entrega del producto por parte de proveedores.</a:t>
            </a:r>
          </a:p>
          <a:p>
            <a:pPr marL="342900" indent="-342900" algn="just">
              <a:spcAft>
                <a:spcPts val="1200"/>
              </a:spcAft>
              <a:buFont typeface="Arial" panose="020B0604020202020204" pitchFamily="34" charset="0"/>
              <a:buChar char="•"/>
            </a:pPr>
            <a:r>
              <a:rPr lang="es-MX" sz="1400">
                <a:solidFill>
                  <a:schemeClr val="accent5"/>
                </a:solidFill>
              </a:rPr>
              <a:t>Herramientas de </a:t>
            </a:r>
            <a:r>
              <a:rPr lang="es-MX" sz="1400" err="1">
                <a:solidFill>
                  <a:schemeClr val="accent5"/>
                </a:solidFill>
              </a:rPr>
              <a:t>testing</a:t>
            </a:r>
            <a:r>
              <a:rPr lang="es-MX" sz="1400">
                <a:solidFill>
                  <a:schemeClr val="accent5"/>
                </a:solidFill>
              </a:rPr>
              <a:t> incompatibles entre equipo interno y equipo externo.</a:t>
            </a:r>
          </a:p>
          <a:p>
            <a:pPr marL="342900" indent="-342900" algn="just">
              <a:spcAft>
                <a:spcPts val="1200"/>
              </a:spcAft>
              <a:buFont typeface="Arial" panose="020B0604020202020204" pitchFamily="34" charset="0"/>
              <a:buChar char="•"/>
            </a:pPr>
            <a:r>
              <a:rPr lang="es-MX" sz="1400">
                <a:solidFill>
                  <a:schemeClr val="accent5"/>
                </a:solidFill>
              </a:rPr>
              <a:t>Ambiente de pruebas inestables. (caídas frecuentes &gt;4hrs)</a:t>
            </a:r>
          </a:p>
          <a:p>
            <a:pPr marL="342900" indent="-342900" algn="just">
              <a:spcAft>
                <a:spcPts val="1200"/>
              </a:spcAft>
              <a:buFont typeface="Arial" panose="020B0604020202020204" pitchFamily="34" charset="0"/>
              <a:buChar char="•"/>
            </a:pPr>
            <a:r>
              <a:rPr lang="es-MX" sz="1400">
                <a:solidFill>
                  <a:schemeClr val="accent5"/>
                </a:solidFill>
              </a:rPr>
              <a:t>Alta rotación de equipo externo. (Equipo QA)</a:t>
            </a:r>
          </a:p>
          <a:p>
            <a:pPr marL="342900" indent="-342900" algn="just">
              <a:spcAft>
                <a:spcPts val="1200"/>
              </a:spcAft>
              <a:buFont typeface="Arial" panose="020B0604020202020204" pitchFamily="34" charset="0"/>
              <a:buChar char="•"/>
            </a:pPr>
            <a:r>
              <a:rPr lang="es-MX" sz="1400">
                <a:solidFill>
                  <a:schemeClr val="accent5"/>
                </a:solidFill>
              </a:rPr>
              <a:t>Recursos QA insuficientes durante períodos pico de pruebas.</a:t>
            </a:r>
          </a:p>
        </p:txBody>
      </p:sp>
      <p:cxnSp>
        <p:nvCxnSpPr>
          <p:cNvPr id="37" name="Straight Connector 14">
            <a:extLst>
              <a:ext uri="{FF2B5EF4-FFF2-40B4-BE49-F238E27FC236}">
                <a16:creationId xmlns:a16="http://schemas.microsoft.com/office/drawing/2014/main" id="{46DEE8C4-ABA1-22FA-233C-70ED5C5FD600}"/>
              </a:ext>
            </a:extLst>
          </p:cNvPr>
          <p:cNvCxnSpPr/>
          <p:nvPr/>
        </p:nvCxnSpPr>
        <p:spPr>
          <a:xfrm>
            <a:off x="550864" y="853361"/>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9" name="Title 5">
            <a:extLst>
              <a:ext uri="{FF2B5EF4-FFF2-40B4-BE49-F238E27FC236}">
                <a16:creationId xmlns:a16="http://schemas.microsoft.com/office/drawing/2014/main" id="{0141B0A0-A037-D232-8F07-21D1B12A2C6A}"/>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 </a:t>
            </a:r>
            <a:r>
              <a:rPr lang="en-GB" b="0">
                <a:solidFill>
                  <a:srgbClr val="203864"/>
                </a:solidFill>
                <a:latin typeface="Santander Headline" panose="020B0504020201020104" pitchFamily="34" charset="0"/>
              </a:rPr>
              <a:t>Riesgos y Dependencias</a:t>
            </a:r>
            <a:endParaRPr lang="es-MX">
              <a:solidFill>
                <a:srgbClr val="203864"/>
              </a:solidFill>
            </a:endParaRPr>
          </a:p>
        </p:txBody>
      </p:sp>
      <p:sp>
        <p:nvSpPr>
          <p:cNvPr id="41" name="CuadroTexto 40">
            <a:extLst>
              <a:ext uri="{FF2B5EF4-FFF2-40B4-BE49-F238E27FC236}">
                <a16:creationId xmlns:a16="http://schemas.microsoft.com/office/drawing/2014/main" id="{663F3C91-51F0-D8F8-071A-B4BE24A86E28}"/>
              </a:ext>
            </a:extLst>
          </p:cNvPr>
          <p:cNvSpPr txBox="1"/>
          <p:nvPr/>
        </p:nvSpPr>
        <p:spPr>
          <a:xfrm>
            <a:off x="925224" y="1633683"/>
            <a:ext cx="3944936" cy="397032"/>
          </a:xfrm>
          <a:prstGeom prst="rect">
            <a:avLst/>
          </a:prstGeom>
          <a:noFill/>
        </p:spPr>
        <p:txBody>
          <a:bodyPr wrap="square">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200" b="1" i="0" u="none" strike="noStrike" kern="1200" cap="none" spc="0" normalizeH="0" baseline="0" noProof="0">
                <a:ln>
                  <a:noFill/>
                </a:ln>
                <a:solidFill>
                  <a:srgbClr val="4E96BF"/>
                </a:solidFill>
                <a:effectLst/>
                <a:uLnTx/>
                <a:uFillTx/>
                <a:latin typeface="Santander Text" panose="020B0504020201020104" pitchFamily="34" charset="0"/>
                <a:ea typeface="+mn-ea"/>
                <a:cs typeface="+mn-cs"/>
              </a:rPr>
              <a:t>Dependencias</a:t>
            </a:r>
            <a:endParaRPr kumimoji="0" lang="en-US" sz="2200" b="1" i="0" u="none" strike="noStrike" kern="1200" cap="none" spc="0" normalizeH="0" baseline="0" noProof="0">
              <a:ln>
                <a:noFill/>
              </a:ln>
              <a:solidFill>
                <a:srgbClr val="4E96BF"/>
              </a:solidFill>
              <a:effectLst/>
              <a:uLnTx/>
              <a:uFillTx/>
              <a:latin typeface="Santander Text" panose="020B0504020201020104" pitchFamily="34" charset="0"/>
              <a:ea typeface="+mn-ea"/>
              <a:cs typeface="+mn-cs"/>
            </a:endParaRPr>
          </a:p>
        </p:txBody>
      </p:sp>
      <p:sp>
        <p:nvSpPr>
          <p:cNvPr id="23" name="CuadroTexto 22">
            <a:extLst>
              <a:ext uri="{FF2B5EF4-FFF2-40B4-BE49-F238E27FC236}">
                <a16:creationId xmlns:a16="http://schemas.microsoft.com/office/drawing/2014/main" id="{9341FE04-112B-4105-B2A4-D8433E22586E}"/>
              </a:ext>
            </a:extLst>
          </p:cNvPr>
          <p:cNvSpPr txBox="1"/>
          <p:nvPr/>
        </p:nvSpPr>
        <p:spPr>
          <a:xfrm>
            <a:off x="6763267" y="1596566"/>
            <a:ext cx="4015737" cy="397032"/>
          </a:xfrm>
          <a:prstGeom prst="rect">
            <a:avLst/>
          </a:prstGeom>
          <a:noFill/>
        </p:spPr>
        <p:txBody>
          <a:bodyPr wrap="square">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200" b="1" i="0" u="none" strike="noStrike" kern="1200" cap="none" spc="0" normalizeH="0" baseline="0" noProof="0">
                <a:ln>
                  <a:noFill/>
                </a:ln>
                <a:solidFill>
                  <a:srgbClr val="4E96BF"/>
                </a:solidFill>
                <a:effectLst/>
                <a:uLnTx/>
                <a:uFillTx/>
                <a:latin typeface="Santander Text" panose="020B0504020201020104" pitchFamily="34" charset="0"/>
                <a:ea typeface="+mn-ea"/>
                <a:cs typeface="+mn-cs"/>
              </a:rPr>
              <a:t>Riesgos</a:t>
            </a:r>
            <a:endParaRPr kumimoji="0" lang="en-US" sz="2200" b="1" i="0" u="none" strike="noStrike" kern="1200" cap="none" spc="0" normalizeH="0" baseline="0" noProof="0">
              <a:ln>
                <a:noFill/>
              </a:ln>
              <a:solidFill>
                <a:srgbClr val="4E96BF"/>
              </a:solidFill>
              <a:effectLst/>
              <a:uLnTx/>
              <a:uFillTx/>
              <a:latin typeface="Santander Text" panose="020B0504020201020104" pitchFamily="34" charset="0"/>
              <a:ea typeface="+mn-ea"/>
              <a:cs typeface="+mn-cs"/>
            </a:endParaRPr>
          </a:p>
        </p:txBody>
      </p:sp>
    </p:spTree>
    <p:extLst>
      <p:ext uri="{BB962C8B-B14F-4D97-AF65-F5344CB8AC3E}">
        <p14:creationId xmlns:p14="http://schemas.microsoft.com/office/powerpoint/2010/main" val="5827150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D74D45-4A52-2DB6-B16E-C2EEF5FD332D}"/>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99CD4AEE-4771-3136-9F5F-79722D348224}"/>
              </a:ext>
            </a:extLst>
          </p:cNvPr>
          <p:cNvSpPr>
            <a:spLocks noGrp="1"/>
          </p:cNvSpPr>
          <p:nvPr>
            <p:ph type="body" sz="quarter" idx="14"/>
          </p:nvPr>
        </p:nvSpPr>
        <p:spPr/>
        <p:txBody>
          <a:bodyPr/>
          <a:lstStyle/>
          <a:p>
            <a:endParaRPr lang="es-PE"/>
          </a:p>
        </p:txBody>
      </p:sp>
      <p:sp>
        <p:nvSpPr>
          <p:cNvPr id="6" name="Rectángulo 5">
            <a:extLst>
              <a:ext uri="{FF2B5EF4-FFF2-40B4-BE49-F238E27FC236}">
                <a16:creationId xmlns:a16="http://schemas.microsoft.com/office/drawing/2014/main" id="{A188F6EB-0295-8DDE-07B2-5F4CBDD634B9}"/>
              </a:ext>
            </a:extLst>
          </p:cNvPr>
          <p:cNvSpPr/>
          <p:nvPr/>
        </p:nvSpPr>
        <p:spPr>
          <a:xfrm>
            <a:off x="550864" y="1073947"/>
            <a:ext cx="11204986" cy="646331"/>
          </a:xfrm>
          <a:prstGeom prst="rect">
            <a:avLst/>
          </a:prstGeom>
        </p:spPr>
        <p:txBody>
          <a:bodyPr wrap="square">
            <a:spAutoFit/>
          </a:bodyPr>
          <a:lstStyle/>
          <a:p>
            <a:r>
              <a:rPr lang="es-MX">
                <a:solidFill>
                  <a:schemeClr val="accent5"/>
                </a:solidFill>
              </a:rPr>
              <a:t>Establecer un proceso de aseguramiento de calidad, permite integrar actividades de QA en paralelo a cada etapa clave del desarrollo.</a:t>
            </a:r>
            <a:endParaRPr kumimoji="0" lang="es-MX" i="0" u="none" strike="noStrike" kern="1200" cap="none" spc="0" normalizeH="0" baseline="0" noProof="0">
              <a:ln>
                <a:noFill/>
              </a:ln>
              <a:solidFill>
                <a:schemeClr val="accent5"/>
              </a:solidFill>
              <a:effectLst/>
              <a:uLnTx/>
              <a:uFillTx/>
              <a:latin typeface="Santander Headline"/>
              <a:ea typeface="+mn-ea"/>
              <a:cs typeface="+mn-cs"/>
            </a:endParaRPr>
          </a:p>
        </p:txBody>
      </p:sp>
      <p:pic>
        <p:nvPicPr>
          <p:cNvPr id="16" name="Imagen 15" descr="Diagrama&#10;&#10;El contenido generado por IA puede ser incorrecto.">
            <a:extLst>
              <a:ext uri="{FF2B5EF4-FFF2-40B4-BE49-F238E27FC236}">
                <a16:creationId xmlns:a16="http://schemas.microsoft.com/office/drawing/2014/main" id="{CF369783-5E1A-25DB-D22F-5A39B68E7F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863" y="1889379"/>
            <a:ext cx="11058525" cy="3829050"/>
          </a:xfrm>
          <a:prstGeom prst="rect">
            <a:avLst/>
          </a:prstGeom>
        </p:spPr>
      </p:pic>
      <p:sp>
        <p:nvSpPr>
          <p:cNvPr id="7" name="Título 6">
            <a:extLst>
              <a:ext uri="{FF2B5EF4-FFF2-40B4-BE49-F238E27FC236}">
                <a16:creationId xmlns:a16="http://schemas.microsoft.com/office/drawing/2014/main" id="{84DFE955-9C64-C588-1365-63FA9B628E02}"/>
              </a:ext>
            </a:extLst>
          </p:cNvPr>
          <p:cNvSpPr>
            <a:spLocks noGrp="1"/>
          </p:cNvSpPr>
          <p:nvPr>
            <p:ph type="title"/>
          </p:nvPr>
        </p:nvSpPr>
        <p:spPr/>
        <p:txBody>
          <a:bodyPr/>
          <a:lstStyle/>
          <a:p>
            <a:r>
              <a:rPr lang="es-MX"/>
              <a:t> </a:t>
            </a:r>
            <a:endParaRPr lang="es-PE"/>
          </a:p>
        </p:txBody>
      </p:sp>
      <p:sp>
        <p:nvSpPr>
          <p:cNvPr id="9" name="Title 5">
            <a:extLst>
              <a:ext uri="{FF2B5EF4-FFF2-40B4-BE49-F238E27FC236}">
                <a16:creationId xmlns:a16="http://schemas.microsoft.com/office/drawing/2014/main" id="{95193CB0-EDD9-8476-C177-06F63FB63DE8}"/>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 </a:t>
            </a:r>
            <a:r>
              <a:rPr lang="en-GB" b="0" err="1">
                <a:solidFill>
                  <a:srgbClr val="203864"/>
                </a:solidFill>
                <a:latin typeface="Santander Headline" panose="020B0504020201020104" pitchFamily="34" charset="0"/>
              </a:rPr>
              <a:t>Proceso</a:t>
            </a:r>
            <a:r>
              <a:rPr lang="en-GB" b="0">
                <a:solidFill>
                  <a:srgbClr val="203864"/>
                </a:solidFill>
                <a:latin typeface="Santander Headline" panose="020B0504020201020104" pitchFamily="34" charset="0"/>
              </a:rPr>
              <a:t> de </a:t>
            </a:r>
            <a:r>
              <a:rPr lang="en-GB" b="0" err="1">
                <a:solidFill>
                  <a:srgbClr val="203864"/>
                </a:solidFill>
                <a:latin typeface="Santander Headline" panose="020B0504020201020104" pitchFamily="34" charset="0"/>
              </a:rPr>
              <a:t>Aseguramiento</a:t>
            </a:r>
            <a:r>
              <a:rPr lang="en-GB" b="0">
                <a:solidFill>
                  <a:srgbClr val="203864"/>
                </a:solidFill>
                <a:latin typeface="Santander Headline" panose="020B0504020201020104" pitchFamily="34" charset="0"/>
              </a:rPr>
              <a:t> de Calidad</a:t>
            </a:r>
            <a:endParaRPr lang="es-MX">
              <a:solidFill>
                <a:srgbClr val="203864"/>
              </a:solidFill>
            </a:endParaRPr>
          </a:p>
        </p:txBody>
      </p:sp>
    </p:spTree>
    <p:extLst>
      <p:ext uri="{BB962C8B-B14F-4D97-AF65-F5344CB8AC3E}">
        <p14:creationId xmlns:p14="http://schemas.microsoft.com/office/powerpoint/2010/main" val="31175106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B34837-5352-C4AE-A92D-3E3C7F239329}"/>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52734812-3B29-4A4D-54E0-60E0667EB718}"/>
              </a:ext>
            </a:extLst>
          </p:cNvPr>
          <p:cNvSpPr>
            <a:spLocks noGrp="1"/>
          </p:cNvSpPr>
          <p:nvPr>
            <p:ph type="body" sz="quarter" idx="14"/>
          </p:nvPr>
        </p:nvSpPr>
        <p:spPr/>
        <p:txBody>
          <a:bodyPr/>
          <a:lstStyle/>
          <a:p>
            <a:endParaRPr lang="es-PE"/>
          </a:p>
        </p:txBody>
      </p:sp>
      <p:sp>
        <p:nvSpPr>
          <p:cNvPr id="4" name="Título 3">
            <a:extLst>
              <a:ext uri="{FF2B5EF4-FFF2-40B4-BE49-F238E27FC236}">
                <a16:creationId xmlns:a16="http://schemas.microsoft.com/office/drawing/2014/main" id="{F2701E8C-0018-01C7-4DDD-579BF079B89F}"/>
              </a:ext>
            </a:extLst>
          </p:cNvPr>
          <p:cNvSpPr>
            <a:spLocks noGrp="1"/>
          </p:cNvSpPr>
          <p:nvPr>
            <p:ph type="title"/>
          </p:nvPr>
        </p:nvSpPr>
        <p:spPr/>
        <p:txBody>
          <a:bodyPr/>
          <a:lstStyle/>
          <a:p>
            <a:r>
              <a:rPr lang="es-PE"/>
              <a:t>Aseguramiento de Calidad</a:t>
            </a:r>
            <a:r>
              <a:rPr lang="en-GB" sz="3200" b="0">
                <a:solidFill>
                  <a:srgbClr val="FF0000"/>
                </a:solidFill>
                <a:latin typeface="Santander Headline" panose="020B0504020201020104" pitchFamily="34" charset="0"/>
              </a:rPr>
              <a:t>| </a:t>
            </a:r>
            <a:r>
              <a:rPr lang="en-GB" sz="2400" b="0">
                <a:solidFill>
                  <a:srgbClr val="203864"/>
                </a:solidFill>
                <a:latin typeface="Santander Headline" panose="020B0504020201020104" pitchFamily="34" charset="0"/>
              </a:rPr>
              <a:t>Estrategia y </a:t>
            </a:r>
            <a:r>
              <a:rPr lang="en-GB" sz="2400" b="0" err="1">
                <a:solidFill>
                  <a:srgbClr val="203864"/>
                </a:solidFill>
                <a:latin typeface="Santander Headline" panose="020B0504020201020104" pitchFamily="34" charset="0"/>
              </a:rPr>
              <a:t>Detalle</a:t>
            </a:r>
            <a:r>
              <a:rPr lang="en-GB" sz="2400" b="0">
                <a:solidFill>
                  <a:srgbClr val="203864"/>
                </a:solidFill>
                <a:latin typeface="Santander Headline" panose="020B0504020201020104" pitchFamily="34" charset="0"/>
              </a:rPr>
              <a:t> de </a:t>
            </a:r>
            <a:r>
              <a:rPr lang="en-GB" sz="2400" b="0" err="1">
                <a:solidFill>
                  <a:srgbClr val="203864"/>
                </a:solidFill>
                <a:latin typeface="Santander Headline" panose="020B0504020201020104" pitchFamily="34" charset="0"/>
              </a:rPr>
              <a:t>Pruebas</a:t>
            </a:r>
            <a:endParaRPr lang="es-MX" sz="2400"/>
          </a:p>
        </p:txBody>
      </p:sp>
      <p:sp>
        <p:nvSpPr>
          <p:cNvPr id="2" name="Rectángulo: esquinas diagonales redondeadas 1">
            <a:extLst>
              <a:ext uri="{FF2B5EF4-FFF2-40B4-BE49-F238E27FC236}">
                <a16:creationId xmlns:a16="http://schemas.microsoft.com/office/drawing/2014/main" id="{97155314-0B2F-4BD0-EBF8-0F263E973DDE}"/>
              </a:ext>
            </a:extLst>
          </p:cNvPr>
          <p:cNvSpPr/>
          <p:nvPr/>
        </p:nvSpPr>
        <p:spPr>
          <a:xfrm>
            <a:off x="1493517" y="1297574"/>
            <a:ext cx="2351315" cy="731520"/>
          </a:xfrm>
          <a:prstGeom prst="round2DiagRect">
            <a:avLst/>
          </a:prstGeom>
          <a:solidFill>
            <a:schemeClr val="accent4">
              <a:lumMod val="75000"/>
            </a:schemeClr>
          </a:solidFill>
          <a:ln>
            <a:solidFill>
              <a:schemeClr val="accent5">
                <a:lumMod val="60000"/>
                <a:lumOff val="40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s-MX" b="1">
                <a:solidFill>
                  <a:schemeClr val="bg1"/>
                </a:solidFill>
              </a:rPr>
              <a:t>DESARROLLO</a:t>
            </a:r>
            <a:endParaRPr lang="es-PE" b="1">
              <a:solidFill>
                <a:schemeClr val="bg1"/>
              </a:solidFill>
            </a:endParaRPr>
          </a:p>
        </p:txBody>
      </p:sp>
      <p:sp>
        <p:nvSpPr>
          <p:cNvPr id="10" name="Rectángulo: esquinas diagonales redondeadas 9">
            <a:extLst>
              <a:ext uri="{FF2B5EF4-FFF2-40B4-BE49-F238E27FC236}">
                <a16:creationId xmlns:a16="http://schemas.microsoft.com/office/drawing/2014/main" id="{392AD6C8-9782-6063-7FE2-1E8AEE49A7B3}"/>
              </a:ext>
            </a:extLst>
          </p:cNvPr>
          <p:cNvSpPr/>
          <p:nvPr/>
        </p:nvSpPr>
        <p:spPr>
          <a:xfrm>
            <a:off x="8159931" y="1297574"/>
            <a:ext cx="2272938" cy="731520"/>
          </a:xfrm>
          <a:prstGeom prst="round2DiagRect">
            <a:avLst/>
          </a:prstGeom>
          <a:solidFill>
            <a:schemeClr val="accent4">
              <a:lumMod val="75000"/>
            </a:schemeClr>
          </a:solidFill>
          <a:ln>
            <a:solidFill>
              <a:schemeClr val="accent5">
                <a:lumMod val="60000"/>
                <a:lumOff val="4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s-MX" b="1">
                <a:solidFill>
                  <a:schemeClr val="bg1"/>
                </a:solidFill>
              </a:rPr>
              <a:t>PRODUCCIÓN</a:t>
            </a:r>
            <a:endParaRPr lang="es-PE" b="1">
              <a:solidFill>
                <a:schemeClr val="bg1"/>
              </a:solidFill>
            </a:endParaRPr>
          </a:p>
        </p:txBody>
      </p:sp>
      <p:sp>
        <p:nvSpPr>
          <p:cNvPr id="11" name="CuadroTexto 10">
            <a:extLst>
              <a:ext uri="{FF2B5EF4-FFF2-40B4-BE49-F238E27FC236}">
                <a16:creationId xmlns:a16="http://schemas.microsoft.com/office/drawing/2014/main" id="{A2BA98B3-A4D2-03D7-9EB1-9400C31E943B}"/>
              </a:ext>
            </a:extLst>
          </p:cNvPr>
          <p:cNvSpPr txBox="1"/>
          <p:nvPr/>
        </p:nvSpPr>
        <p:spPr>
          <a:xfrm>
            <a:off x="1493516" y="2447974"/>
            <a:ext cx="3144628" cy="3248297"/>
          </a:xfrm>
          <a:prstGeom prst="rect">
            <a:avLst/>
          </a:prstGeom>
        </p:spPr>
        <p:txBody>
          <a:bodyPr vert="horz" wrap="none" lIns="0" tIns="180000" rIns="0" bIns="0" rtlCol="0" anchor="ctr">
            <a:noAutofit/>
          </a:bodyPr>
          <a:lstStyle/>
          <a:p>
            <a:pPr marL="28575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unitarias (DEV)</a:t>
            </a:r>
          </a:p>
          <a:p>
            <a:pPr marL="28575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integrales (DEV)</a:t>
            </a:r>
          </a:p>
          <a:p>
            <a:pPr marL="28575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de instalación y </a:t>
            </a:r>
            <a:r>
              <a:rPr lang="es-MX" sz="1200" err="1">
                <a:solidFill>
                  <a:schemeClr val="tx2">
                    <a:lumMod val="50000"/>
                  </a:schemeClr>
                </a:solidFill>
              </a:rPr>
              <a:t>rollback</a:t>
            </a:r>
            <a:r>
              <a:rPr lang="es-MX" sz="1200">
                <a:solidFill>
                  <a:schemeClr val="tx2">
                    <a:lumMod val="50000"/>
                  </a:schemeClr>
                </a:solidFill>
              </a:rPr>
              <a:t> ( )*</a:t>
            </a:r>
          </a:p>
          <a:p>
            <a:pPr marL="28575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de contrato (QA)</a:t>
            </a:r>
          </a:p>
          <a:p>
            <a:pPr marL="28575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funcionales  (QA)</a:t>
            </a:r>
          </a:p>
          <a:p>
            <a:pPr marL="28575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de humo (QA)</a:t>
            </a:r>
          </a:p>
          <a:p>
            <a:pPr marL="28575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exploratorias (QA)</a:t>
            </a:r>
          </a:p>
          <a:p>
            <a:pPr marL="28575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Look and </a:t>
            </a:r>
            <a:r>
              <a:rPr lang="es-MX" sz="1200" err="1">
                <a:solidFill>
                  <a:schemeClr val="tx2">
                    <a:lumMod val="50000"/>
                  </a:schemeClr>
                </a:solidFill>
              </a:rPr>
              <a:t>feel</a:t>
            </a:r>
            <a:r>
              <a:rPr lang="es-MX" sz="1200">
                <a:solidFill>
                  <a:schemeClr val="tx2">
                    <a:lumMod val="50000"/>
                  </a:schemeClr>
                </a:solidFill>
              </a:rPr>
              <a:t> (QA/UX)</a:t>
            </a:r>
            <a:endParaRPr lang="es-PE" sz="1200">
              <a:solidFill>
                <a:schemeClr val="tx2">
                  <a:lumMod val="50000"/>
                </a:schemeClr>
              </a:solidFill>
            </a:endParaRPr>
          </a:p>
          <a:p>
            <a:pPr marL="285750" indent="-285750" algn="just">
              <a:spcBef>
                <a:spcPts val="600"/>
              </a:spcBef>
              <a:spcAft>
                <a:spcPts val="600"/>
              </a:spcAft>
              <a:buClr>
                <a:schemeClr val="accent4"/>
              </a:buClr>
              <a:buFont typeface="Wingdings 3" panose="05040102010807070707" pitchFamily="18" charset="2"/>
              <a:buChar char="}"/>
            </a:pPr>
            <a:endParaRPr lang="es-PE" sz="1200">
              <a:solidFill>
                <a:schemeClr val="tx2">
                  <a:lumMod val="50000"/>
                </a:schemeClr>
              </a:solidFill>
            </a:endParaRPr>
          </a:p>
        </p:txBody>
      </p:sp>
      <p:sp>
        <p:nvSpPr>
          <p:cNvPr id="24" name="CuadroTexto 23">
            <a:extLst>
              <a:ext uri="{FF2B5EF4-FFF2-40B4-BE49-F238E27FC236}">
                <a16:creationId xmlns:a16="http://schemas.microsoft.com/office/drawing/2014/main" id="{2F66F6DB-2C6D-9C87-9C17-D0B719484411}"/>
              </a:ext>
            </a:extLst>
          </p:cNvPr>
          <p:cNvSpPr txBox="1"/>
          <p:nvPr/>
        </p:nvSpPr>
        <p:spPr>
          <a:xfrm>
            <a:off x="4638144" y="2132737"/>
            <a:ext cx="3521787" cy="4545017"/>
          </a:xfrm>
          <a:prstGeom prst="rect">
            <a:avLst/>
          </a:prstGeom>
        </p:spPr>
        <p:txBody>
          <a:bodyPr vert="horz" wrap="none" lIns="0" tIns="180000" rIns="0" bIns="0" rtlCol="0" anchor="ctr">
            <a:noAutofit/>
          </a:bodyPr>
          <a:lstStyle/>
          <a:p>
            <a:pPr marL="7200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de Seguridad (Equipo CISO)</a:t>
            </a:r>
          </a:p>
          <a:p>
            <a:pPr marL="7200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funcionales y regresión (QA)</a:t>
            </a:r>
          </a:p>
          <a:p>
            <a:pPr marL="7200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exploratorias (QA)</a:t>
            </a:r>
          </a:p>
          <a:p>
            <a:pPr marL="7200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de disponibilidad (QA)</a:t>
            </a:r>
          </a:p>
          <a:p>
            <a:pPr marL="7200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de Compatibilidad (QA)</a:t>
            </a:r>
          </a:p>
          <a:p>
            <a:pPr marL="7200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de configuración (QA)</a:t>
            </a:r>
          </a:p>
          <a:p>
            <a:pPr marL="28575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Look and </a:t>
            </a:r>
            <a:r>
              <a:rPr lang="es-MX" sz="1200" err="1">
                <a:solidFill>
                  <a:schemeClr val="tx2">
                    <a:lumMod val="50000"/>
                  </a:schemeClr>
                </a:solidFill>
              </a:rPr>
              <a:t>feel</a:t>
            </a:r>
            <a:r>
              <a:rPr lang="es-MX" sz="1200">
                <a:solidFill>
                  <a:schemeClr val="tx2">
                    <a:lumMod val="50000"/>
                  </a:schemeClr>
                </a:solidFill>
              </a:rPr>
              <a:t> (QA/UX)</a:t>
            </a:r>
            <a:endParaRPr lang="es-PE" sz="1200">
              <a:solidFill>
                <a:schemeClr val="tx2">
                  <a:lumMod val="50000"/>
                </a:schemeClr>
              </a:solidFill>
            </a:endParaRPr>
          </a:p>
          <a:p>
            <a:pPr marL="7200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no funcionales (QA-Performance)</a:t>
            </a:r>
          </a:p>
          <a:p>
            <a:pPr marL="7200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de rendimiento (QA-Performance)</a:t>
            </a:r>
          </a:p>
          <a:p>
            <a:pPr marL="7200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de Aceptación (Usuario / QA)</a:t>
            </a:r>
          </a:p>
          <a:p>
            <a:pPr marL="72000" indent="-285750" algn="just">
              <a:spcBef>
                <a:spcPts val="600"/>
              </a:spcBef>
              <a:spcAft>
                <a:spcPts val="600"/>
              </a:spcAft>
              <a:buClr>
                <a:schemeClr val="accent4"/>
              </a:buClr>
              <a:buFont typeface="Wingdings 3" panose="05040102010807070707" pitchFamily="18" charset="2"/>
              <a:buChar char="}"/>
            </a:pPr>
            <a:endParaRPr lang="es-PE" sz="1200">
              <a:solidFill>
                <a:schemeClr val="tx2">
                  <a:lumMod val="50000"/>
                </a:schemeClr>
              </a:solidFill>
            </a:endParaRPr>
          </a:p>
          <a:p>
            <a:pPr marL="72000" indent="-285750" algn="just">
              <a:spcBef>
                <a:spcPts val="600"/>
              </a:spcBef>
              <a:spcAft>
                <a:spcPts val="600"/>
              </a:spcAft>
              <a:buClr>
                <a:schemeClr val="accent4"/>
              </a:buClr>
              <a:buFont typeface="Wingdings 3" panose="05040102010807070707" pitchFamily="18" charset="2"/>
              <a:buChar char="}"/>
            </a:pPr>
            <a:endParaRPr lang="es-PE" sz="1200">
              <a:solidFill>
                <a:schemeClr val="tx2">
                  <a:lumMod val="50000"/>
                </a:schemeClr>
              </a:solidFill>
            </a:endParaRPr>
          </a:p>
        </p:txBody>
      </p:sp>
      <p:sp>
        <p:nvSpPr>
          <p:cNvPr id="32" name="CuadroTexto 31">
            <a:extLst>
              <a:ext uri="{FF2B5EF4-FFF2-40B4-BE49-F238E27FC236}">
                <a16:creationId xmlns:a16="http://schemas.microsoft.com/office/drawing/2014/main" id="{05E67443-2C8D-F63D-D951-8876606AF69A}"/>
              </a:ext>
            </a:extLst>
          </p:cNvPr>
          <p:cNvSpPr txBox="1"/>
          <p:nvPr/>
        </p:nvSpPr>
        <p:spPr>
          <a:xfrm>
            <a:off x="8159931" y="2455647"/>
            <a:ext cx="3405052" cy="1299755"/>
          </a:xfrm>
          <a:prstGeom prst="rect">
            <a:avLst/>
          </a:prstGeom>
        </p:spPr>
        <p:txBody>
          <a:bodyPr vert="horz" wrap="none" lIns="0" tIns="180000" rIns="0" bIns="0" rtlCol="0" anchor="ctr">
            <a:noAutofit/>
          </a:bodyPr>
          <a:lstStyle/>
          <a:p>
            <a:pPr marL="28575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de ratificación (QA / Usuario)</a:t>
            </a:r>
          </a:p>
          <a:p>
            <a:pPr marL="28575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Pruebas de instalación y </a:t>
            </a:r>
            <a:r>
              <a:rPr lang="es-MX" sz="1200" err="1">
                <a:solidFill>
                  <a:schemeClr val="tx2">
                    <a:lumMod val="50000"/>
                  </a:schemeClr>
                </a:solidFill>
              </a:rPr>
              <a:t>rollback</a:t>
            </a:r>
            <a:r>
              <a:rPr lang="es-MX" sz="1200">
                <a:solidFill>
                  <a:schemeClr val="tx2">
                    <a:lumMod val="50000"/>
                  </a:schemeClr>
                </a:solidFill>
              </a:rPr>
              <a:t> (Operaciones)</a:t>
            </a:r>
          </a:p>
          <a:p>
            <a:pPr marL="285750" indent="-285750" algn="just">
              <a:spcBef>
                <a:spcPts val="600"/>
              </a:spcBef>
              <a:spcAft>
                <a:spcPts val="600"/>
              </a:spcAft>
              <a:buClr>
                <a:schemeClr val="accent4"/>
              </a:buClr>
              <a:buFont typeface="Wingdings 3" panose="05040102010807070707" pitchFamily="18" charset="2"/>
              <a:buChar char="}"/>
            </a:pPr>
            <a:r>
              <a:rPr lang="es-MX" sz="1200">
                <a:solidFill>
                  <a:schemeClr val="tx2">
                    <a:lumMod val="50000"/>
                  </a:schemeClr>
                </a:solidFill>
              </a:rPr>
              <a:t>Monitoreo de performance </a:t>
            </a:r>
            <a:endParaRPr lang="es-PE" sz="1200">
              <a:solidFill>
                <a:schemeClr val="tx2">
                  <a:lumMod val="50000"/>
                </a:schemeClr>
              </a:solidFill>
            </a:endParaRPr>
          </a:p>
        </p:txBody>
      </p:sp>
      <p:sp>
        <p:nvSpPr>
          <p:cNvPr id="33" name="Flecha: a la derecha 32">
            <a:extLst>
              <a:ext uri="{FF2B5EF4-FFF2-40B4-BE49-F238E27FC236}">
                <a16:creationId xmlns:a16="http://schemas.microsoft.com/office/drawing/2014/main" id="{D2291A08-2280-D6DE-E103-ED151BCCC961}"/>
              </a:ext>
            </a:extLst>
          </p:cNvPr>
          <p:cNvSpPr/>
          <p:nvPr/>
        </p:nvSpPr>
        <p:spPr>
          <a:xfrm>
            <a:off x="4032638" y="1603141"/>
            <a:ext cx="827315" cy="20900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4" name="Flecha: a la derecha 33">
            <a:extLst>
              <a:ext uri="{FF2B5EF4-FFF2-40B4-BE49-F238E27FC236}">
                <a16:creationId xmlns:a16="http://schemas.microsoft.com/office/drawing/2014/main" id="{27F7CD64-20B2-C8B1-8FD0-AF1524642D06}"/>
              </a:ext>
            </a:extLst>
          </p:cNvPr>
          <p:cNvSpPr/>
          <p:nvPr/>
        </p:nvSpPr>
        <p:spPr>
          <a:xfrm>
            <a:off x="6993807" y="1604006"/>
            <a:ext cx="827315" cy="20900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pic>
        <p:nvPicPr>
          <p:cNvPr id="2050" name="Picture 2" descr="Prueba de aceptación de usuario UAT Concepto de prueba de software Calidad  de desarrollo Ilustración de stock vectorial | Vector Premium">
            <a:extLst>
              <a:ext uri="{FF2B5EF4-FFF2-40B4-BE49-F238E27FC236}">
                <a16:creationId xmlns:a16="http://schemas.microsoft.com/office/drawing/2014/main" id="{0CD387B4-C6E9-648D-4E61-E4344AB9150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06" t="17165" r="10128" b="17165"/>
          <a:stretch>
            <a:fillRect/>
          </a:stretch>
        </p:blipFill>
        <p:spPr bwMode="auto">
          <a:xfrm>
            <a:off x="5047759" y="1205270"/>
            <a:ext cx="1570436" cy="1036325"/>
          </a:xfrm>
          <a:prstGeom prst="rect">
            <a:avLst/>
          </a:prstGeom>
          <a:noFill/>
          <a:ln w="38100">
            <a:solidFill>
              <a:srgbClr val="EC0000"/>
            </a:solidFill>
          </a:ln>
          <a:extLst>
            <a:ext uri="{909E8E84-426E-40DD-AFC4-6F175D3DCCD1}">
              <a14:hiddenFill xmlns:a14="http://schemas.microsoft.com/office/drawing/2010/main">
                <a:solidFill>
                  <a:srgbClr val="FFFFFF"/>
                </a:solidFill>
              </a14:hiddenFill>
            </a:ext>
          </a:extLst>
        </p:spPr>
      </p:pic>
      <p:pic>
        <p:nvPicPr>
          <p:cNvPr id="2052" name="Picture 4" descr="Pruebas de software software de computadora desarrollo de software pruebas  de seguridad, texto, logo, desarrollo de aplicaciones móviles png | PNGWing">
            <a:extLst>
              <a:ext uri="{FF2B5EF4-FFF2-40B4-BE49-F238E27FC236}">
                <a16:creationId xmlns:a16="http://schemas.microsoft.com/office/drawing/2014/main" id="{EF39581B-27D8-D800-12C9-E7F0E84A2D79}"/>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87503" y="1078768"/>
            <a:ext cx="2294463" cy="105047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Pruebas - Iconos gratis de industria">
            <a:extLst>
              <a:ext uri="{FF2B5EF4-FFF2-40B4-BE49-F238E27FC236}">
                <a16:creationId xmlns:a16="http://schemas.microsoft.com/office/drawing/2014/main" id="{D0A42695-7312-2F9D-F900-F5747063D4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53832" y="1084297"/>
            <a:ext cx="1158073" cy="11580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599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163941-FDDB-D837-1CF9-E6CCB9B6DDF9}"/>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703B83B9-7256-17A2-778D-701D76E20D7F}"/>
              </a:ext>
            </a:extLst>
          </p:cNvPr>
          <p:cNvSpPr>
            <a:spLocks noGrp="1"/>
          </p:cNvSpPr>
          <p:nvPr>
            <p:ph type="body" sz="quarter" idx="14"/>
          </p:nvPr>
        </p:nvSpPr>
        <p:spPr/>
        <p:txBody>
          <a:bodyPr/>
          <a:lstStyle/>
          <a:p>
            <a:endParaRPr lang="es-PE"/>
          </a:p>
        </p:txBody>
      </p:sp>
      <p:sp>
        <p:nvSpPr>
          <p:cNvPr id="3" name="Título 2">
            <a:extLst>
              <a:ext uri="{FF2B5EF4-FFF2-40B4-BE49-F238E27FC236}">
                <a16:creationId xmlns:a16="http://schemas.microsoft.com/office/drawing/2014/main" id="{60583EF4-8FFA-5271-B7D4-522FBC0BBB4D}"/>
              </a:ext>
            </a:extLst>
          </p:cNvPr>
          <p:cNvSpPr>
            <a:spLocks noGrp="1"/>
          </p:cNvSpPr>
          <p:nvPr>
            <p:ph type="title"/>
          </p:nvPr>
        </p:nvSpPr>
        <p:spPr/>
        <p:txBody>
          <a:bodyPr/>
          <a:lstStyle/>
          <a:p>
            <a:r>
              <a:rPr lang="es-MX"/>
              <a:t> </a:t>
            </a:r>
            <a:endParaRPr lang="es-PE"/>
          </a:p>
        </p:txBody>
      </p:sp>
      <p:sp>
        <p:nvSpPr>
          <p:cNvPr id="6" name="Title 5">
            <a:extLst>
              <a:ext uri="{FF2B5EF4-FFF2-40B4-BE49-F238E27FC236}">
                <a16:creationId xmlns:a16="http://schemas.microsoft.com/office/drawing/2014/main" id="{3003F4BF-168E-F5FD-2718-32C78EA5E530}"/>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err="1">
                <a:solidFill>
                  <a:srgbClr val="203864"/>
                </a:solidFill>
                <a:latin typeface="Santander Headline" panose="020B0504020201020104" pitchFamily="34" charset="0"/>
              </a:rPr>
              <a:t>Gestión</a:t>
            </a:r>
            <a:r>
              <a:rPr lang="en-GB" b="0">
                <a:solidFill>
                  <a:srgbClr val="203864"/>
                </a:solidFill>
                <a:latin typeface="Santander Headline" panose="020B0504020201020104" pitchFamily="34" charset="0"/>
              </a:rPr>
              <a:t> de </a:t>
            </a:r>
            <a:r>
              <a:rPr lang="en-GB" b="0" err="1">
                <a:solidFill>
                  <a:srgbClr val="203864"/>
                </a:solidFill>
                <a:latin typeface="Santander Headline" panose="020B0504020201020104" pitchFamily="34" charset="0"/>
              </a:rPr>
              <a:t>Defectos</a:t>
            </a:r>
            <a:endParaRPr lang="es-MX">
              <a:solidFill>
                <a:srgbClr val="203864"/>
              </a:solidFill>
            </a:endParaRPr>
          </a:p>
        </p:txBody>
      </p:sp>
      <p:pic>
        <p:nvPicPr>
          <p:cNvPr id="7" name="Imagen 6">
            <a:extLst>
              <a:ext uri="{FF2B5EF4-FFF2-40B4-BE49-F238E27FC236}">
                <a16:creationId xmlns:a16="http://schemas.microsoft.com/office/drawing/2014/main" id="{D5CA75DE-BC72-3423-C269-C597924576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981" y="2200402"/>
            <a:ext cx="11051250" cy="3834638"/>
          </a:xfrm>
          <a:prstGeom prst="rect">
            <a:avLst/>
          </a:prstGeom>
        </p:spPr>
      </p:pic>
      <p:sp>
        <p:nvSpPr>
          <p:cNvPr id="10" name="CuadroTexto 9">
            <a:extLst>
              <a:ext uri="{FF2B5EF4-FFF2-40B4-BE49-F238E27FC236}">
                <a16:creationId xmlns:a16="http://schemas.microsoft.com/office/drawing/2014/main" id="{6C4C3229-F293-BADA-9223-6B8399292FB4}"/>
              </a:ext>
            </a:extLst>
          </p:cNvPr>
          <p:cNvSpPr txBox="1"/>
          <p:nvPr/>
        </p:nvSpPr>
        <p:spPr>
          <a:xfrm>
            <a:off x="600981" y="1117690"/>
            <a:ext cx="11040155" cy="707886"/>
          </a:xfrm>
          <a:prstGeom prst="rect">
            <a:avLst/>
          </a:prstGeom>
          <a:noFill/>
        </p:spPr>
        <p:txBody>
          <a:bodyPr wrap="square">
            <a:spAutoFit/>
          </a:bodyPr>
          <a:lstStyle/>
          <a:p>
            <a:r>
              <a:rPr lang="es-PE" sz="2000">
                <a:solidFill>
                  <a:schemeClr val="accent5"/>
                </a:solidFill>
              </a:rPr>
              <a:t>Ciclo de vida de un DEFECTO reportado en un entorno de desarrollo, abarcando las actividades y decisiones que involucran tanto al equipo de QA como al equipo de Desarrollo (DEV).</a:t>
            </a:r>
          </a:p>
        </p:txBody>
      </p:sp>
      <p:pic>
        <p:nvPicPr>
          <p:cNvPr id="4" name="Imagen 3" descr="Diagrama&#10;&#10;El contenido generado por IA puede ser incorrecto.">
            <a:extLst>
              <a:ext uri="{FF2B5EF4-FFF2-40B4-BE49-F238E27FC236}">
                <a16:creationId xmlns:a16="http://schemas.microsoft.com/office/drawing/2014/main" id="{17E97D44-5E74-47CB-8637-B84AAFF362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0982" y="2200403"/>
            <a:ext cx="11051250" cy="3834462"/>
          </a:xfrm>
          <a:prstGeom prst="rect">
            <a:avLst/>
          </a:prstGeom>
        </p:spPr>
      </p:pic>
    </p:spTree>
    <p:extLst>
      <p:ext uri="{BB962C8B-B14F-4D97-AF65-F5344CB8AC3E}">
        <p14:creationId xmlns:p14="http://schemas.microsoft.com/office/powerpoint/2010/main" val="25025110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D1C1D-14CE-6999-DD9C-E73D8F613D7F}"/>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66D05F17-18EC-D9C0-C283-D679BB71D679}"/>
              </a:ext>
            </a:extLst>
          </p:cNvPr>
          <p:cNvSpPr>
            <a:spLocks noGrp="1"/>
          </p:cNvSpPr>
          <p:nvPr>
            <p:ph type="body" sz="quarter" idx="14"/>
          </p:nvPr>
        </p:nvSpPr>
        <p:spPr/>
        <p:txBody>
          <a:bodyPr/>
          <a:lstStyle/>
          <a:p>
            <a:endParaRPr lang="es-PE"/>
          </a:p>
        </p:txBody>
      </p:sp>
      <p:sp>
        <p:nvSpPr>
          <p:cNvPr id="14" name="Marcador de número de diapositiva 3">
            <a:extLst>
              <a:ext uri="{FF2B5EF4-FFF2-40B4-BE49-F238E27FC236}">
                <a16:creationId xmlns:a16="http://schemas.microsoft.com/office/drawing/2014/main" id="{A8A578DB-393B-8D49-BC6C-4491543BA1B6}"/>
              </a:ext>
            </a:extLst>
          </p:cNvPr>
          <p:cNvSpPr txBox="1">
            <a:spLocks/>
          </p:cNvSpPr>
          <p:nvPr/>
        </p:nvSpPr>
        <p:spPr>
          <a:xfrm>
            <a:off x="8610600" y="6451239"/>
            <a:ext cx="3030538" cy="333609"/>
          </a:xfrm>
          <a:prstGeom prst="rect">
            <a:avLst/>
          </a:prstGeom>
        </p:spPr>
        <p:txBody>
          <a:bodyPr vert="horz" lIns="0" tIns="36000" rIns="0" bIns="0" rtlCol="0" anchor="t" anchorCtr="0">
            <a:noAutofit/>
          </a:bodyPr>
          <a:lstStyle>
            <a:lvl1pPr marL="0" indent="0" algn="l" defTabSz="911045" rtl="0" eaLnBrk="1" latinLnBrk="0" hangingPunct="1">
              <a:lnSpc>
                <a:spcPct val="100000"/>
              </a:lnSpc>
              <a:spcBef>
                <a:spcPts val="996"/>
              </a:spcBef>
              <a:buFont typeface="Webdings" panose="05030102010509060703" pitchFamily="18" charset="2"/>
              <a:buNone/>
              <a:defRPr sz="998" kern="1200">
                <a:solidFill>
                  <a:schemeClr val="bg2"/>
                </a:solidFill>
                <a:latin typeface="Santander Text"/>
                <a:ea typeface="+mn-ea"/>
                <a:cs typeface="+mn-cs"/>
              </a:defRPr>
            </a:lvl1pPr>
            <a:lvl2pPr marL="0" indent="0" algn="l" defTabSz="911045" rtl="0" eaLnBrk="1" latinLnBrk="0" hangingPunct="1">
              <a:lnSpc>
                <a:spcPct val="100000"/>
              </a:lnSpc>
              <a:spcBef>
                <a:spcPts val="498"/>
              </a:spcBef>
              <a:buClr>
                <a:schemeClr val="accent4"/>
              </a:buClr>
              <a:buSzPct val="110000"/>
              <a:buFont typeface="Webdings" panose="05030102010509060703" pitchFamily="18" charset="2"/>
              <a:buChar char="4"/>
              <a:defRPr sz="1597" kern="1200">
                <a:solidFill>
                  <a:schemeClr val="bg2"/>
                </a:solidFill>
                <a:latin typeface="Santander Text"/>
                <a:ea typeface="+mn-ea"/>
                <a:cs typeface="+mn-cs"/>
              </a:defRPr>
            </a:lvl2pPr>
            <a:lvl3pPr marL="174311" indent="188573" algn="l" defTabSz="911045" rtl="0" eaLnBrk="1" latinLnBrk="0" hangingPunct="1">
              <a:lnSpc>
                <a:spcPct val="90000"/>
              </a:lnSpc>
              <a:spcBef>
                <a:spcPts val="498"/>
              </a:spcBef>
              <a:buClr>
                <a:srgbClr val="8AB9CC"/>
              </a:buClr>
              <a:buFont typeface="Webdings" panose="05030102010509060703" pitchFamily="18" charset="2"/>
              <a:buChar char=""/>
              <a:defRPr sz="1597" kern="1200">
                <a:solidFill>
                  <a:schemeClr val="bg2"/>
                </a:solidFill>
                <a:latin typeface="Santander Text"/>
                <a:ea typeface="+mn-ea"/>
                <a:cs typeface="+mn-cs"/>
              </a:defRPr>
            </a:lvl3pPr>
            <a:lvl4pPr marL="362884" indent="174311" algn="l" defTabSz="911045" rtl="0" eaLnBrk="1" latinLnBrk="0" hangingPunct="1">
              <a:lnSpc>
                <a:spcPct val="100000"/>
              </a:lnSpc>
              <a:spcBef>
                <a:spcPts val="498"/>
              </a:spcBef>
              <a:buClr>
                <a:schemeClr val="accent4"/>
              </a:buClr>
              <a:buFont typeface="Arial" panose="020B0604020202020204" pitchFamily="34" charset="0"/>
              <a:buChar char="•"/>
              <a:defRPr sz="1597" kern="1200">
                <a:solidFill>
                  <a:schemeClr val="bg2"/>
                </a:solidFill>
                <a:latin typeface="Santander Text"/>
                <a:ea typeface="+mn-ea"/>
                <a:cs typeface="+mn-cs"/>
              </a:defRPr>
            </a:lvl4pPr>
            <a:lvl5pPr marL="537194" indent="174311" algn="l" defTabSz="911045" rtl="0" eaLnBrk="1" latinLnBrk="0" hangingPunct="1">
              <a:lnSpc>
                <a:spcPct val="90000"/>
              </a:lnSpc>
              <a:spcBef>
                <a:spcPts val="498"/>
              </a:spcBef>
              <a:buClr>
                <a:srgbClr val="8AB9CC"/>
              </a:buClr>
              <a:buFont typeface="Webdings" panose="05030102010509060703" pitchFamily="18" charset="2"/>
              <a:buChar char=""/>
              <a:defRPr sz="1597" kern="1200">
                <a:solidFill>
                  <a:schemeClr val="bg2"/>
                </a:solidFill>
                <a:latin typeface="Santander Text"/>
                <a:ea typeface="+mn-ea"/>
                <a:cs typeface="+mn-cs"/>
              </a:defRPr>
            </a:lvl5pPr>
            <a:lvl6pPr marL="2505377"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6pPr>
            <a:lvl7pPr marL="2960900"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7pPr>
            <a:lvl8pPr marL="3416423"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8pPr>
            <a:lvl9pPr marL="3871947"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9pPr>
          </a:lstStyle>
          <a:p>
            <a:pPr algn="r"/>
            <a:fld id="{921A6315-1B6D-4306-AE81-37B8137F3D65}" type="slidenum">
              <a:rPr lang="es-ES" sz="1100" smtClean="0"/>
              <a:pPr algn="r"/>
              <a:t>2</a:t>
            </a:fld>
            <a:endParaRPr lang="es-ES" sz="1100"/>
          </a:p>
        </p:txBody>
      </p:sp>
      <p:sp>
        <p:nvSpPr>
          <p:cNvPr id="18" name="CuadroTexto 2">
            <a:extLst>
              <a:ext uri="{FF2B5EF4-FFF2-40B4-BE49-F238E27FC236}">
                <a16:creationId xmlns:a16="http://schemas.microsoft.com/office/drawing/2014/main" id="{78E342F7-4154-9DED-255D-59A72BCD5CF1}"/>
              </a:ext>
            </a:extLst>
          </p:cNvPr>
          <p:cNvSpPr txBox="1"/>
          <p:nvPr/>
        </p:nvSpPr>
        <p:spPr>
          <a:xfrm>
            <a:off x="526001" y="1473757"/>
            <a:ext cx="5659139" cy="4607856"/>
          </a:xfrm>
          <a:prstGeom prst="rect">
            <a:avLst/>
          </a:prstGeom>
          <a:solidFill>
            <a:srgbClr val="9BC3D3">
              <a:lumMod val="20000"/>
              <a:lumOff val="80000"/>
            </a:srgbClr>
          </a:solidFill>
        </p:spPr>
        <p:txBody>
          <a:bodyPr wrap="square" lIns="180000" tIns="180000" rIns="180000" bIns="180000" rtlCol="0" anchor="ctr">
            <a:noAutofit/>
          </a:bodyPr>
          <a:lstStyle/>
          <a:p>
            <a:pPr algn="just">
              <a:spcAft>
                <a:spcPts val="1200"/>
              </a:spcAft>
            </a:pPr>
            <a:r>
              <a:rPr lang="es-MX" sz="2000">
                <a:solidFill>
                  <a:schemeClr val="accent5"/>
                </a:solidFill>
              </a:rPr>
              <a:t>La estrategia de calidad, busca asegurar que las expectativas del usuario se cumplan durante todo el ciclo de desarrollo, mediante entregables claros.</a:t>
            </a:r>
            <a:endParaRPr lang="en-GB" sz="1100" b="0" i="0" u="none" strike="noStrike">
              <a:solidFill>
                <a:srgbClr val="212121"/>
              </a:solidFill>
              <a:effectLst/>
              <a:latin typeface="Santander Text" panose="020B0504020201020104" pitchFamily="34" charset="0"/>
            </a:endParaRPr>
          </a:p>
        </p:txBody>
      </p:sp>
      <p:sp>
        <p:nvSpPr>
          <p:cNvPr id="23" name="CuadroTexto 22">
            <a:extLst>
              <a:ext uri="{FF2B5EF4-FFF2-40B4-BE49-F238E27FC236}">
                <a16:creationId xmlns:a16="http://schemas.microsoft.com/office/drawing/2014/main" id="{3CD336BC-36E5-5F45-2043-1B8D41E9BD1B}"/>
              </a:ext>
            </a:extLst>
          </p:cNvPr>
          <p:cNvSpPr txBox="1"/>
          <p:nvPr/>
        </p:nvSpPr>
        <p:spPr>
          <a:xfrm>
            <a:off x="1076091" y="1805028"/>
            <a:ext cx="4015737" cy="397032"/>
          </a:xfrm>
          <a:prstGeom prst="rect">
            <a:avLst/>
          </a:prstGeom>
          <a:noFill/>
        </p:spPr>
        <p:txBody>
          <a:bodyPr wrap="square">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200" b="1" i="0" u="none" strike="noStrike" kern="1200" cap="none" spc="0" normalizeH="0" baseline="0" noProof="0">
                <a:ln>
                  <a:noFill/>
                </a:ln>
                <a:solidFill>
                  <a:srgbClr val="4E96BF"/>
                </a:solidFill>
                <a:effectLst/>
                <a:uLnTx/>
                <a:uFillTx/>
                <a:latin typeface="Santander Text" panose="020B0504020201020104" pitchFamily="34" charset="0"/>
                <a:ea typeface="+mn-ea"/>
                <a:cs typeface="+mn-cs"/>
              </a:rPr>
              <a:t>Introducción</a:t>
            </a:r>
            <a:endParaRPr kumimoji="0" lang="en-US" sz="2200" b="1" i="0" u="none" strike="noStrike" kern="1200" cap="none" spc="0" normalizeH="0" baseline="0" noProof="0">
              <a:ln>
                <a:noFill/>
              </a:ln>
              <a:solidFill>
                <a:srgbClr val="4E96BF"/>
              </a:solidFill>
              <a:effectLst/>
              <a:uLnTx/>
              <a:uFillTx/>
              <a:latin typeface="Santander Text" panose="020B0504020201020104" pitchFamily="34" charset="0"/>
              <a:ea typeface="+mn-ea"/>
              <a:cs typeface="+mn-cs"/>
            </a:endParaRPr>
          </a:p>
        </p:txBody>
      </p:sp>
      <p:sp>
        <p:nvSpPr>
          <p:cNvPr id="24" name="CuadroTexto 2">
            <a:extLst>
              <a:ext uri="{FF2B5EF4-FFF2-40B4-BE49-F238E27FC236}">
                <a16:creationId xmlns:a16="http://schemas.microsoft.com/office/drawing/2014/main" id="{2C0D7A56-057E-33E2-7528-A9CF3356658A}"/>
              </a:ext>
            </a:extLst>
          </p:cNvPr>
          <p:cNvSpPr txBox="1"/>
          <p:nvPr/>
        </p:nvSpPr>
        <p:spPr>
          <a:xfrm>
            <a:off x="6556945" y="1473757"/>
            <a:ext cx="5109054" cy="4607856"/>
          </a:xfrm>
          <a:prstGeom prst="rect">
            <a:avLst/>
          </a:prstGeom>
          <a:solidFill>
            <a:schemeClr val="bg1">
              <a:lumMod val="95000"/>
            </a:schemeClr>
          </a:solidFill>
        </p:spPr>
        <p:txBody>
          <a:bodyPr wrap="square" lIns="180000" tIns="180000" rIns="180000" bIns="180000" rtlCol="0" anchor="ctr">
            <a:noAutofit/>
          </a:bodyPr>
          <a:lstStyle/>
          <a:p>
            <a:pPr marL="342900" indent="-342900" algn="just">
              <a:buFont typeface="+mj-lt"/>
              <a:buAutoNum type="arabicPeriod"/>
            </a:pPr>
            <a:r>
              <a:rPr lang="es-MX" sz="1600">
                <a:solidFill>
                  <a:schemeClr val="accent5"/>
                </a:solidFill>
              </a:rPr>
              <a:t>Definir y comunicar estándares y planes de calidad alineados con los objetivos del negocio.</a:t>
            </a:r>
          </a:p>
          <a:p>
            <a:pPr marL="342900" indent="-342900" algn="just">
              <a:buFont typeface="+mj-lt"/>
              <a:buAutoNum type="arabicPeriod"/>
            </a:pPr>
            <a:r>
              <a:rPr lang="es-MX" sz="1600">
                <a:solidFill>
                  <a:schemeClr val="accent5"/>
                </a:solidFill>
              </a:rPr>
              <a:t>Implementar procesos y herramientas para la gestión de riesgos y la mejora continua.</a:t>
            </a:r>
          </a:p>
          <a:p>
            <a:pPr marL="342900" indent="-342900" algn="just">
              <a:buFont typeface="+mj-lt"/>
              <a:buAutoNum type="arabicPeriod"/>
            </a:pPr>
            <a:r>
              <a:rPr lang="es-MX" sz="1600">
                <a:solidFill>
                  <a:schemeClr val="accent5"/>
                </a:solidFill>
              </a:rPr>
              <a:t>Validar entregables en cada etapa, asegurando el cumplimiento de los criterios de calidad.</a:t>
            </a:r>
          </a:p>
          <a:p>
            <a:pPr marL="342900" indent="-342900" algn="just">
              <a:buFont typeface="+mj-lt"/>
              <a:buAutoNum type="arabicPeriod"/>
            </a:pPr>
            <a:r>
              <a:rPr lang="es-MX" sz="1600">
                <a:solidFill>
                  <a:schemeClr val="accent5"/>
                </a:solidFill>
              </a:rPr>
              <a:t>Capacitar al equipo y fomentar una cultura de calidad basada en buenas prácticas.</a:t>
            </a:r>
          </a:p>
        </p:txBody>
      </p:sp>
      <p:cxnSp>
        <p:nvCxnSpPr>
          <p:cNvPr id="37" name="Straight Connector 14">
            <a:extLst>
              <a:ext uri="{FF2B5EF4-FFF2-40B4-BE49-F238E27FC236}">
                <a16:creationId xmlns:a16="http://schemas.microsoft.com/office/drawing/2014/main" id="{62D18E82-5C1D-8E31-A191-7845F6623B2A}"/>
              </a:ext>
            </a:extLst>
          </p:cNvPr>
          <p:cNvCxnSpPr/>
          <p:nvPr/>
        </p:nvCxnSpPr>
        <p:spPr>
          <a:xfrm>
            <a:off x="550864" y="853361"/>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9" name="Title 5">
            <a:extLst>
              <a:ext uri="{FF2B5EF4-FFF2-40B4-BE49-F238E27FC236}">
                <a16:creationId xmlns:a16="http://schemas.microsoft.com/office/drawing/2014/main" id="{71E20D94-0A02-0BF2-70C1-2F438D32D0A2}"/>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 </a:t>
            </a:r>
            <a:r>
              <a:rPr lang="en-GB" b="0">
                <a:solidFill>
                  <a:srgbClr val="203864"/>
                </a:solidFill>
                <a:latin typeface="Santander Headline" panose="020B0504020201020104" pitchFamily="34" charset="0"/>
              </a:rPr>
              <a:t>Introducción y Objetivos</a:t>
            </a:r>
            <a:endParaRPr lang="es-MX">
              <a:solidFill>
                <a:srgbClr val="203864"/>
              </a:solidFill>
            </a:endParaRPr>
          </a:p>
        </p:txBody>
      </p:sp>
      <p:pic>
        <p:nvPicPr>
          <p:cNvPr id="40" name="Gráfico 39" descr="Documento con relleno sólido">
            <a:extLst>
              <a:ext uri="{FF2B5EF4-FFF2-40B4-BE49-F238E27FC236}">
                <a16:creationId xmlns:a16="http://schemas.microsoft.com/office/drawing/2014/main" id="{3173C87D-BE9A-EAD3-3A35-85E4FABB532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0187" y="1617253"/>
            <a:ext cx="540000" cy="540000"/>
          </a:xfrm>
          <a:prstGeom prst="rect">
            <a:avLst/>
          </a:prstGeom>
        </p:spPr>
      </p:pic>
      <p:sp>
        <p:nvSpPr>
          <p:cNvPr id="41" name="CuadroTexto 40">
            <a:extLst>
              <a:ext uri="{FF2B5EF4-FFF2-40B4-BE49-F238E27FC236}">
                <a16:creationId xmlns:a16="http://schemas.microsoft.com/office/drawing/2014/main" id="{774C9A4E-D8FA-9238-51EF-1CBF06ACAED7}"/>
              </a:ext>
            </a:extLst>
          </p:cNvPr>
          <p:cNvSpPr txBox="1"/>
          <p:nvPr/>
        </p:nvSpPr>
        <p:spPr>
          <a:xfrm>
            <a:off x="7170973" y="1760221"/>
            <a:ext cx="3944936" cy="397032"/>
          </a:xfrm>
          <a:prstGeom prst="rect">
            <a:avLst/>
          </a:prstGeom>
          <a:noFill/>
        </p:spPr>
        <p:txBody>
          <a:bodyPr wrap="square">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200" b="1" i="0" u="none" strike="noStrike" kern="1200" cap="none" spc="0" normalizeH="0" baseline="0" noProof="0">
                <a:ln>
                  <a:noFill/>
                </a:ln>
                <a:solidFill>
                  <a:srgbClr val="4E96BF"/>
                </a:solidFill>
                <a:effectLst/>
                <a:uLnTx/>
                <a:uFillTx/>
                <a:latin typeface="Santander Text" panose="020B0504020201020104" pitchFamily="34" charset="0"/>
                <a:ea typeface="+mn-ea"/>
                <a:cs typeface="+mn-cs"/>
              </a:rPr>
              <a:t>Objetivos</a:t>
            </a:r>
            <a:endParaRPr kumimoji="0" lang="en-US" sz="2200" b="1" i="0" u="none" strike="noStrike" kern="1200" cap="none" spc="0" normalizeH="0" baseline="0" noProof="0">
              <a:ln>
                <a:noFill/>
              </a:ln>
              <a:solidFill>
                <a:srgbClr val="4E96BF"/>
              </a:solidFill>
              <a:effectLst/>
              <a:uLnTx/>
              <a:uFillTx/>
              <a:latin typeface="Santander Text" panose="020B0504020201020104" pitchFamily="34" charset="0"/>
              <a:ea typeface="+mn-ea"/>
              <a:cs typeface="+mn-cs"/>
            </a:endParaRPr>
          </a:p>
        </p:txBody>
      </p:sp>
      <p:pic>
        <p:nvPicPr>
          <p:cNvPr id="42" name="Gráfico 41" descr="Diana con relleno sólido">
            <a:extLst>
              <a:ext uri="{FF2B5EF4-FFF2-40B4-BE49-F238E27FC236}">
                <a16:creationId xmlns:a16="http://schemas.microsoft.com/office/drawing/2014/main" id="{38619D98-AC31-D6D5-F965-1082A6487B7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15071" y="1598915"/>
            <a:ext cx="540000" cy="540000"/>
          </a:xfrm>
          <a:prstGeom prst="rect">
            <a:avLst/>
          </a:prstGeom>
        </p:spPr>
      </p:pic>
    </p:spTree>
    <p:extLst>
      <p:ext uri="{BB962C8B-B14F-4D97-AF65-F5344CB8AC3E}">
        <p14:creationId xmlns:p14="http://schemas.microsoft.com/office/powerpoint/2010/main" val="21328208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DF14ED-1A2E-6845-989E-974B3FDF212F}"/>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0583673C-19BD-48B6-FF29-4BEFC748BC4F}"/>
              </a:ext>
            </a:extLst>
          </p:cNvPr>
          <p:cNvSpPr>
            <a:spLocks noGrp="1"/>
          </p:cNvSpPr>
          <p:nvPr>
            <p:ph type="body" sz="quarter" idx="14"/>
          </p:nvPr>
        </p:nvSpPr>
        <p:spPr/>
        <p:txBody>
          <a:bodyPr/>
          <a:lstStyle/>
          <a:p>
            <a:endParaRPr lang="es-PE"/>
          </a:p>
        </p:txBody>
      </p:sp>
      <p:graphicFrame>
        <p:nvGraphicFramePr>
          <p:cNvPr id="5" name="Tabla 4">
            <a:extLst>
              <a:ext uri="{FF2B5EF4-FFF2-40B4-BE49-F238E27FC236}">
                <a16:creationId xmlns:a16="http://schemas.microsoft.com/office/drawing/2014/main" id="{D12E792D-4A97-75BF-D709-65D99F2D9D65}"/>
              </a:ext>
            </a:extLst>
          </p:cNvPr>
          <p:cNvGraphicFramePr>
            <a:graphicFrameLocks noGrp="1"/>
          </p:cNvGraphicFramePr>
          <p:nvPr>
            <p:extLst>
              <p:ext uri="{D42A27DB-BD31-4B8C-83A1-F6EECF244321}">
                <p14:modId xmlns:p14="http://schemas.microsoft.com/office/powerpoint/2010/main" val="2122540313"/>
              </p:ext>
            </p:extLst>
          </p:nvPr>
        </p:nvGraphicFramePr>
        <p:xfrm>
          <a:off x="550862" y="1359233"/>
          <a:ext cx="11246107" cy="4318000"/>
        </p:xfrm>
        <a:graphic>
          <a:graphicData uri="http://schemas.openxmlformats.org/drawingml/2006/table">
            <a:tbl>
              <a:tblPr firstRow="1" bandRow="1">
                <a:tableStyleId>{5C22544A-7EE6-4342-B048-85BDC9FD1C3A}</a:tableStyleId>
              </a:tblPr>
              <a:tblGrid>
                <a:gridCol w="603665">
                  <a:extLst>
                    <a:ext uri="{9D8B030D-6E8A-4147-A177-3AD203B41FA5}">
                      <a16:colId xmlns:a16="http://schemas.microsoft.com/office/drawing/2014/main" val="3128217690"/>
                    </a:ext>
                  </a:extLst>
                </a:gridCol>
                <a:gridCol w="2175098">
                  <a:extLst>
                    <a:ext uri="{9D8B030D-6E8A-4147-A177-3AD203B41FA5}">
                      <a16:colId xmlns:a16="http://schemas.microsoft.com/office/drawing/2014/main" val="752914471"/>
                    </a:ext>
                  </a:extLst>
                </a:gridCol>
                <a:gridCol w="2851718">
                  <a:extLst>
                    <a:ext uri="{9D8B030D-6E8A-4147-A177-3AD203B41FA5}">
                      <a16:colId xmlns:a16="http://schemas.microsoft.com/office/drawing/2014/main" val="333504499"/>
                    </a:ext>
                  </a:extLst>
                </a:gridCol>
                <a:gridCol w="4432254">
                  <a:extLst>
                    <a:ext uri="{9D8B030D-6E8A-4147-A177-3AD203B41FA5}">
                      <a16:colId xmlns:a16="http://schemas.microsoft.com/office/drawing/2014/main" val="544338571"/>
                    </a:ext>
                  </a:extLst>
                </a:gridCol>
                <a:gridCol w="1183372">
                  <a:extLst>
                    <a:ext uri="{9D8B030D-6E8A-4147-A177-3AD203B41FA5}">
                      <a16:colId xmlns:a16="http://schemas.microsoft.com/office/drawing/2014/main" val="2649996025"/>
                    </a:ext>
                  </a:extLst>
                </a:gridCol>
              </a:tblGrid>
              <a:tr h="370840">
                <a:tc>
                  <a:txBody>
                    <a:bodyPr/>
                    <a:lstStyle/>
                    <a:p>
                      <a:pPr algn="ctr"/>
                      <a:r>
                        <a:rPr lang="es-MX" sz="1200"/>
                        <a:t>Nro</a:t>
                      </a:r>
                      <a:endParaRPr lang="es-PE" sz="1200"/>
                    </a:p>
                  </a:txBody>
                  <a:tcPr>
                    <a:solidFill>
                      <a:srgbClr val="203864"/>
                    </a:solidFill>
                  </a:tcPr>
                </a:tc>
                <a:tc>
                  <a:txBody>
                    <a:bodyPr/>
                    <a:lstStyle/>
                    <a:p>
                      <a:pPr algn="ctr"/>
                      <a:r>
                        <a:rPr lang="es-MX" sz="1200"/>
                        <a:t>Indicador</a:t>
                      </a:r>
                      <a:endParaRPr lang="es-PE" sz="1200"/>
                    </a:p>
                  </a:txBody>
                  <a:tcPr>
                    <a:solidFill>
                      <a:srgbClr val="203864"/>
                    </a:solidFill>
                  </a:tcPr>
                </a:tc>
                <a:tc>
                  <a:txBody>
                    <a:bodyPr/>
                    <a:lstStyle/>
                    <a:p>
                      <a:pPr algn="ctr"/>
                      <a:r>
                        <a:rPr lang="es-MX" sz="1200"/>
                        <a:t>Fórmula</a:t>
                      </a:r>
                      <a:endParaRPr lang="es-PE" sz="1200"/>
                    </a:p>
                  </a:txBody>
                  <a:tcPr>
                    <a:solidFill>
                      <a:srgbClr val="203864"/>
                    </a:solidFill>
                  </a:tcPr>
                </a:tc>
                <a:tc>
                  <a:txBody>
                    <a:bodyPr/>
                    <a:lstStyle/>
                    <a:p>
                      <a:pPr algn="ctr"/>
                      <a:r>
                        <a:rPr lang="es-MX" sz="1200"/>
                        <a:t>Descripción</a:t>
                      </a:r>
                      <a:endParaRPr lang="es-PE" sz="1200"/>
                    </a:p>
                  </a:txBody>
                  <a:tcPr>
                    <a:solidFill>
                      <a:srgbClr val="203864"/>
                    </a:solidFill>
                  </a:tcPr>
                </a:tc>
                <a:tc>
                  <a:txBody>
                    <a:bodyPr/>
                    <a:lstStyle/>
                    <a:p>
                      <a:pPr algn="ctr"/>
                      <a:r>
                        <a:rPr lang="es-MX" sz="1200"/>
                        <a:t>Objetivo</a:t>
                      </a:r>
                      <a:endParaRPr lang="es-PE" sz="1200"/>
                    </a:p>
                  </a:txBody>
                  <a:tcPr>
                    <a:solidFill>
                      <a:srgbClr val="203864"/>
                    </a:solidFill>
                  </a:tcPr>
                </a:tc>
                <a:extLst>
                  <a:ext uri="{0D108BD9-81ED-4DB2-BD59-A6C34878D82A}">
                    <a16:rowId xmlns:a16="http://schemas.microsoft.com/office/drawing/2014/main" val="2451196791"/>
                  </a:ext>
                </a:extLst>
              </a:tr>
              <a:tr h="370840">
                <a:tc>
                  <a:txBody>
                    <a:bodyPr/>
                    <a:lstStyle/>
                    <a:p>
                      <a:pPr algn="ctr"/>
                      <a:r>
                        <a:rPr lang="es-MX" sz="1200">
                          <a:solidFill>
                            <a:schemeClr val="bg2"/>
                          </a:solidFill>
                        </a:rPr>
                        <a:t>1</a:t>
                      </a:r>
                      <a:endParaRPr lang="es-PE" sz="1200">
                        <a:solidFill>
                          <a:schemeClr val="bg2"/>
                        </a:solidFill>
                      </a:endParaRPr>
                    </a:p>
                  </a:txBody>
                  <a:tcPr>
                    <a:solidFill>
                      <a:srgbClr val="DEEDF1"/>
                    </a:solidFill>
                  </a:tcPr>
                </a:tc>
                <a:tc>
                  <a:txBody>
                    <a:bodyPr/>
                    <a:lstStyle/>
                    <a:p>
                      <a:r>
                        <a:rPr lang="es-MX" sz="1200" b="1">
                          <a:solidFill>
                            <a:schemeClr val="bg2"/>
                          </a:solidFill>
                        </a:rPr>
                        <a:t>PORCENTAJE DE EFICACIA EN LAS REVISIONES DE CASOS DE PRUEBA</a:t>
                      </a:r>
                      <a:endParaRPr lang="es-PE" sz="1200" b="1">
                        <a:solidFill>
                          <a:schemeClr val="bg2"/>
                        </a:solidFill>
                      </a:endParaRPr>
                    </a:p>
                  </a:txBody>
                  <a:tcPr>
                    <a:solidFill>
                      <a:srgbClr val="DEEDF1"/>
                    </a:solidFill>
                  </a:tcPr>
                </a:tc>
                <a:tc>
                  <a:txBody>
                    <a:bodyPr/>
                    <a:lstStyle/>
                    <a:p>
                      <a:r>
                        <a:rPr lang="es-MX" sz="1200">
                          <a:solidFill>
                            <a:schemeClr val="bg2"/>
                          </a:solidFill>
                        </a:rPr>
                        <a:t>% Eficacia = (Número de casos de prueba aprobados en la última revisión / Número total de casos de prueba diseñados) x 100</a:t>
                      </a:r>
                      <a:endParaRPr lang="es-PE" sz="1200">
                        <a:solidFill>
                          <a:schemeClr val="bg2"/>
                        </a:solidFill>
                      </a:endParaRPr>
                    </a:p>
                  </a:txBody>
                  <a:tcPr>
                    <a:solidFill>
                      <a:srgbClr val="DEEDF1"/>
                    </a:solidFill>
                  </a:tcPr>
                </a:tc>
                <a:tc>
                  <a:txBody>
                    <a:bodyPr/>
                    <a:lstStyle/>
                    <a:p>
                      <a:pPr marL="0" indent="0">
                        <a:buFont typeface="Wingdings" panose="05000000000000000000" pitchFamily="2" charset="2"/>
                        <a:buNone/>
                      </a:pPr>
                      <a:r>
                        <a:rPr lang="es-MX" sz="1100">
                          <a:solidFill>
                            <a:schemeClr val="bg2"/>
                          </a:solidFill>
                        </a:rPr>
                        <a:t>Mide la calidad y precisión de los casos de prueba diseñados durante el proceso de aseguramiento de calidad. Este KPI refleja el grado en que los casos de prueba diseñados cumplen con los criterios de aceptación, estándares de calidad y cobertura funcional definida, según lo validado en la última revisión formal del ciclo de pruebas.</a:t>
                      </a:r>
                      <a:endParaRPr lang="es-PE" sz="1100">
                        <a:solidFill>
                          <a:schemeClr val="bg2"/>
                        </a:solidFill>
                      </a:endParaRPr>
                    </a:p>
                  </a:txBody>
                  <a:tcPr>
                    <a:solidFill>
                      <a:srgbClr val="DEEDF1"/>
                    </a:solidFill>
                  </a:tcPr>
                </a:tc>
                <a:tc>
                  <a:txBody>
                    <a:bodyPr/>
                    <a:lstStyle/>
                    <a:p>
                      <a:pPr marL="0" marR="0" lvl="0" indent="0" algn="ctr" defTabSz="9126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s-MX" sz="1800" b="1">
                          <a:solidFill>
                            <a:schemeClr val="bg2"/>
                          </a:solidFill>
                        </a:rPr>
                        <a:t>&gt;= 85 %</a:t>
                      </a:r>
                      <a:endParaRPr lang="es-PE" sz="1800" b="1">
                        <a:solidFill>
                          <a:schemeClr val="bg2"/>
                        </a:solidFill>
                      </a:endParaRPr>
                    </a:p>
                  </a:txBody>
                  <a:tcPr anchor="ctr">
                    <a:solidFill>
                      <a:srgbClr val="DEEDF1"/>
                    </a:solidFill>
                  </a:tcPr>
                </a:tc>
                <a:extLst>
                  <a:ext uri="{0D108BD9-81ED-4DB2-BD59-A6C34878D82A}">
                    <a16:rowId xmlns:a16="http://schemas.microsoft.com/office/drawing/2014/main" val="4000222010"/>
                  </a:ext>
                </a:extLst>
              </a:tr>
              <a:tr h="370840">
                <a:tc>
                  <a:txBody>
                    <a:bodyPr/>
                    <a:lstStyle/>
                    <a:p>
                      <a:pPr algn="ctr"/>
                      <a:r>
                        <a:rPr lang="es-MX" sz="1200">
                          <a:solidFill>
                            <a:schemeClr val="bg2"/>
                          </a:solidFill>
                        </a:rPr>
                        <a:t>2</a:t>
                      </a:r>
                      <a:endParaRPr lang="es-PE" sz="1200">
                        <a:solidFill>
                          <a:schemeClr val="bg2"/>
                        </a:solidFill>
                      </a:endParaRPr>
                    </a:p>
                  </a:txBody>
                  <a:tcPr>
                    <a:solidFill>
                      <a:srgbClr val="DEEDF1"/>
                    </a:solidFill>
                  </a:tcPr>
                </a:tc>
                <a:tc>
                  <a:txBody>
                    <a:bodyPr/>
                    <a:lstStyle/>
                    <a:p>
                      <a:r>
                        <a:rPr lang="es-MX" sz="1200" b="1">
                          <a:solidFill>
                            <a:schemeClr val="bg2"/>
                          </a:solidFill>
                        </a:rPr>
                        <a:t>PORCENTAJE DE DEFECTOS DESCUBIERTOS</a:t>
                      </a:r>
                      <a:endParaRPr lang="es-PE" sz="1200" b="1">
                        <a:solidFill>
                          <a:schemeClr val="bg2"/>
                        </a:solidFill>
                      </a:endParaRPr>
                    </a:p>
                  </a:txBody>
                  <a:tcPr>
                    <a:solidFill>
                      <a:srgbClr val="DEEDF1"/>
                    </a:solidFill>
                  </a:tcPr>
                </a:tc>
                <a:tc>
                  <a:txBody>
                    <a:bodyPr/>
                    <a:lstStyle/>
                    <a:p>
                      <a:r>
                        <a:rPr lang="es-MX" sz="1200">
                          <a:solidFill>
                            <a:schemeClr val="bg2"/>
                          </a:solidFill>
                        </a:rPr>
                        <a:t>% Casos Impactados = (Número de casos de prueba impactados por defectos en el primer ciclo / Número total de casos de prueba) x 100</a:t>
                      </a:r>
                      <a:endParaRPr lang="es-PE" sz="1200">
                        <a:solidFill>
                          <a:schemeClr val="bg2"/>
                        </a:solidFill>
                      </a:endParaRPr>
                    </a:p>
                  </a:txBody>
                  <a:tcPr>
                    <a:solidFill>
                      <a:srgbClr val="DEEDF1"/>
                    </a:solidFill>
                  </a:tcPr>
                </a:tc>
                <a:tc>
                  <a:txBody>
                    <a:bodyPr/>
                    <a:lstStyle/>
                    <a:p>
                      <a:pPr marL="0" indent="0">
                        <a:buFont typeface="Wingdings" panose="05000000000000000000" pitchFamily="2" charset="2"/>
                        <a:buNone/>
                      </a:pPr>
                      <a:r>
                        <a:rPr lang="es-MX" sz="1100">
                          <a:solidFill>
                            <a:schemeClr val="bg2"/>
                          </a:solidFill>
                        </a:rPr>
                        <a:t>Mide la proporción de casos de prueba que han detectado al menos un defecto durante el primer ciclo de pruebas. Este indicador ayuda a evaluar la efectividad de los casos de prueba para identificar errores tempranamente en el ciclo de validación.</a:t>
                      </a:r>
                      <a:endParaRPr lang="es-PE" sz="1100">
                        <a:solidFill>
                          <a:schemeClr val="bg2"/>
                        </a:solidFill>
                      </a:endParaRPr>
                    </a:p>
                  </a:txBody>
                  <a:tcPr>
                    <a:solidFill>
                      <a:srgbClr val="DEEDF1"/>
                    </a:solidFill>
                  </a:tcPr>
                </a:tc>
                <a:tc>
                  <a:txBody>
                    <a:bodyPr/>
                    <a:lstStyle/>
                    <a:p>
                      <a:pPr marL="0" marR="0" lvl="0" indent="0" algn="ctr" defTabSz="9126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s-MX" sz="1800" b="1">
                          <a:solidFill>
                            <a:schemeClr val="bg2"/>
                          </a:solidFill>
                        </a:rPr>
                        <a:t>&lt;= 20 %</a:t>
                      </a:r>
                      <a:endParaRPr lang="es-PE" sz="1800" b="1">
                        <a:solidFill>
                          <a:schemeClr val="bg2"/>
                        </a:solidFill>
                      </a:endParaRPr>
                    </a:p>
                  </a:txBody>
                  <a:tcPr anchor="ctr">
                    <a:solidFill>
                      <a:srgbClr val="DEEDF1"/>
                    </a:solidFill>
                  </a:tcPr>
                </a:tc>
                <a:extLst>
                  <a:ext uri="{0D108BD9-81ED-4DB2-BD59-A6C34878D82A}">
                    <a16:rowId xmlns:a16="http://schemas.microsoft.com/office/drawing/2014/main" val="3088908391"/>
                  </a:ext>
                </a:extLst>
              </a:tr>
              <a:tr h="370840">
                <a:tc>
                  <a:txBody>
                    <a:bodyPr/>
                    <a:lstStyle/>
                    <a:p>
                      <a:pPr algn="ctr"/>
                      <a:r>
                        <a:rPr lang="es-MX" sz="1200">
                          <a:solidFill>
                            <a:schemeClr val="bg2"/>
                          </a:solidFill>
                        </a:rPr>
                        <a:t>3</a:t>
                      </a:r>
                      <a:endParaRPr lang="es-PE" sz="1200">
                        <a:solidFill>
                          <a:schemeClr val="bg2"/>
                        </a:solidFill>
                      </a:endParaRPr>
                    </a:p>
                  </a:txBody>
                  <a:tcPr>
                    <a:solidFill>
                      <a:srgbClr val="DEEDF1"/>
                    </a:solidFill>
                  </a:tcPr>
                </a:tc>
                <a:tc>
                  <a:txBody>
                    <a:bodyPr/>
                    <a:lstStyle/>
                    <a:p>
                      <a:r>
                        <a:rPr lang="es-MX" sz="1200" b="1">
                          <a:solidFill>
                            <a:schemeClr val="bg2"/>
                          </a:solidFill>
                        </a:rPr>
                        <a:t>PORCENTAJE DE DESVIACIÓN EN TIEMPOS DE ENTREGA</a:t>
                      </a:r>
                      <a:endParaRPr lang="es-PE" sz="1200" b="1">
                        <a:solidFill>
                          <a:schemeClr val="bg2"/>
                        </a:solidFill>
                      </a:endParaRPr>
                    </a:p>
                  </a:txBody>
                  <a:tcPr>
                    <a:solidFill>
                      <a:srgbClr val="DEEDF1"/>
                    </a:solidFill>
                  </a:tcPr>
                </a:tc>
                <a:tc>
                  <a:txBody>
                    <a:bodyPr/>
                    <a:lstStyle/>
                    <a:p>
                      <a:r>
                        <a:rPr lang="es-MX" sz="1200">
                          <a:solidFill>
                            <a:schemeClr val="bg2"/>
                          </a:solidFill>
                        </a:rPr>
                        <a:t>% Desviación de Tiempo = ((Fecha de cierre real - fecha de cierre programada) / fecha de cierre programada) X 100</a:t>
                      </a:r>
                      <a:endParaRPr lang="es-PE" sz="1200">
                        <a:solidFill>
                          <a:schemeClr val="bg2"/>
                        </a:solidFill>
                      </a:endParaRPr>
                    </a:p>
                  </a:txBody>
                  <a:tcPr>
                    <a:solidFill>
                      <a:srgbClr val="DEEDF1"/>
                    </a:solidFill>
                  </a:tcPr>
                </a:tc>
                <a:tc>
                  <a:txBody>
                    <a:bodyPr/>
                    <a:lstStyle/>
                    <a:p>
                      <a:pPr marL="0" indent="0">
                        <a:buFont typeface="Wingdings" panose="05000000000000000000" pitchFamily="2" charset="2"/>
                        <a:buNone/>
                      </a:pPr>
                      <a:r>
                        <a:rPr lang="es-MX" sz="1100">
                          <a:solidFill>
                            <a:schemeClr val="bg2"/>
                          </a:solidFill>
                        </a:rPr>
                        <a:t>Mide la diferencia porcentual entre la fecha en que realmente se concluyó un proyecto, tarea o entrega, y la fecha que originalmente se había planificado. Este KPI permite identificar la capacidad del equipo o la organización para cumplir con los compromisos de tiempo establecidos, proporcionando visibilidad sobre retrasos o adelantos en la ejecución de actividades.</a:t>
                      </a:r>
                    </a:p>
                  </a:txBody>
                  <a:tcPr>
                    <a:solidFill>
                      <a:srgbClr val="DEEDF1"/>
                    </a:solidFill>
                  </a:tcPr>
                </a:tc>
                <a:tc>
                  <a:txBody>
                    <a:bodyPr/>
                    <a:lstStyle/>
                    <a:p>
                      <a:pPr marL="0" marR="0" lvl="0" indent="0" algn="ctr" defTabSz="9126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s-MX" sz="1800" b="1">
                          <a:solidFill>
                            <a:schemeClr val="bg2"/>
                          </a:solidFill>
                        </a:rPr>
                        <a:t>&lt;= 20 %</a:t>
                      </a:r>
                      <a:endParaRPr lang="es-PE" sz="1800" b="1">
                        <a:solidFill>
                          <a:schemeClr val="bg2"/>
                        </a:solidFill>
                      </a:endParaRPr>
                    </a:p>
                    <a:p>
                      <a:pPr marL="0" indent="0" algn="ctr">
                        <a:buFont typeface="Wingdings" panose="05000000000000000000" pitchFamily="2" charset="2"/>
                        <a:buNone/>
                      </a:pPr>
                      <a:endParaRPr lang="es-PE" sz="1200">
                        <a:solidFill>
                          <a:schemeClr val="bg2"/>
                        </a:solidFill>
                      </a:endParaRPr>
                    </a:p>
                  </a:txBody>
                  <a:tcPr anchor="ctr">
                    <a:solidFill>
                      <a:srgbClr val="DEEDF1"/>
                    </a:solidFill>
                  </a:tcPr>
                </a:tc>
                <a:extLst>
                  <a:ext uri="{0D108BD9-81ED-4DB2-BD59-A6C34878D82A}">
                    <a16:rowId xmlns:a16="http://schemas.microsoft.com/office/drawing/2014/main" val="1816403149"/>
                  </a:ext>
                </a:extLst>
              </a:tr>
              <a:tr h="0">
                <a:tc>
                  <a:txBody>
                    <a:bodyPr/>
                    <a:lstStyle/>
                    <a:p>
                      <a:pPr algn="ctr"/>
                      <a:r>
                        <a:rPr lang="es-MX" sz="1200">
                          <a:solidFill>
                            <a:schemeClr val="bg2"/>
                          </a:solidFill>
                        </a:rPr>
                        <a:t>4</a:t>
                      </a:r>
                      <a:endParaRPr lang="es-PE" sz="1200">
                        <a:solidFill>
                          <a:schemeClr val="bg2"/>
                        </a:solidFill>
                      </a:endParaRPr>
                    </a:p>
                  </a:txBody>
                  <a:tcPr>
                    <a:solidFill>
                      <a:srgbClr val="DEEDF1"/>
                    </a:solidFill>
                  </a:tcPr>
                </a:tc>
                <a:tc>
                  <a:txBody>
                    <a:bodyPr/>
                    <a:lstStyle/>
                    <a:p>
                      <a:pPr marL="0" marR="0" lvl="0" indent="0" algn="l" defTabSz="912688" rtl="0" eaLnBrk="1" fontAlgn="auto" latinLnBrk="0" hangingPunct="1">
                        <a:lnSpc>
                          <a:spcPct val="100000"/>
                        </a:lnSpc>
                        <a:spcBef>
                          <a:spcPts val="0"/>
                        </a:spcBef>
                        <a:spcAft>
                          <a:spcPts val="0"/>
                        </a:spcAft>
                        <a:buClrTx/>
                        <a:buSzTx/>
                        <a:buFontTx/>
                        <a:buNone/>
                        <a:tabLst/>
                        <a:defRPr/>
                      </a:pPr>
                      <a:r>
                        <a:rPr lang="es-MX" sz="1200" b="1">
                          <a:solidFill>
                            <a:schemeClr val="bg2"/>
                          </a:solidFill>
                        </a:rPr>
                        <a:t>PORCENTAJE DE COBERTURA DE PRUEBAS AUTOMATIZADAS</a:t>
                      </a:r>
                      <a:endParaRPr lang="es-PE" sz="1200" b="1">
                        <a:solidFill>
                          <a:schemeClr val="bg2"/>
                        </a:solidFill>
                      </a:endParaRPr>
                    </a:p>
                    <a:p>
                      <a:endParaRPr lang="es-PE" sz="1200" b="1">
                        <a:solidFill>
                          <a:schemeClr val="bg2"/>
                        </a:solidFill>
                      </a:endParaRPr>
                    </a:p>
                  </a:txBody>
                  <a:tcPr>
                    <a:solidFill>
                      <a:srgbClr val="DEEDF1"/>
                    </a:solidFill>
                  </a:tcPr>
                </a:tc>
                <a:tc>
                  <a:txBody>
                    <a:bodyPr/>
                    <a:lstStyle/>
                    <a:p>
                      <a:r>
                        <a:rPr lang="es-PE" sz="1200">
                          <a:solidFill>
                            <a:schemeClr val="bg2"/>
                          </a:solidFill>
                        </a:rPr>
                        <a:t>% Cobertura Automatizada = (Número de pruebas automatizadas / Número total de pruebas) x 100</a:t>
                      </a:r>
                    </a:p>
                  </a:txBody>
                  <a:tcPr>
                    <a:solidFill>
                      <a:srgbClr val="DEEDF1"/>
                    </a:solidFill>
                  </a:tcPr>
                </a:tc>
                <a:tc>
                  <a:txBody>
                    <a:bodyPr/>
                    <a:lstStyle/>
                    <a:p>
                      <a:pPr marL="0" indent="0">
                        <a:buFont typeface="Wingdings" panose="05000000000000000000" pitchFamily="2" charset="2"/>
                        <a:buNone/>
                      </a:pPr>
                      <a:r>
                        <a:rPr lang="es-PE" sz="1100" kern="1200">
                          <a:solidFill>
                            <a:schemeClr val="bg2"/>
                          </a:solidFill>
                          <a:latin typeface="+mn-lt"/>
                          <a:ea typeface="+mn-ea"/>
                          <a:cs typeface="+mn-cs"/>
                        </a:rPr>
                        <a:t>Mide la proporción de los casos de prueba gestionados y ejecutados de manera automática respecto al total de pruebas definidas para un sistema, producto, módulo o proyecto. Este KPI refleja el grado de automatización en el proceso de pruebas, mostrando hasta qué punto la validación del software se apoya en herramientas automáticas frente a la ejecución manual.</a:t>
                      </a:r>
                      <a:endParaRPr lang="es-MX" sz="1100" kern="1200">
                        <a:solidFill>
                          <a:schemeClr val="bg2"/>
                        </a:solidFill>
                        <a:latin typeface="+mn-lt"/>
                        <a:ea typeface="+mn-ea"/>
                        <a:cs typeface="+mn-cs"/>
                      </a:endParaRPr>
                    </a:p>
                  </a:txBody>
                  <a:tcPr>
                    <a:solidFill>
                      <a:srgbClr val="DEEDF1"/>
                    </a:solidFill>
                  </a:tcPr>
                </a:tc>
                <a:tc>
                  <a:txBody>
                    <a:bodyPr/>
                    <a:lstStyle/>
                    <a:p>
                      <a:pPr marL="0" marR="0" lvl="0" indent="0" algn="ctr" defTabSz="9126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s-MX" sz="1800" b="1">
                          <a:solidFill>
                            <a:schemeClr val="bg2"/>
                          </a:solidFill>
                        </a:rPr>
                        <a:t>&gt;= 10 %</a:t>
                      </a:r>
                      <a:endParaRPr lang="es-PE" sz="1800" b="1">
                        <a:solidFill>
                          <a:schemeClr val="bg2"/>
                        </a:solidFill>
                      </a:endParaRPr>
                    </a:p>
                  </a:txBody>
                  <a:tcPr anchor="ctr">
                    <a:solidFill>
                      <a:srgbClr val="DEEDF1"/>
                    </a:solidFill>
                  </a:tcPr>
                </a:tc>
                <a:extLst>
                  <a:ext uri="{0D108BD9-81ED-4DB2-BD59-A6C34878D82A}">
                    <a16:rowId xmlns:a16="http://schemas.microsoft.com/office/drawing/2014/main" val="3330729485"/>
                  </a:ext>
                </a:extLst>
              </a:tr>
            </a:tbl>
          </a:graphicData>
        </a:graphic>
      </p:graphicFrame>
      <p:sp>
        <p:nvSpPr>
          <p:cNvPr id="3" name="Título 2">
            <a:extLst>
              <a:ext uri="{FF2B5EF4-FFF2-40B4-BE49-F238E27FC236}">
                <a16:creationId xmlns:a16="http://schemas.microsoft.com/office/drawing/2014/main" id="{2DD9775A-B2FB-0DA3-26F4-8158BF8C32E6}"/>
              </a:ext>
            </a:extLst>
          </p:cNvPr>
          <p:cNvSpPr>
            <a:spLocks noGrp="1"/>
          </p:cNvSpPr>
          <p:nvPr>
            <p:ph type="title"/>
          </p:nvPr>
        </p:nvSpPr>
        <p:spPr/>
        <p:txBody>
          <a:bodyPr/>
          <a:lstStyle/>
          <a:p>
            <a:r>
              <a:rPr lang="es-MX"/>
              <a:t> </a:t>
            </a:r>
            <a:endParaRPr lang="es-PE"/>
          </a:p>
        </p:txBody>
      </p:sp>
      <p:sp>
        <p:nvSpPr>
          <p:cNvPr id="6" name="Title 5">
            <a:extLst>
              <a:ext uri="{FF2B5EF4-FFF2-40B4-BE49-F238E27FC236}">
                <a16:creationId xmlns:a16="http://schemas.microsoft.com/office/drawing/2014/main" id="{7CD406F1-45DB-294B-B5CA-3A5635503987}"/>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a:solidFill>
                  <a:srgbClr val="203864"/>
                </a:solidFill>
                <a:latin typeface="Santander Headline" panose="020B0504020201020104" pitchFamily="34" charset="0"/>
              </a:rPr>
              <a:t>Indicadores y KPIs (Equipo QA)</a:t>
            </a:r>
            <a:endParaRPr lang="es-MX">
              <a:solidFill>
                <a:srgbClr val="203864"/>
              </a:solidFill>
            </a:endParaRPr>
          </a:p>
        </p:txBody>
      </p:sp>
    </p:spTree>
    <p:extLst>
      <p:ext uri="{BB962C8B-B14F-4D97-AF65-F5344CB8AC3E}">
        <p14:creationId xmlns:p14="http://schemas.microsoft.com/office/powerpoint/2010/main" val="18367899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350B9C-BECF-62A4-66A2-E4E063A21655}"/>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548E3B27-7459-92D6-5A81-43A0F93809BE}"/>
              </a:ext>
            </a:extLst>
          </p:cNvPr>
          <p:cNvSpPr>
            <a:spLocks noGrp="1"/>
          </p:cNvSpPr>
          <p:nvPr>
            <p:ph type="body" sz="quarter" idx="14"/>
          </p:nvPr>
        </p:nvSpPr>
        <p:spPr/>
        <p:txBody>
          <a:bodyPr/>
          <a:lstStyle/>
          <a:p>
            <a:endParaRPr lang="es-PE"/>
          </a:p>
        </p:txBody>
      </p:sp>
      <p:sp>
        <p:nvSpPr>
          <p:cNvPr id="4" name="Título 3">
            <a:extLst>
              <a:ext uri="{FF2B5EF4-FFF2-40B4-BE49-F238E27FC236}">
                <a16:creationId xmlns:a16="http://schemas.microsoft.com/office/drawing/2014/main" id="{C2C0A926-A7D3-AA0F-D0A1-4DAD0A704D58}"/>
              </a:ext>
            </a:extLst>
          </p:cNvPr>
          <p:cNvSpPr>
            <a:spLocks noGrp="1"/>
          </p:cNvSpPr>
          <p:nvPr>
            <p:ph type="title"/>
          </p:nvPr>
        </p:nvSpPr>
        <p:spPr/>
        <p:txBody>
          <a:bodyPr/>
          <a:lstStyle/>
          <a:p>
            <a:r>
              <a:rPr lang="es-PE"/>
              <a:t>¿Por qué usar XRAY como Herramienta de Gestión de Aseguramiento de Calidad?</a:t>
            </a:r>
            <a:endParaRPr lang="es-MX" sz="2400"/>
          </a:p>
        </p:txBody>
      </p:sp>
      <p:sp>
        <p:nvSpPr>
          <p:cNvPr id="10" name="CuadroTexto 9">
            <a:extLst>
              <a:ext uri="{FF2B5EF4-FFF2-40B4-BE49-F238E27FC236}">
                <a16:creationId xmlns:a16="http://schemas.microsoft.com/office/drawing/2014/main" id="{7B071830-23E6-4F76-BD49-B4C9314A1E88}"/>
              </a:ext>
            </a:extLst>
          </p:cNvPr>
          <p:cNvSpPr txBox="1"/>
          <p:nvPr/>
        </p:nvSpPr>
        <p:spPr>
          <a:xfrm>
            <a:off x="431610" y="1079062"/>
            <a:ext cx="11209527" cy="461665"/>
          </a:xfrm>
          <a:prstGeom prst="rect">
            <a:avLst/>
          </a:prstGeom>
          <a:noFill/>
        </p:spPr>
        <p:txBody>
          <a:bodyPr wrap="square">
            <a:spAutoFit/>
          </a:bodyPr>
          <a:lstStyle/>
          <a:p>
            <a:r>
              <a:rPr lang="es-MX" sz="1200" b="1" i="0">
                <a:solidFill>
                  <a:srgbClr val="1F2328"/>
                </a:solidFill>
                <a:effectLst/>
                <a:latin typeface="-apple-system"/>
              </a:rPr>
              <a:t>Xray</a:t>
            </a:r>
            <a:r>
              <a:rPr lang="es-MX" sz="1200" b="0" i="0">
                <a:solidFill>
                  <a:srgbClr val="1F2328"/>
                </a:solidFill>
                <a:effectLst/>
                <a:latin typeface="-apple-system"/>
              </a:rPr>
              <a:t> es una herramienta de gestión de pruebas que se integra de manera nativa con Jira, permitiendo a los equipos de calidad planificar, organizar, ejecutar y monitorear sus pruebas de software de forma centralizada.</a:t>
            </a:r>
            <a:endParaRPr lang="es-PE" sz="1200"/>
          </a:p>
        </p:txBody>
      </p:sp>
      <p:graphicFrame>
        <p:nvGraphicFramePr>
          <p:cNvPr id="13" name="Tabla 12">
            <a:extLst>
              <a:ext uri="{FF2B5EF4-FFF2-40B4-BE49-F238E27FC236}">
                <a16:creationId xmlns:a16="http://schemas.microsoft.com/office/drawing/2014/main" id="{1AF13538-CD7D-6550-B013-1E0B260ED1D4}"/>
              </a:ext>
            </a:extLst>
          </p:cNvPr>
          <p:cNvGraphicFramePr>
            <a:graphicFrameLocks noGrp="1"/>
          </p:cNvGraphicFramePr>
          <p:nvPr>
            <p:extLst>
              <p:ext uri="{D42A27DB-BD31-4B8C-83A1-F6EECF244321}">
                <p14:modId xmlns:p14="http://schemas.microsoft.com/office/powerpoint/2010/main" val="3113560416"/>
              </p:ext>
            </p:extLst>
          </p:nvPr>
        </p:nvGraphicFramePr>
        <p:xfrm>
          <a:off x="491236" y="1567361"/>
          <a:ext cx="11090274" cy="3647440"/>
        </p:xfrm>
        <a:graphic>
          <a:graphicData uri="http://schemas.openxmlformats.org/drawingml/2006/table">
            <a:tbl>
              <a:tblPr firstRow="1" bandRow="1">
                <a:tableStyleId>{5C22544A-7EE6-4342-B048-85BDC9FD1C3A}</a:tableStyleId>
              </a:tblPr>
              <a:tblGrid>
                <a:gridCol w="2356930">
                  <a:extLst>
                    <a:ext uri="{9D8B030D-6E8A-4147-A177-3AD203B41FA5}">
                      <a16:colId xmlns:a16="http://schemas.microsoft.com/office/drawing/2014/main" val="3287898419"/>
                    </a:ext>
                  </a:extLst>
                </a:gridCol>
                <a:gridCol w="4599432">
                  <a:extLst>
                    <a:ext uri="{9D8B030D-6E8A-4147-A177-3AD203B41FA5}">
                      <a16:colId xmlns:a16="http://schemas.microsoft.com/office/drawing/2014/main" val="942114095"/>
                    </a:ext>
                  </a:extLst>
                </a:gridCol>
                <a:gridCol w="4133912">
                  <a:extLst>
                    <a:ext uri="{9D8B030D-6E8A-4147-A177-3AD203B41FA5}">
                      <a16:colId xmlns:a16="http://schemas.microsoft.com/office/drawing/2014/main" val="358564817"/>
                    </a:ext>
                  </a:extLst>
                </a:gridCol>
              </a:tblGrid>
              <a:tr h="370840">
                <a:tc>
                  <a:txBody>
                    <a:bodyPr/>
                    <a:lstStyle/>
                    <a:p>
                      <a:pPr algn="ctr"/>
                      <a:r>
                        <a:rPr lang="es-MX"/>
                        <a:t>Capacidades</a:t>
                      </a:r>
                      <a:endParaRPr lang="es-PE"/>
                    </a:p>
                  </a:txBody>
                  <a:tcPr>
                    <a:solidFill>
                      <a:srgbClr val="203864"/>
                    </a:solidFill>
                  </a:tcPr>
                </a:tc>
                <a:tc>
                  <a:txBody>
                    <a:bodyPr/>
                    <a:lstStyle/>
                    <a:p>
                      <a:pPr algn="ctr"/>
                      <a:r>
                        <a:rPr lang="es-MX"/>
                        <a:t>Uso de Xray</a:t>
                      </a:r>
                      <a:endParaRPr lang="es-PE"/>
                    </a:p>
                  </a:txBody>
                  <a:tcPr>
                    <a:solidFill>
                      <a:srgbClr val="203864"/>
                    </a:solidFill>
                  </a:tcPr>
                </a:tc>
                <a:tc>
                  <a:txBody>
                    <a:bodyPr/>
                    <a:lstStyle/>
                    <a:p>
                      <a:pPr algn="ctr"/>
                      <a:r>
                        <a:rPr lang="es-MX"/>
                        <a:t>Uso de Office / </a:t>
                      </a:r>
                      <a:r>
                        <a:rPr lang="es-MX" err="1"/>
                        <a:t>Sharepoint</a:t>
                      </a:r>
                      <a:r>
                        <a:rPr lang="es-MX"/>
                        <a:t> / etc.</a:t>
                      </a:r>
                      <a:endParaRPr lang="es-PE"/>
                    </a:p>
                  </a:txBody>
                  <a:tcPr>
                    <a:solidFill>
                      <a:srgbClr val="203864"/>
                    </a:solidFill>
                  </a:tcPr>
                </a:tc>
                <a:extLst>
                  <a:ext uri="{0D108BD9-81ED-4DB2-BD59-A6C34878D82A}">
                    <a16:rowId xmlns:a16="http://schemas.microsoft.com/office/drawing/2014/main" val="1803436306"/>
                  </a:ext>
                </a:extLst>
              </a:tr>
              <a:tr h="370840">
                <a:tc>
                  <a:txBody>
                    <a:bodyPr/>
                    <a:lstStyle/>
                    <a:p>
                      <a:pPr>
                        <a:buNone/>
                      </a:pPr>
                      <a:r>
                        <a:rPr lang="es-PE" sz="1200" b="1">
                          <a:solidFill>
                            <a:schemeClr val="accent5"/>
                          </a:solidFill>
                          <a:effectLst/>
                        </a:rPr>
                        <a:t>Centralización</a:t>
                      </a:r>
                      <a:endParaRPr lang="es-PE" sz="1200">
                        <a:solidFill>
                          <a:schemeClr val="accent5"/>
                        </a:solidFill>
                        <a:effectLst/>
                      </a:endParaRPr>
                    </a:p>
                  </a:txBody>
                  <a:tcPr marL="82550" marR="82550" marT="38100" marB="38100" anchor="ctr">
                    <a:solidFill>
                      <a:schemeClr val="accent4">
                        <a:lumMod val="20000"/>
                        <a:lumOff val="80000"/>
                      </a:schemeClr>
                    </a:solidFill>
                  </a:tcPr>
                </a:tc>
                <a:tc>
                  <a:txBody>
                    <a:bodyPr/>
                    <a:lstStyle/>
                    <a:p>
                      <a:pPr>
                        <a:buNone/>
                      </a:pPr>
                      <a:r>
                        <a:rPr lang="es-MX" sz="1200">
                          <a:solidFill>
                            <a:schemeClr val="accent5"/>
                          </a:solidFill>
                          <a:effectLst/>
                        </a:rPr>
                        <a:t>Toda la información de pruebas (casos, ejecuciones, defectos) está integrada en un solo lugar y relacionada con las historias de Jira.</a:t>
                      </a:r>
                    </a:p>
                  </a:txBody>
                  <a:tcPr marL="82550" marR="82550" marT="38100" marB="38100" anchor="ctr">
                    <a:solidFill>
                      <a:schemeClr val="accent4">
                        <a:lumMod val="20000"/>
                        <a:lumOff val="80000"/>
                      </a:schemeClr>
                    </a:solidFill>
                  </a:tcPr>
                </a:tc>
                <a:tc>
                  <a:txBody>
                    <a:bodyPr/>
                    <a:lstStyle/>
                    <a:p>
                      <a:pPr>
                        <a:buNone/>
                      </a:pPr>
                      <a:r>
                        <a:rPr lang="es-MX" sz="1200">
                          <a:solidFill>
                            <a:schemeClr val="accent5"/>
                          </a:solidFill>
                          <a:effectLst/>
                        </a:rPr>
                        <a:t>Fragmentación de archivos, versiones y accesos. Difícil mantener una sola fuente de verdad y rastreo entre entregables.</a:t>
                      </a:r>
                    </a:p>
                  </a:txBody>
                  <a:tcPr marL="82550" marR="82550" marT="38100" marB="38100" anchor="ctr">
                    <a:solidFill>
                      <a:schemeClr val="accent4">
                        <a:lumMod val="20000"/>
                        <a:lumOff val="80000"/>
                      </a:schemeClr>
                    </a:solidFill>
                  </a:tcPr>
                </a:tc>
                <a:extLst>
                  <a:ext uri="{0D108BD9-81ED-4DB2-BD59-A6C34878D82A}">
                    <a16:rowId xmlns:a16="http://schemas.microsoft.com/office/drawing/2014/main" val="342213570"/>
                  </a:ext>
                </a:extLst>
              </a:tr>
              <a:tr h="370840">
                <a:tc>
                  <a:txBody>
                    <a:bodyPr/>
                    <a:lstStyle/>
                    <a:p>
                      <a:pPr>
                        <a:buNone/>
                      </a:pPr>
                      <a:r>
                        <a:rPr lang="es-PE" sz="1200" b="1">
                          <a:solidFill>
                            <a:schemeClr val="accent5"/>
                          </a:solidFill>
                          <a:effectLst/>
                        </a:rPr>
                        <a:t>Trazabilidad</a:t>
                      </a:r>
                      <a:endParaRPr lang="es-PE" sz="1200">
                        <a:solidFill>
                          <a:schemeClr val="accent5"/>
                        </a:solidFill>
                        <a:effectLst/>
                      </a:endParaRPr>
                    </a:p>
                  </a:txBody>
                  <a:tcPr marL="82550" marR="82550" marT="38100" marB="38100" anchor="ctr">
                    <a:solidFill>
                      <a:schemeClr val="accent4">
                        <a:lumMod val="20000"/>
                        <a:lumOff val="80000"/>
                      </a:schemeClr>
                    </a:solidFill>
                  </a:tcPr>
                </a:tc>
                <a:tc>
                  <a:txBody>
                    <a:bodyPr/>
                    <a:lstStyle/>
                    <a:p>
                      <a:pPr>
                        <a:buNone/>
                      </a:pPr>
                      <a:r>
                        <a:rPr lang="es-MX" sz="1200">
                          <a:solidFill>
                            <a:schemeClr val="accent5"/>
                          </a:solidFill>
                          <a:effectLst/>
                        </a:rPr>
                        <a:t>Trazabilidad automática y visual entre requisitos, casos, ejecuciones y defectos. Matrices generadas dinámicamente.</a:t>
                      </a:r>
                    </a:p>
                  </a:txBody>
                  <a:tcPr marL="82550" marR="82550" marT="38100" marB="38100" anchor="ctr">
                    <a:solidFill>
                      <a:schemeClr val="accent4">
                        <a:lumMod val="20000"/>
                        <a:lumOff val="80000"/>
                      </a:schemeClr>
                    </a:solidFill>
                  </a:tcPr>
                </a:tc>
                <a:tc>
                  <a:txBody>
                    <a:bodyPr/>
                    <a:lstStyle/>
                    <a:p>
                      <a:pPr>
                        <a:buNone/>
                      </a:pPr>
                      <a:r>
                        <a:rPr lang="es-MX" sz="1200">
                          <a:solidFill>
                            <a:schemeClr val="accent5"/>
                          </a:solidFill>
                          <a:effectLst/>
                        </a:rPr>
                        <a:t>Manual; requiere actualización constante y riesgo de errores humanos en la matriz de trazabilidad.</a:t>
                      </a:r>
                    </a:p>
                  </a:txBody>
                  <a:tcPr marL="82550" marR="82550" marT="38100" marB="38100" anchor="ctr">
                    <a:solidFill>
                      <a:schemeClr val="accent4">
                        <a:lumMod val="20000"/>
                        <a:lumOff val="80000"/>
                      </a:schemeClr>
                    </a:solidFill>
                  </a:tcPr>
                </a:tc>
                <a:extLst>
                  <a:ext uri="{0D108BD9-81ED-4DB2-BD59-A6C34878D82A}">
                    <a16:rowId xmlns:a16="http://schemas.microsoft.com/office/drawing/2014/main" val="440477603"/>
                  </a:ext>
                </a:extLst>
              </a:tr>
              <a:tr h="370840">
                <a:tc>
                  <a:txBody>
                    <a:bodyPr/>
                    <a:lstStyle/>
                    <a:p>
                      <a:pPr>
                        <a:buNone/>
                      </a:pPr>
                      <a:r>
                        <a:rPr lang="es-PE" sz="1200" b="1">
                          <a:solidFill>
                            <a:schemeClr val="accent5"/>
                          </a:solidFill>
                          <a:effectLst/>
                        </a:rPr>
                        <a:t>Colaboración</a:t>
                      </a:r>
                      <a:endParaRPr lang="es-PE" sz="1200">
                        <a:solidFill>
                          <a:schemeClr val="accent5"/>
                        </a:solidFill>
                        <a:effectLst/>
                      </a:endParaRPr>
                    </a:p>
                  </a:txBody>
                  <a:tcPr marL="82550" marR="82550" marT="38100" marB="38100" anchor="ctr">
                    <a:solidFill>
                      <a:schemeClr val="accent4">
                        <a:lumMod val="20000"/>
                        <a:lumOff val="80000"/>
                      </a:schemeClr>
                    </a:solidFill>
                  </a:tcPr>
                </a:tc>
                <a:tc>
                  <a:txBody>
                    <a:bodyPr/>
                    <a:lstStyle/>
                    <a:p>
                      <a:pPr>
                        <a:buNone/>
                      </a:pPr>
                      <a:r>
                        <a:rPr lang="es-MX" sz="1200">
                          <a:solidFill>
                            <a:schemeClr val="accent5"/>
                          </a:solidFill>
                          <a:effectLst/>
                        </a:rPr>
                        <a:t>Permite colaboración en tiempo real, comentarios, notificaciones y asignaciones directas a usuarios.</a:t>
                      </a:r>
                    </a:p>
                  </a:txBody>
                  <a:tcPr marL="82550" marR="82550" marT="38100" marB="38100" anchor="ctr">
                    <a:solidFill>
                      <a:schemeClr val="accent4">
                        <a:lumMod val="20000"/>
                        <a:lumOff val="80000"/>
                      </a:schemeClr>
                    </a:solidFill>
                  </a:tcPr>
                </a:tc>
                <a:tc>
                  <a:txBody>
                    <a:bodyPr/>
                    <a:lstStyle/>
                    <a:p>
                      <a:pPr>
                        <a:buNone/>
                      </a:pPr>
                      <a:r>
                        <a:rPr lang="es-MX" sz="1200">
                          <a:solidFill>
                            <a:schemeClr val="accent5"/>
                          </a:solidFill>
                          <a:effectLst/>
                        </a:rPr>
                        <a:t>Limitada a edición colaborativa; problemas de concurrencia y control de cambios.</a:t>
                      </a:r>
                    </a:p>
                  </a:txBody>
                  <a:tcPr marL="82550" marR="82550" marT="38100" marB="38100" anchor="ctr">
                    <a:solidFill>
                      <a:schemeClr val="accent4">
                        <a:lumMod val="20000"/>
                        <a:lumOff val="80000"/>
                      </a:schemeClr>
                    </a:solidFill>
                  </a:tcPr>
                </a:tc>
                <a:extLst>
                  <a:ext uri="{0D108BD9-81ED-4DB2-BD59-A6C34878D82A}">
                    <a16:rowId xmlns:a16="http://schemas.microsoft.com/office/drawing/2014/main" val="2133639098"/>
                  </a:ext>
                </a:extLst>
              </a:tr>
              <a:tr h="370840">
                <a:tc>
                  <a:txBody>
                    <a:bodyPr/>
                    <a:lstStyle/>
                    <a:p>
                      <a:pPr>
                        <a:buNone/>
                      </a:pPr>
                      <a:r>
                        <a:rPr lang="es-PE" sz="1200" b="1">
                          <a:solidFill>
                            <a:schemeClr val="accent5"/>
                          </a:solidFill>
                          <a:effectLst/>
                        </a:rPr>
                        <a:t>Seguimiento y Reporting</a:t>
                      </a:r>
                      <a:endParaRPr lang="es-PE" sz="1200">
                        <a:solidFill>
                          <a:schemeClr val="accent5"/>
                        </a:solidFill>
                        <a:effectLst/>
                      </a:endParaRPr>
                    </a:p>
                  </a:txBody>
                  <a:tcPr marL="82550" marR="82550" marT="38100" marB="38100" anchor="ctr">
                    <a:solidFill>
                      <a:schemeClr val="accent4">
                        <a:lumMod val="20000"/>
                        <a:lumOff val="80000"/>
                      </a:schemeClr>
                    </a:solidFill>
                  </a:tcPr>
                </a:tc>
                <a:tc>
                  <a:txBody>
                    <a:bodyPr/>
                    <a:lstStyle/>
                    <a:p>
                      <a:pPr>
                        <a:buNone/>
                      </a:pPr>
                      <a:r>
                        <a:rPr lang="es-PE" sz="1200">
                          <a:solidFill>
                            <a:schemeClr val="accent5"/>
                          </a:solidFill>
                          <a:effectLst/>
                        </a:rPr>
                        <a:t>Dashboards personalizables, informes automáticos y visuales.</a:t>
                      </a:r>
                    </a:p>
                  </a:txBody>
                  <a:tcPr marL="82550" marR="82550" marT="38100" marB="38100" anchor="ctr">
                    <a:solidFill>
                      <a:schemeClr val="accent4">
                        <a:lumMod val="20000"/>
                        <a:lumOff val="80000"/>
                      </a:schemeClr>
                    </a:solidFill>
                  </a:tcPr>
                </a:tc>
                <a:tc>
                  <a:txBody>
                    <a:bodyPr/>
                    <a:lstStyle/>
                    <a:p>
                      <a:pPr>
                        <a:buNone/>
                      </a:pPr>
                      <a:r>
                        <a:rPr lang="es-MX" sz="1200">
                          <a:solidFill>
                            <a:schemeClr val="accent5"/>
                          </a:solidFill>
                          <a:effectLst/>
                        </a:rPr>
                        <a:t>Requiere armado manual de reportes, gráficos y consolidación de datos.</a:t>
                      </a:r>
                    </a:p>
                  </a:txBody>
                  <a:tcPr marL="82550" marR="82550" marT="38100" marB="38100" anchor="ctr">
                    <a:solidFill>
                      <a:schemeClr val="accent4">
                        <a:lumMod val="20000"/>
                        <a:lumOff val="80000"/>
                      </a:schemeClr>
                    </a:solidFill>
                  </a:tcPr>
                </a:tc>
                <a:extLst>
                  <a:ext uri="{0D108BD9-81ED-4DB2-BD59-A6C34878D82A}">
                    <a16:rowId xmlns:a16="http://schemas.microsoft.com/office/drawing/2014/main" val="4071560294"/>
                  </a:ext>
                </a:extLst>
              </a:tr>
              <a:tr h="370840">
                <a:tc>
                  <a:txBody>
                    <a:bodyPr/>
                    <a:lstStyle/>
                    <a:p>
                      <a:pPr>
                        <a:buNone/>
                      </a:pPr>
                      <a:r>
                        <a:rPr lang="es-PE" sz="1200" b="1">
                          <a:solidFill>
                            <a:schemeClr val="accent5"/>
                          </a:solidFill>
                          <a:effectLst/>
                        </a:rPr>
                        <a:t>Gestión de Defectos</a:t>
                      </a:r>
                      <a:endParaRPr lang="es-PE" sz="1200">
                        <a:solidFill>
                          <a:schemeClr val="accent5"/>
                        </a:solidFill>
                        <a:effectLst/>
                      </a:endParaRPr>
                    </a:p>
                  </a:txBody>
                  <a:tcPr marL="82550" marR="82550" marT="38100" marB="38100" anchor="ctr">
                    <a:solidFill>
                      <a:schemeClr val="accent4">
                        <a:lumMod val="20000"/>
                        <a:lumOff val="80000"/>
                      </a:schemeClr>
                    </a:solidFill>
                  </a:tcPr>
                </a:tc>
                <a:tc>
                  <a:txBody>
                    <a:bodyPr/>
                    <a:lstStyle/>
                    <a:p>
                      <a:pPr>
                        <a:buNone/>
                      </a:pPr>
                      <a:r>
                        <a:rPr lang="es-MX" sz="1200">
                          <a:solidFill>
                            <a:schemeClr val="accent5"/>
                          </a:solidFill>
                          <a:effectLst/>
                        </a:rPr>
                        <a:t>Integrado con Jira, defectos vinculados directamente a ejecuciones y casos de prueba.</a:t>
                      </a:r>
                    </a:p>
                  </a:txBody>
                  <a:tcPr marL="82550" marR="82550" marT="38100" marB="38100" anchor="ctr">
                    <a:solidFill>
                      <a:schemeClr val="accent4">
                        <a:lumMod val="20000"/>
                        <a:lumOff val="80000"/>
                      </a:schemeClr>
                    </a:solidFill>
                  </a:tcPr>
                </a:tc>
                <a:tc>
                  <a:txBody>
                    <a:bodyPr/>
                    <a:lstStyle/>
                    <a:p>
                      <a:pPr>
                        <a:buNone/>
                      </a:pPr>
                      <a:r>
                        <a:rPr lang="es-MX" sz="1200">
                          <a:solidFill>
                            <a:schemeClr val="accent5"/>
                          </a:solidFill>
                          <a:effectLst/>
                        </a:rPr>
                        <a:t>Requiere doble gestión: defectos en Jira y pruebas en Excel/SharePoint; difícil mantener sincronización.</a:t>
                      </a:r>
                    </a:p>
                  </a:txBody>
                  <a:tcPr marL="82550" marR="82550" marT="38100" marB="38100" anchor="ctr">
                    <a:solidFill>
                      <a:schemeClr val="accent4">
                        <a:lumMod val="20000"/>
                        <a:lumOff val="80000"/>
                      </a:schemeClr>
                    </a:solidFill>
                  </a:tcPr>
                </a:tc>
                <a:extLst>
                  <a:ext uri="{0D108BD9-81ED-4DB2-BD59-A6C34878D82A}">
                    <a16:rowId xmlns:a16="http://schemas.microsoft.com/office/drawing/2014/main" val="2557575274"/>
                  </a:ext>
                </a:extLst>
              </a:tr>
              <a:tr h="370840">
                <a:tc>
                  <a:txBody>
                    <a:bodyPr/>
                    <a:lstStyle/>
                    <a:p>
                      <a:pPr>
                        <a:buNone/>
                      </a:pPr>
                      <a:r>
                        <a:rPr lang="es-PE" sz="1200" b="1">
                          <a:solidFill>
                            <a:schemeClr val="accent5"/>
                          </a:solidFill>
                          <a:effectLst/>
                        </a:rPr>
                        <a:t>Escalabilidad y Seguridad</a:t>
                      </a:r>
                      <a:endParaRPr lang="es-PE" sz="1200">
                        <a:solidFill>
                          <a:schemeClr val="accent5"/>
                        </a:solidFill>
                        <a:effectLst/>
                      </a:endParaRPr>
                    </a:p>
                  </a:txBody>
                  <a:tcPr marL="82550" marR="82550" marT="38100" marB="38100" anchor="ctr">
                    <a:solidFill>
                      <a:schemeClr val="accent4">
                        <a:lumMod val="20000"/>
                        <a:lumOff val="80000"/>
                      </a:schemeClr>
                    </a:solidFill>
                  </a:tcPr>
                </a:tc>
                <a:tc>
                  <a:txBody>
                    <a:bodyPr/>
                    <a:lstStyle/>
                    <a:p>
                      <a:pPr>
                        <a:buNone/>
                      </a:pPr>
                      <a:r>
                        <a:rPr lang="es-MX" sz="1200">
                          <a:solidFill>
                            <a:schemeClr val="accent5"/>
                          </a:solidFill>
                          <a:effectLst/>
                        </a:rPr>
                        <a:t>Escalable para equipos grandes, permisos granulares, autenticación y trazabilidad de accesos.</a:t>
                      </a:r>
                    </a:p>
                  </a:txBody>
                  <a:tcPr marL="82550" marR="82550" marT="38100" marB="38100" anchor="ctr">
                    <a:solidFill>
                      <a:schemeClr val="accent4">
                        <a:lumMod val="20000"/>
                        <a:lumOff val="80000"/>
                      </a:schemeClr>
                    </a:solidFill>
                  </a:tcPr>
                </a:tc>
                <a:tc>
                  <a:txBody>
                    <a:bodyPr/>
                    <a:lstStyle/>
                    <a:p>
                      <a:pPr>
                        <a:buNone/>
                      </a:pPr>
                      <a:r>
                        <a:rPr lang="es-MX" sz="1200">
                          <a:solidFill>
                            <a:schemeClr val="accent5"/>
                          </a:solidFill>
                          <a:effectLst/>
                        </a:rPr>
                        <a:t>Difícil de escalar; permisos limitados y riesgo de acceso no autorizado o pérdida de información.</a:t>
                      </a:r>
                    </a:p>
                  </a:txBody>
                  <a:tcPr marL="82550" marR="82550" marT="38100" marB="38100" anchor="ctr">
                    <a:solidFill>
                      <a:schemeClr val="accent4">
                        <a:lumMod val="20000"/>
                        <a:lumOff val="80000"/>
                      </a:schemeClr>
                    </a:solidFill>
                  </a:tcPr>
                </a:tc>
                <a:extLst>
                  <a:ext uri="{0D108BD9-81ED-4DB2-BD59-A6C34878D82A}">
                    <a16:rowId xmlns:a16="http://schemas.microsoft.com/office/drawing/2014/main" val="526889258"/>
                  </a:ext>
                </a:extLst>
              </a:tr>
              <a:tr h="0">
                <a:tc>
                  <a:txBody>
                    <a:bodyPr/>
                    <a:lstStyle/>
                    <a:p>
                      <a:pPr>
                        <a:buNone/>
                      </a:pPr>
                      <a:r>
                        <a:rPr lang="es-PE" sz="1200" b="1">
                          <a:solidFill>
                            <a:schemeClr val="accent5"/>
                          </a:solidFill>
                          <a:effectLst/>
                        </a:rPr>
                        <a:t>Lecciones aprendidas y cierre</a:t>
                      </a:r>
                      <a:endParaRPr lang="es-PE" sz="1200">
                        <a:solidFill>
                          <a:schemeClr val="accent5"/>
                        </a:solidFill>
                        <a:effectLst/>
                      </a:endParaRPr>
                    </a:p>
                  </a:txBody>
                  <a:tcPr marL="82550" marR="82550" marT="38100" marB="38100" anchor="ctr">
                    <a:solidFill>
                      <a:schemeClr val="accent4">
                        <a:lumMod val="20000"/>
                        <a:lumOff val="80000"/>
                      </a:schemeClr>
                    </a:solidFill>
                  </a:tcPr>
                </a:tc>
                <a:tc>
                  <a:txBody>
                    <a:bodyPr/>
                    <a:lstStyle/>
                    <a:p>
                      <a:pPr>
                        <a:buNone/>
                      </a:pPr>
                      <a:r>
                        <a:rPr lang="es-MX" sz="1200">
                          <a:solidFill>
                            <a:schemeClr val="accent5"/>
                          </a:solidFill>
                          <a:effectLst/>
                        </a:rPr>
                        <a:t>Documentación y retroalimentación centralizada, fácil acceso a históricos y métricas de mejora continua.</a:t>
                      </a:r>
                    </a:p>
                  </a:txBody>
                  <a:tcPr marL="82550" marR="82550" marT="38100" marB="38100" anchor="ctr">
                    <a:solidFill>
                      <a:schemeClr val="accent4">
                        <a:lumMod val="20000"/>
                        <a:lumOff val="80000"/>
                      </a:schemeClr>
                    </a:solidFill>
                  </a:tcPr>
                </a:tc>
                <a:tc>
                  <a:txBody>
                    <a:bodyPr/>
                    <a:lstStyle/>
                    <a:p>
                      <a:pPr>
                        <a:buNone/>
                      </a:pPr>
                      <a:r>
                        <a:rPr lang="es-MX" sz="1200">
                          <a:solidFill>
                            <a:schemeClr val="accent5"/>
                          </a:solidFill>
                          <a:effectLst/>
                        </a:rPr>
                        <a:t>Archivos dispersos y difícil recuperación de información histórica para retroalimentación y auditoría.</a:t>
                      </a:r>
                    </a:p>
                  </a:txBody>
                  <a:tcPr marL="82550" marR="82550" marT="38100" marB="38100" anchor="ctr">
                    <a:solidFill>
                      <a:schemeClr val="accent4">
                        <a:lumMod val="20000"/>
                        <a:lumOff val="80000"/>
                      </a:schemeClr>
                    </a:solidFill>
                  </a:tcPr>
                </a:tc>
                <a:extLst>
                  <a:ext uri="{0D108BD9-81ED-4DB2-BD59-A6C34878D82A}">
                    <a16:rowId xmlns:a16="http://schemas.microsoft.com/office/drawing/2014/main" val="3739649028"/>
                  </a:ext>
                </a:extLst>
              </a:tr>
            </a:tbl>
          </a:graphicData>
        </a:graphic>
      </p:graphicFrame>
      <p:sp>
        <p:nvSpPr>
          <p:cNvPr id="14" name="CuadroTexto 13">
            <a:extLst>
              <a:ext uri="{FF2B5EF4-FFF2-40B4-BE49-F238E27FC236}">
                <a16:creationId xmlns:a16="http://schemas.microsoft.com/office/drawing/2014/main" id="{409405EE-14A3-6FBD-1417-871FE4A88064}"/>
              </a:ext>
            </a:extLst>
          </p:cNvPr>
          <p:cNvSpPr txBox="1"/>
          <p:nvPr/>
        </p:nvSpPr>
        <p:spPr>
          <a:xfrm>
            <a:off x="491235" y="5732891"/>
            <a:ext cx="11209527" cy="461665"/>
          </a:xfrm>
          <a:prstGeom prst="rect">
            <a:avLst/>
          </a:prstGeom>
          <a:noFill/>
        </p:spPr>
        <p:txBody>
          <a:bodyPr wrap="square">
            <a:spAutoFit/>
          </a:bodyPr>
          <a:lstStyle/>
          <a:p>
            <a:r>
              <a:rPr lang="es-MX" sz="1200">
                <a:solidFill>
                  <a:schemeClr val="accent5"/>
                </a:solidFill>
              </a:rPr>
              <a:t>Implementar XRAY en nuestro proceso de calidad nos permitiría transformar la gestión de pruebas en una actividad </a:t>
            </a:r>
            <a:r>
              <a:rPr lang="es-MX" sz="1200" b="1">
                <a:solidFill>
                  <a:schemeClr val="accent5"/>
                </a:solidFill>
              </a:rPr>
              <a:t>centralizada, trazable y colaborativa</a:t>
            </a:r>
            <a:r>
              <a:rPr lang="es-MX" sz="1200">
                <a:solidFill>
                  <a:schemeClr val="accent5"/>
                </a:solidFill>
              </a:rPr>
              <a:t>. Esto se traduce en </a:t>
            </a:r>
            <a:r>
              <a:rPr lang="es-MX" sz="1200" b="1">
                <a:solidFill>
                  <a:schemeClr val="accent5"/>
                </a:solidFill>
              </a:rPr>
              <a:t>mayor eficiencia, calidad y visibilidad</a:t>
            </a:r>
            <a:r>
              <a:rPr lang="es-MX" sz="1200">
                <a:solidFill>
                  <a:schemeClr val="accent5"/>
                </a:solidFill>
              </a:rPr>
              <a:t>, impulsando la mejora continua y la capacidad de respuesta ante cambios o auditorías.</a:t>
            </a:r>
            <a:endParaRPr lang="es-PE" sz="1200">
              <a:solidFill>
                <a:schemeClr val="accent5"/>
              </a:solidFill>
            </a:endParaRPr>
          </a:p>
        </p:txBody>
      </p:sp>
    </p:spTree>
    <p:extLst>
      <p:ext uri="{BB962C8B-B14F-4D97-AF65-F5344CB8AC3E}">
        <p14:creationId xmlns:p14="http://schemas.microsoft.com/office/powerpoint/2010/main" val="846268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2C628-2A9C-27AF-DA8F-6271D3D035AD}"/>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706E9851-52F9-3A81-D4F6-80838E752FE4}"/>
              </a:ext>
            </a:extLst>
          </p:cNvPr>
          <p:cNvSpPr>
            <a:spLocks noGrp="1"/>
          </p:cNvSpPr>
          <p:nvPr>
            <p:ph type="body" sz="quarter" idx="14"/>
          </p:nvPr>
        </p:nvSpPr>
        <p:spPr/>
        <p:txBody>
          <a:bodyPr/>
          <a:lstStyle/>
          <a:p>
            <a:endParaRPr lang="es-PE"/>
          </a:p>
        </p:txBody>
      </p:sp>
      <p:sp>
        <p:nvSpPr>
          <p:cNvPr id="4" name="Título 3">
            <a:extLst>
              <a:ext uri="{FF2B5EF4-FFF2-40B4-BE49-F238E27FC236}">
                <a16:creationId xmlns:a16="http://schemas.microsoft.com/office/drawing/2014/main" id="{048FDE6F-D0FE-DC60-EF89-6D3A1D912EF1}"/>
              </a:ext>
            </a:extLst>
          </p:cNvPr>
          <p:cNvSpPr>
            <a:spLocks noGrp="1"/>
          </p:cNvSpPr>
          <p:nvPr>
            <p:ph type="title"/>
          </p:nvPr>
        </p:nvSpPr>
        <p:spPr/>
        <p:txBody>
          <a:bodyPr/>
          <a:lstStyle/>
          <a:p>
            <a:r>
              <a:rPr lang="es-PE"/>
              <a:t>Propuesta para criterio de </a:t>
            </a:r>
            <a:r>
              <a:rPr lang="es-PE" err="1"/>
              <a:t>Releases</a:t>
            </a:r>
            <a:r>
              <a:rPr lang="es-PE"/>
              <a:t> entre ambientes</a:t>
            </a:r>
            <a:endParaRPr lang="es-MX" sz="2400"/>
          </a:p>
        </p:txBody>
      </p:sp>
      <p:sp>
        <p:nvSpPr>
          <p:cNvPr id="2" name="Rectángulo 1">
            <a:extLst>
              <a:ext uri="{FF2B5EF4-FFF2-40B4-BE49-F238E27FC236}">
                <a16:creationId xmlns:a16="http://schemas.microsoft.com/office/drawing/2014/main" id="{0D398906-D654-23C3-1388-6E663B304A40}"/>
              </a:ext>
            </a:extLst>
          </p:cNvPr>
          <p:cNvSpPr/>
          <p:nvPr/>
        </p:nvSpPr>
        <p:spPr>
          <a:xfrm>
            <a:off x="766834" y="1601066"/>
            <a:ext cx="3093057" cy="61441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b="1"/>
              <a:t>DEV</a:t>
            </a:r>
            <a:endParaRPr lang="es-PE" b="1"/>
          </a:p>
        </p:txBody>
      </p:sp>
      <p:sp>
        <p:nvSpPr>
          <p:cNvPr id="3" name="Rectángulo 2">
            <a:extLst>
              <a:ext uri="{FF2B5EF4-FFF2-40B4-BE49-F238E27FC236}">
                <a16:creationId xmlns:a16="http://schemas.microsoft.com/office/drawing/2014/main" id="{69D15A0B-38A4-3D30-C2ED-CD63772B955F}"/>
              </a:ext>
            </a:extLst>
          </p:cNvPr>
          <p:cNvSpPr/>
          <p:nvPr/>
        </p:nvSpPr>
        <p:spPr>
          <a:xfrm>
            <a:off x="4425758" y="1601065"/>
            <a:ext cx="3093057" cy="61441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b="1"/>
              <a:t>UAT</a:t>
            </a:r>
            <a:endParaRPr lang="es-PE" b="1"/>
          </a:p>
        </p:txBody>
      </p:sp>
      <p:sp>
        <p:nvSpPr>
          <p:cNvPr id="5" name="Rectángulo 4">
            <a:extLst>
              <a:ext uri="{FF2B5EF4-FFF2-40B4-BE49-F238E27FC236}">
                <a16:creationId xmlns:a16="http://schemas.microsoft.com/office/drawing/2014/main" id="{9F00BFD2-6B9D-AA21-B4AD-C7A274BBCFCE}"/>
              </a:ext>
            </a:extLst>
          </p:cNvPr>
          <p:cNvSpPr/>
          <p:nvPr/>
        </p:nvSpPr>
        <p:spPr>
          <a:xfrm>
            <a:off x="8084682" y="1601065"/>
            <a:ext cx="3093057" cy="61441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b="1"/>
              <a:t>PROD</a:t>
            </a:r>
            <a:endParaRPr lang="es-PE" b="1"/>
          </a:p>
        </p:txBody>
      </p:sp>
      <p:cxnSp>
        <p:nvCxnSpPr>
          <p:cNvPr id="15" name="Conector: angular 14">
            <a:extLst>
              <a:ext uri="{FF2B5EF4-FFF2-40B4-BE49-F238E27FC236}">
                <a16:creationId xmlns:a16="http://schemas.microsoft.com/office/drawing/2014/main" id="{A1EB9C48-82BC-38DA-A9B7-5FE56DB921CF}"/>
              </a:ext>
            </a:extLst>
          </p:cNvPr>
          <p:cNvCxnSpPr>
            <a:stCxn id="3" idx="2"/>
            <a:endCxn id="5" idx="2"/>
          </p:cNvCxnSpPr>
          <p:nvPr/>
        </p:nvCxnSpPr>
        <p:spPr>
          <a:xfrm rot="16200000" flipH="1">
            <a:off x="7801749" y="386016"/>
            <a:ext cx="12700" cy="3658924"/>
          </a:xfrm>
          <a:prstGeom prst="bentConnector3">
            <a:avLst>
              <a:gd name="adj1" fmla="val 1800000"/>
            </a:avLst>
          </a:prstGeom>
          <a:ln w="38100">
            <a:solidFill>
              <a:srgbClr val="203864"/>
            </a:solidFill>
            <a:tailEnd type="triangle"/>
          </a:ln>
        </p:spPr>
        <p:style>
          <a:lnRef idx="1">
            <a:schemeClr val="accent1"/>
          </a:lnRef>
          <a:fillRef idx="0">
            <a:schemeClr val="accent1"/>
          </a:fillRef>
          <a:effectRef idx="0">
            <a:schemeClr val="accent1"/>
          </a:effectRef>
          <a:fontRef idx="minor">
            <a:schemeClr val="tx1"/>
          </a:fontRef>
        </p:style>
      </p:cxnSp>
      <p:sp>
        <p:nvSpPr>
          <p:cNvPr id="17" name="CuadroTexto 16">
            <a:extLst>
              <a:ext uri="{FF2B5EF4-FFF2-40B4-BE49-F238E27FC236}">
                <a16:creationId xmlns:a16="http://schemas.microsoft.com/office/drawing/2014/main" id="{1765F104-4C08-89A7-2E84-51650705A382}"/>
              </a:ext>
            </a:extLst>
          </p:cNvPr>
          <p:cNvSpPr txBox="1"/>
          <p:nvPr/>
        </p:nvSpPr>
        <p:spPr>
          <a:xfrm>
            <a:off x="766834" y="2933665"/>
            <a:ext cx="5021716" cy="2800767"/>
          </a:xfrm>
          <a:prstGeom prst="rect">
            <a:avLst/>
          </a:prstGeom>
          <a:noFill/>
        </p:spPr>
        <p:txBody>
          <a:bodyPr wrap="square">
            <a:spAutoFit/>
          </a:bodyPr>
          <a:lstStyle/>
          <a:p>
            <a:r>
              <a:rPr lang="es-MX" sz="1200" b="1">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Qué debe cumplirse?</a:t>
            </a:r>
            <a:endPar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Todas las </a:t>
            </a:r>
            <a:r>
              <a:rPr lang="es-MX" sz="1200" b="1">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pruebas unitarias</a:t>
            </a: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 y de </a:t>
            </a:r>
            <a:r>
              <a:rPr lang="es-MX" sz="1200" b="1">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integración</a:t>
            </a: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 deben estar ejecutadas y pasar exitosamente.</a:t>
            </a:r>
          </a:p>
          <a:p>
            <a:pPr marL="285750" indent="-285750">
              <a:buFont typeface="Arial" panose="020B0604020202020204" pitchFamily="34" charset="0"/>
              <a:buChar char="•"/>
            </a:pP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Deben estar corregidos los bugs críticos y bloqueantes.</a:t>
            </a:r>
          </a:p>
          <a:p>
            <a:pPr marL="285750" indent="-285750">
              <a:buFont typeface="Arial" panose="020B0604020202020204" pitchFamily="34" charset="0"/>
              <a:buChar char="•"/>
            </a:pP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El código debe cumplir los estándares definidos (revisión de código, cobertura mínima de pruebas, </a:t>
            </a:r>
            <a:r>
              <a:rPr lang="es-MX" sz="1200" err="1">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etc</a:t>
            </a: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a:t>
            </a:r>
          </a:p>
          <a:p>
            <a:pPr marL="285750" indent="-285750">
              <a:buFont typeface="Arial" panose="020B0604020202020204" pitchFamily="34" charset="0"/>
              <a:buChar char="•"/>
            </a:pP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El despliegue debe ser exitoso (sin errores en logs, sin fallos críticos).</a:t>
            </a:r>
          </a:p>
          <a:p>
            <a:pPr marL="285750" indent="-285750">
              <a:buFont typeface="Arial" panose="020B0604020202020204" pitchFamily="34" charset="0"/>
              <a:buChar char="•"/>
            </a:pP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Los casos de prueba funcionales básicos (</a:t>
            </a:r>
            <a:r>
              <a:rPr lang="es-MX" sz="1200" err="1">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smoke</a:t>
            </a: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 test) deben estar “OK”.</a:t>
            </a:r>
          </a:p>
          <a:p>
            <a:r>
              <a:rPr lang="es-MX" sz="1200" b="1">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Qué NO pasa?</a:t>
            </a:r>
            <a:endPar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endParaRPr>
          </a:p>
          <a:p>
            <a:pPr marL="171450" indent="-171450">
              <a:buFont typeface="Arial" panose="020B0604020202020204" pitchFamily="34" charset="0"/>
              <a:buChar char="•"/>
            </a:pP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Funcionalidades con bugs críticos o bloqueantes no resueltos.</a:t>
            </a:r>
          </a:p>
          <a:p>
            <a:pPr marL="171450" indent="-171450">
              <a:buFont typeface="Arial" panose="020B0604020202020204" pitchFamily="34" charset="0"/>
              <a:buChar char="•"/>
            </a:pP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Cambios no documentados o sin criterios de aceptación claros.</a:t>
            </a:r>
          </a:p>
          <a:p>
            <a:pPr marL="171450" indent="-171450">
              <a:buFont typeface="Arial" panose="020B0604020202020204" pitchFamily="34" charset="0"/>
              <a:buChar char="•"/>
            </a:pP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Entregables sin la aprobación de los responsables de QA y desarrollo.</a:t>
            </a:r>
          </a:p>
          <a:p>
            <a:pPr lvl="1"/>
            <a:endParaRPr lang="es-ES" sz="1400">
              <a:solidFill>
                <a:sysClr val="windowText" lastClr="000000"/>
              </a:solidFill>
              <a:latin typeface="Calibri Light" panose="020F0302020204030204"/>
            </a:endParaRPr>
          </a:p>
          <a:p>
            <a:pPr lvl="1"/>
            <a:endParaRPr lang="es-ES">
              <a:solidFill>
                <a:sysClr val="windowText" lastClr="000000"/>
              </a:solidFill>
              <a:latin typeface="Calibri Light" panose="020F0302020204030204"/>
            </a:endParaRPr>
          </a:p>
        </p:txBody>
      </p:sp>
      <p:sp>
        <p:nvSpPr>
          <p:cNvPr id="19" name="CuadroTexto 18">
            <a:extLst>
              <a:ext uri="{FF2B5EF4-FFF2-40B4-BE49-F238E27FC236}">
                <a16:creationId xmlns:a16="http://schemas.microsoft.com/office/drawing/2014/main" id="{79DA95CA-7CD6-84FA-AF46-D007820EE8C1}"/>
              </a:ext>
            </a:extLst>
          </p:cNvPr>
          <p:cNvSpPr txBox="1"/>
          <p:nvPr/>
        </p:nvSpPr>
        <p:spPr>
          <a:xfrm>
            <a:off x="6050344" y="2949751"/>
            <a:ext cx="5127395" cy="2862322"/>
          </a:xfrm>
          <a:prstGeom prst="rect">
            <a:avLst/>
          </a:prstGeom>
          <a:noFill/>
        </p:spPr>
        <p:txBody>
          <a:bodyPr wrap="square">
            <a:spAutoFit/>
          </a:bodyPr>
          <a:lstStyle/>
          <a:p>
            <a:r>
              <a:rPr lang="es-MX" sz="1200" b="1">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Qué debe cumplirse?</a:t>
            </a:r>
            <a:endPar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Todos los casos de prueba funcionales, de regresión y UAT deben estar ejecutados y aprobados.</a:t>
            </a:r>
          </a:p>
          <a:p>
            <a:pPr marL="285750" indent="-285750">
              <a:buFont typeface="Arial" panose="020B0604020202020204" pitchFamily="34" charset="0"/>
              <a:buChar char="•"/>
            </a:pP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Bugs críticos y de alta prioridad deben estar corregidos y verificados.</a:t>
            </a:r>
          </a:p>
          <a:p>
            <a:pPr marL="285750" indent="-285750">
              <a:buFont typeface="Arial" panose="020B0604020202020204" pitchFamily="34" charset="0"/>
              <a:buChar char="•"/>
            </a:pP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El usuario de negocio (o </a:t>
            </a:r>
            <a:r>
              <a:rPr lang="es-MX" sz="1200" err="1">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Product</a:t>
            </a: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 </a:t>
            </a:r>
            <a:r>
              <a:rPr lang="es-MX" sz="1200" err="1">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Owner</a:t>
            </a: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 debe haber dado el </a:t>
            </a:r>
            <a:r>
              <a:rPr lang="es-MX" sz="1200" b="1">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Go”</a:t>
            </a: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 o la aprobación formal.</a:t>
            </a:r>
          </a:p>
          <a:p>
            <a:pPr marL="285750" indent="-285750">
              <a:buFont typeface="Arial" panose="020B0604020202020204" pitchFamily="34" charset="0"/>
              <a:buChar char="•"/>
            </a:pP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Documentación actualizada (manuales, notas de release, procedimientos de </a:t>
            </a:r>
            <a:r>
              <a:rPr lang="es-MX" sz="1200" err="1">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rollback</a:t>
            </a: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a:t>
            </a:r>
          </a:p>
          <a:p>
            <a:pPr marL="285750" indent="-285750">
              <a:buFont typeface="Arial" panose="020B0604020202020204" pitchFamily="34" charset="0"/>
              <a:buChar char="•"/>
            </a:pP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Plan de despliegue revisado y validado.</a:t>
            </a:r>
          </a:p>
          <a:p>
            <a:pPr marL="285750" indent="-285750">
              <a:buFont typeface="Arial" panose="020B0604020202020204" pitchFamily="34" charset="0"/>
              <a:buChar char="•"/>
            </a:pP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Pruebas de performance y seguridad ejecutadas (si aplica), sin hallazgos críticos.</a:t>
            </a:r>
          </a:p>
          <a:p>
            <a:r>
              <a:rPr lang="es-MX" sz="1200" b="1">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Qué NO pasa?</a:t>
            </a:r>
            <a:endPar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endParaRPr>
          </a:p>
          <a:p>
            <a:pPr marL="171450" indent="-171450">
              <a:buFont typeface="Arial" panose="020B0604020202020204" pitchFamily="34" charset="0"/>
              <a:buChar char="•"/>
            </a:pP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Cambios con bugs abiertos críticos/altos en UAT.</a:t>
            </a:r>
          </a:p>
          <a:p>
            <a:pPr marL="171450" indent="-171450">
              <a:buFont typeface="Arial" panose="020B0604020202020204" pitchFamily="34" charset="0"/>
              <a:buChar char="•"/>
            </a:pP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Cambios sin validación del usuario de negocio.</a:t>
            </a:r>
          </a:p>
          <a:p>
            <a:pPr marL="171450" indent="-171450">
              <a:buFont typeface="Arial" panose="020B0604020202020204" pitchFamily="34" charset="0"/>
              <a:buChar char="•"/>
            </a:pPr>
            <a:r>
              <a:rPr lang="es-MX" sz="1200" err="1">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Deploys</a:t>
            </a: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 sin plan de contingencia o </a:t>
            </a:r>
            <a:r>
              <a:rPr lang="es-MX" sz="1200" err="1">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rollback</a:t>
            </a:r>
            <a:r>
              <a:rPr lang="es-MX" sz="12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 claro.</a:t>
            </a:r>
          </a:p>
        </p:txBody>
      </p:sp>
      <p:sp>
        <p:nvSpPr>
          <p:cNvPr id="22" name="CuadroTexto 21">
            <a:extLst>
              <a:ext uri="{FF2B5EF4-FFF2-40B4-BE49-F238E27FC236}">
                <a16:creationId xmlns:a16="http://schemas.microsoft.com/office/drawing/2014/main" id="{0BEC3686-7E82-841E-96A4-F902C5DBF90F}"/>
              </a:ext>
            </a:extLst>
          </p:cNvPr>
          <p:cNvSpPr txBox="1"/>
          <p:nvPr/>
        </p:nvSpPr>
        <p:spPr>
          <a:xfrm>
            <a:off x="459553" y="907352"/>
            <a:ext cx="11181583" cy="338554"/>
          </a:xfrm>
          <a:prstGeom prst="rect">
            <a:avLst/>
          </a:prstGeom>
          <a:noFill/>
        </p:spPr>
        <p:txBody>
          <a:bodyPr wrap="square">
            <a:spAutoFit/>
          </a:bodyPr>
          <a:lstStyle/>
          <a:p>
            <a:pPr>
              <a:spcAft>
                <a:spcPts val="1200"/>
              </a:spcAft>
            </a:pPr>
            <a:r>
              <a:rPr lang="es-MX" sz="1600" b="1">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Condiciones mínimas</a:t>
            </a:r>
            <a:r>
              <a:rPr lang="es-MX" sz="1600">
                <a:solidFill>
                  <a:srgbClr val="203864"/>
                </a:solidFill>
                <a:latin typeface="Calibri Light" panose="020F0302020204030204" pitchFamily="34" charset="0"/>
                <a:ea typeface="Calibri Light" panose="020F0302020204030204" pitchFamily="34" charset="0"/>
                <a:cs typeface="Calibri Light" panose="020F0302020204030204" pitchFamily="34" charset="0"/>
              </a:rPr>
              <a:t> que deben cumplirse para considerar que una versión/software está lista para migrar de un ambiente a otro.</a:t>
            </a:r>
            <a:endParaRPr lang="es-MX" sz="1600" b="0" i="0">
              <a:solidFill>
                <a:srgbClr val="203864"/>
              </a:solidFill>
              <a:effectLst/>
              <a:latin typeface="Calibri Light" panose="020F0302020204030204" pitchFamily="34" charset="0"/>
              <a:ea typeface="Calibri Light" panose="020F0302020204030204" pitchFamily="34" charset="0"/>
              <a:cs typeface="Calibri Light" panose="020F0302020204030204" pitchFamily="34" charset="0"/>
            </a:endParaRPr>
          </a:p>
        </p:txBody>
      </p:sp>
      <p:cxnSp>
        <p:nvCxnSpPr>
          <p:cNvPr id="9" name="Conector: angular 8">
            <a:extLst>
              <a:ext uri="{FF2B5EF4-FFF2-40B4-BE49-F238E27FC236}">
                <a16:creationId xmlns:a16="http://schemas.microsoft.com/office/drawing/2014/main" id="{1E901A49-F5F7-48A1-D0A3-59B9D812EAE5}"/>
              </a:ext>
            </a:extLst>
          </p:cNvPr>
          <p:cNvCxnSpPr>
            <a:stCxn id="2" idx="2"/>
            <a:endCxn id="3" idx="2"/>
          </p:cNvCxnSpPr>
          <p:nvPr/>
        </p:nvCxnSpPr>
        <p:spPr>
          <a:xfrm rot="5400000" flipH="1" flipV="1">
            <a:off x="4142824" y="386017"/>
            <a:ext cx="1" cy="3658924"/>
          </a:xfrm>
          <a:prstGeom prst="bentConnector3">
            <a:avLst>
              <a:gd name="adj1" fmla="val -22860000000"/>
            </a:avLst>
          </a:prstGeom>
          <a:ln w="38100">
            <a:solidFill>
              <a:srgbClr val="203864"/>
            </a:solidFill>
            <a:tailEnd type="triangle"/>
          </a:ln>
        </p:spPr>
        <p:style>
          <a:lnRef idx="1">
            <a:schemeClr val="accent1"/>
          </a:lnRef>
          <a:fillRef idx="0">
            <a:schemeClr val="accent1"/>
          </a:fillRef>
          <a:effectRef idx="0">
            <a:schemeClr val="accent1"/>
          </a:effectRef>
          <a:fontRef idx="minor">
            <a:schemeClr val="tx1"/>
          </a:fontRef>
        </p:style>
      </p:cxnSp>
      <p:sp>
        <p:nvSpPr>
          <p:cNvPr id="10" name="Rectángulo 9">
            <a:extLst>
              <a:ext uri="{FF2B5EF4-FFF2-40B4-BE49-F238E27FC236}">
                <a16:creationId xmlns:a16="http://schemas.microsoft.com/office/drawing/2014/main" id="{9A35B8AF-70B3-54C3-9F3C-B741F17C0683}"/>
              </a:ext>
            </a:extLst>
          </p:cNvPr>
          <p:cNvSpPr/>
          <p:nvPr/>
        </p:nvSpPr>
        <p:spPr>
          <a:xfrm>
            <a:off x="766834" y="2933665"/>
            <a:ext cx="5205453" cy="2878406"/>
          </a:xfrm>
          <a:prstGeom prst="rect">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s-PE"/>
          </a:p>
        </p:txBody>
      </p:sp>
      <p:sp>
        <p:nvSpPr>
          <p:cNvPr id="11" name="Rectángulo 10">
            <a:extLst>
              <a:ext uri="{FF2B5EF4-FFF2-40B4-BE49-F238E27FC236}">
                <a16:creationId xmlns:a16="http://schemas.microsoft.com/office/drawing/2014/main" id="{BB5AB52D-F295-1EE6-587D-DFEA1FE8D8DB}"/>
              </a:ext>
            </a:extLst>
          </p:cNvPr>
          <p:cNvSpPr/>
          <p:nvPr/>
        </p:nvSpPr>
        <p:spPr>
          <a:xfrm>
            <a:off x="6076979" y="2933665"/>
            <a:ext cx="5205453" cy="2878406"/>
          </a:xfrm>
          <a:prstGeom prst="rect">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s-PE"/>
          </a:p>
        </p:txBody>
      </p:sp>
    </p:spTree>
    <p:extLst>
      <p:ext uri="{BB962C8B-B14F-4D97-AF65-F5344CB8AC3E}">
        <p14:creationId xmlns:p14="http://schemas.microsoft.com/office/powerpoint/2010/main" val="23139537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F98BF6-4917-053A-B6AE-2EDE4E5A7B5E}"/>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344DFF29-32D4-4F1C-2353-51F4FD77EFDF}"/>
              </a:ext>
            </a:extLst>
          </p:cNvPr>
          <p:cNvSpPr>
            <a:spLocks noGrp="1"/>
          </p:cNvSpPr>
          <p:nvPr>
            <p:ph type="body" sz="quarter" idx="14"/>
          </p:nvPr>
        </p:nvSpPr>
        <p:spPr/>
        <p:txBody>
          <a:bodyPr/>
          <a:lstStyle/>
          <a:p>
            <a:endParaRPr lang="es-PE"/>
          </a:p>
        </p:txBody>
      </p:sp>
      <p:sp>
        <p:nvSpPr>
          <p:cNvPr id="4" name="Título 3">
            <a:extLst>
              <a:ext uri="{FF2B5EF4-FFF2-40B4-BE49-F238E27FC236}">
                <a16:creationId xmlns:a16="http://schemas.microsoft.com/office/drawing/2014/main" id="{FAAA80FC-F6AD-61DA-6A1E-9A74459AA5AE}"/>
              </a:ext>
            </a:extLst>
          </p:cNvPr>
          <p:cNvSpPr>
            <a:spLocks noGrp="1"/>
          </p:cNvSpPr>
          <p:nvPr>
            <p:ph type="title"/>
          </p:nvPr>
        </p:nvSpPr>
        <p:spPr/>
        <p:txBody>
          <a:bodyPr/>
          <a:lstStyle/>
          <a:p>
            <a:r>
              <a:rPr lang="es-PE"/>
              <a:t>Planificación de Pruebas por BB </a:t>
            </a:r>
            <a:endParaRPr lang="es-MX" sz="2400"/>
          </a:p>
        </p:txBody>
      </p:sp>
      <p:graphicFrame>
        <p:nvGraphicFramePr>
          <p:cNvPr id="7" name="Tabla 6">
            <a:extLst>
              <a:ext uri="{FF2B5EF4-FFF2-40B4-BE49-F238E27FC236}">
                <a16:creationId xmlns:a16="http://schemas.microsoft.com/office/drawing/2014/main" id="{0A2C50B4-6C3E-805F-E550-826C2F34D299}"/>
              </a:ext>
            </a:extLst>
          </p:cNvPr>
          <p:cNvGraphicFramePr>
            <a:graphicFrameLocks noGrp="1"/>
          </p:cNvGraphicFramePr>
          <p:nvPr>
            <p:extLst>
              <p:ext uri="{D42A27DB-BD31-4B8C-83A1-F6EECF244321}">
                <p14:modId xmlns:p14="http://schemas.microsoft.com/office/powerpoint/2010/main" val="1059717475"/>
              </p:ext>
            </p:extLst>
          </p:nvPr>
        </p:nvGraphicFramePr>
        <p:xfrm>
          <a:off x="550862" y="1158240"/>
          <a:ext cx="11090272" cy="4907280"/>
        </p:xfrm>
        <a:graphic>
          <a:graphicData uri="http://schemas.openxmlformats.org/drawingml/2006/table">
            <a:tbl>
              <a:tblPr firstRow="1" bandRow="1">
                <a:tableStyleId>{7DF18680-E054-41AD-8BC1-D1AEF772440D}</a:tableStyleId>
              </a:tblPr>
              <a:tblGrid>
                <a:gridCol w="3490786">
                  <a:extLst>
                    <a:ext uri="{9D8B030D-6E8A-4147-A177-3AD203B41FA5}">
                      <a16:colId xmlns:a16="http://schemas.microsoft.com/office/drawing/2014/main" val="2825232495"/>
                    </a:ext>
                  </a:extLst>
                </a:gridCol>
                <a:gridCol w="1024128">
                  <a:extLst>
                    <a:ext uri="{9D8B030D-6E8A-4147-A177-3AD203B41FA5}">
                      <a16:colId xmlns:a16="http://schemas.microsoft.com/office/drawing/2014/main" val="1107611930"/>
                    </a:ext>
                  </a:extLst>
                </a:gridCol>
                <a:gridCol w="1179576">
                  <a:extLst>
                    <a:ext uri="{9D8B030D-6E8A-4147-A177-3AD203B41FA5}">
                      <a16:colId xmlns:a16="http://schemas.microsoft.com/office/drawing/2014/main" val="3791984884"/>
                    </a:ext>
                  </a:extLst>
                </a:gridCol>
                <a:gridCol w="1179576">
                  <a:extLst>
                    <a:ext uri="{9D8B030D-6E8A-4147-A177-3AD203B41FA5}">
                      <a16:colId xmlns:a16="http://schemas.microsoft.com/office/drawing/2014/main" val="961622472"/>
                    </a:ext>
                  </a:extLst>
                </a:gridCol>
                <a:gridCol w="1106424">
                  <a:extLst>
                    <a:ext uri="{9D8B030D-6E8A-4147-A177-3AD203B41FA5}">
                      <a16:colId xmlns:a16="http://schemas.microsoft.com/office/drawing/2014/main" val="4024173043"/>
                    </a:ext>
                  </a:extLst>
                </a:gridCol>
                <a:gridCol w="1097280">
                  <a:extLst>
                    <a:ext uri="{9D8B030D-6E8A-4147-A177-3AD203B41FA5}">
                      <a16:colId xmlns:a16="http://schemas.microsoft.com/office/drawing/2014/main" val="4098505530"/>
                    </a:ext>
                  </a:extLst>
                </a:gridCol>
                <a:gridCol w="1097280">
                  <a:extLst>
                    <a:ext uri="{9D8B030D-6E8A-4147-A177-3AD203B41FA5}">
                      <a16:colId xmlns:a16="http://schemas.microsoft.com/office/drawing/2014/main" val="2921341082"/>
                    </a:ext>
                  </a:extLst>
                </a:gridCol>
                <a:gridCol w="915222">
                  <a:extLst>
                    <a:ext uri="{9D8B030D-6E8A-4147-A177-3AD203B41FA5}">
                      <a16:colId xmlns:a16="http://schemas.microsoft.com/office/drawing/2014/main" val="3388116206"/>
                    </a:ext>
                  </a:extLst>
                </a:gridCol>
              </a:tblGrid>
              <a:tr h="370840">
                <a:tc>
                  <a:txBody>
                    <a:bodyPr/>
                    <a:lstStyle/>
                    <a:p>
                      <a:pPr algn="ctr"/>
                      <a:r>
                        <a:rPr lang="es-MX"/>
                        <a:t>Tipos de Prueba</a:t>
                      </a:r>
                      <a:endParaRPr lang="es-PE"/>
                    </a:p>
                  </a:txBody>
                  <a:tcPr anchor="ctr"/>
                </a:tc>
                <a:tc>
                  <a:txBody>
                    <a:bodyPr/>
                    <a:lstStyle/>
                    <a:p>
                      <a:pPr algn="ctr"/>
                      <a:r>
                        <a:rPr lang="es-MX" sz="1200"/>
                        <a:t>Core</a:t>
                      </a:r>
                      <a:endParaRPr lang="es-PE" sz="1200"/>
                    </a:p>
                  </a:txBody>
                  <a:tcPr anchor="ctr"/>
                </a:tc>
                <a:tc>
                  <a:txBody>
                    <a:bodyPr/>
                    <a:lstStyle/>
                    <a:p>
                      <a:pPr algn="ctr"/>
                      <a:r>
                        <a:rPr lang="es-MX" sz="1200"/>
                        <a:t>Integración</a:t>
                      </a:r>
                      <a:endParaRPr lang="es-PE" sz="1200"/>
                    </a:p>
                  </a:txBody>
                  <a:tcPr anchor="ctr"/>
                </a:tc>
                <a:tc>
                  <a:txBody>
                    <a:bodyPr/>
                    <a:lstStyle/>
                    <a:p>
                      <a:pPr algn="ctr"/>
                      <a:r>
                        <a:rPr lang="es-MX" sz="1200"/>
                        <a:t>Aplicaciones Soporte</a:t>
                      </a:r>
                      <a:endParaRPr lang="es-PE" sz="1200"/>
                    </a:p>
                  </a:txBody>
                  <a:tcPr anchor="ctr"/>
                </a:tc>
                <a:tc>
                  <a:txBody>
                    <a:bodyPr/>
                    <a:lstStyle/>
                    <a:p>
                      <a:pPr algn="ctr"/>
                      <a:r>
                        <a:rPr lang="es-MX" sz="1200"/>
                        <a:t>Pagos &amp; Tarjetas</a:t>
                      </a:r>
                      <a:endParaRPr lang="es-PE" sz="1200"/>
                    </a:p>
                  </a:txBody>
                  <a:tcPr anchor="ctr"/>
                </a:tc>
                <a:tc>
                  <a:txBody>
                    <a:bodyPr/>
                    <a:lstStyle/>
                    <a:p>
                      <a:pPr algn="ctr"/>
                      <a:r>
                        <a:rPr lang="es-MX" sz="1200"/>
                        <a:t>Procesos</a:t>
                      </a:r>
                      <a:endParaRPr lang="es-PE" sz="1200"/>
                    </a:p>
                  </a:txBody>
                  <a:tcPr anchor="ctr"/>
                </a:tc>
                <a:tc>
                  <a:txBody>
                    <a:bodyPr/>
                    <a:lstStyle/>
                    <a:p>
                      <a:pPr algn="ctr"/>
                      <a:r>
                        <a:rPr lang="es-MX" sz="1200"/>
                        <a:t>Canales Asistidos</a:t>
                      </a:r>
                      <a:endParaRPr lang="es-PE" sz="1200"/>
                    </a:p>
                  </a:txBody>
                  <a:tcPr anchor="ctr"/>
                </a:tc>
                <a:tc>
                  <a:txBody>
                    <a:bodyPr/>
                    <a:lstStyle/>
                    <a:p>
                      <a:pPr algn="ctr"/>
                      <a:r>
                        <a:rPr lang="es-MX" sz="1200"/>
                        <a:t>Canales Digitales</a:t>
                      </a:r>
                      <a:endParaRPr lang="es-PE" sz="1200"/>
                    </a:p>
                  </a:txBody>
                  <a:tcPr anchor="ctr"/>
                </a:tc>
                <a:extLst>
                  <a:ext uri="{0D108BD9-81ED-4DB2-BD59-A6C34878D82A}">
                    <a16:rowId xmlns:a16="http://schemas.microsoft.com/office/drawing/2014/main" val="1063917646"/>
                  </a:ext>
                </a:extLst>
              </a:tr>
              <a:tr h="370840">
                <a:tc>
                  <a:txBody>
                    <a:bodyPr/>
                    <a:lstStyle/>
                    <a:p>
                      <a:r>
                        <a:rPr lang="es-MX" sz="1600" b="1">
                          <a:solidFill>
                            <a:schemeClr val="accent5"/>
                          </a:solidFill>
                        </a:rPr>
                        <a:t>Pruebas Unitarias*</a:t>
                      </a:r>
                      <a:endParaRPr lang="es-PE" sz="1600" b="1">
                        <a:solidFill>
                          <a:schemeClr val="accent5"/>
                        </a:solidFill>
                      </a:endParaRPr>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extLst>
                  <a:ext uri="{0D108BD9-81ED-4DB2-BD59-A6C34878D82A}">
                    <a16:rowId xmlns:a16="http://schemas.microsoft.com/office/drawing/2014/main" val="1836891061"/>
                  </a:ext>
                </a:extLst>
              </a:tr>
              <a:tr h="370840">
                <a:tc>
                  <a:txBody>
                    <a:bodyPr/>
                    <a:lstStyle/>
                    <a:p>
                      <a:r>
                        <a:rPr lang="es-MX" sz="1600" b="1">
                          <a:solidFill>
                            <a:schemeClr val="accent5"/>
                          </a:solidFill>
                        </a:rPr>
                        <a:t>Inspección de Código*</a:t>
                      </a:r>
                      <a:endParaRPr lang="es-PE" sz="1600" b="1">
                        <a:solidFill>
                          <a:schemeClr val="accent5"/>
                        </a:solidFill>
                      </a:endParaRPr>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extLst>
                  <a:ext uri="{0D108BD9-81ED-4DB2-BD59-A6C34878D82A}">
                    <a16:rowId xmlns:a16="http://schemas.microsoft.com/office/drawing/2014/main" val="2268641001"/>
                  </a:ext>
                </a:extLst>
              </a:tr>
              <a:tr h="370840">
                <a:tc>
                  <a:txBody>
                    <a:bodyPr/>
                    <a:lstStyle/>
                    <a:p>
                      <a:r>
                        <a:rPr lang="es-MX" sz="1600" b="1">
                          <a:solidFill>
                            <a:schemeClr val="accent5"/>
                          </a:solidFill>
                        </a:rPr>
                        <a:t>Pruebas de Integración*</a:t>
                      </a:r>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extLst>
                  <a:ext uri="{0D108BD9-81ED-4DB2-BD59-A6C34878D82A}">
                    <a16:rowId xmlns:a16="http://schemas.microsoft.com/office/drawing/2014/main" val="80267918"/>
                  </a:ext>
                </a:extLst>
              </a:tr>
              <a:tr h="370840">
                <a:tc>
                  <a:txBody>
                    <a:bodyPr/>
                    <a:lstStyle/>
                    <a:p>
                      <a:pPr marL="0" marR="0" lvl="0" indent="0" algn="l" defTabSz="912688" rtl="0" eaLnBrk="1" fontAlgn="auto" latinLnBrk="0" hangingPunct="1">
                        <a:lnSpc>
                          <a:spcPct val="100000"/>
                        </a:lnSpc>
                        <a:spcBef>
                          <a:spcPts val="0"/>
                        </a:spcBef>
                        <a:spcAft>
                          <a:spcPts val="0"/>
                        </a:spcAft>
                        <a:buClrTx/>
                        <a:buSzTx/>
                        <a:buFontTx/>
                        <a:buNone/>
                        <a:tabLst/>
                        <a:defRPr/>
                      </a:pPr>
                      <a:r>
                        <a:rPr lang="es-MX" sz="1600" b="1">
                          <a:solidFill>
                            <a:schemeClr val="accent5"/>
                          </a:solidFill>
                        </a:rPr>
                        <a:t>Pruebas de Contrato (Apis)</a:t>
                      </a:r>
                      <a:endParaRPr lang="es-PE" sz="1600" b="1">
                        <a:solidFill>
                          <a:schemeClr val="accent5"/>
                        </a:solidFill>
                      </a:endParaRPr>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extLst>
                  <a:ext uri="{0D108BD9-81ED-4DB2-BD59-A6C34878D82A}">
                    <a16:rowId xmlns:a16="http://schemas.microsoft.com/office/drawing/2014/main" val="185915173"/>
                  </a:ext>
                </a:extLst>
              </a:tr>
              <a:tr h="370840">
                <a:tc>
                  <a:txBody>
                    <a:bodyPr/>
                    <a:lstStyle/>
                    <a:p>
                      <a:r>
                        <a:rPr lang="es-MX" sz="1600" b="1">
                          <a:solidFill>
                            <a:schemeClr val="accent5"/>
                          </a:solidFill>
                        </a:rPr>
                        <a:t>Pruebas de Instalación y Rollback*</a:t>
                      </a:r>
                      <a:endParaRPr lang="es-PE" sz="1600" b="1">
                        <a:solidFill>
                          <a:schemeClr val="accent5"/>
                        </a:solidFill>
                      </a:endParaRPr>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extLst>
                  <a:ext uri="{0D108BD9-81ED-4DB2-BD59-A6C34878D82A}">
                    <a16:rowId xmlns:a16="http://schemas.microsoft.com/office/drawing/2014/main" val="3777540287"/>
                  </a:ext>
                </a:extLst>
              </a:tr>
              <a:tr h="370840">
                <a:tc>
                  <a:txBody>
                    <a:bodyPr/>
                    <a:lstStyle/>
                    <a:p>
                      <a:r>
                        <a:rPr lang="es-MX" sz="1600" b="1">
                          <a:solidFill>
                            <a:schemeClr val="accent5"/>
                          </a:solidFill>
                        </a:rPr>
                        <a:t>Pruebas de Humo</a:t>
                      </a:r>
                      <a:endParaRPr lang="es-PE" sz="1600" b="1">
                        <a:solidFill>
                          <a:schemeClr val="accent5"/>
                        </a:solidFill>
                      </a:endParaRPr>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extLst>
                  <a:ext uri="{0D108BD9-81ED-4DB2-BD59-A6C34878D82A}">
                    <a16:rowId xmlns:a16="http://schemas.microsoft.com/office/drawing/2014/main" val="3508363237"/>
                  </a:ext>
                </a:extLst>
              </a:tr>
              <a:tr h="370840">
                <a:tc>
                  <a:txBody>
                    <a:bodyPr/>
                    <a:lstStyle/>
                    <a:p>
                      <a:r>
                        <a:rPr lang="es-MX" sz="1600" b="1">
                          <a:solidFill>
                            <a:schemeClr val="accent5"/>
                          </a:solidFill>
                        </a:rPr>
                        <a:t>Pruebas de Seguridad*</a:t>
                      </a:r>
                      <a:endParaRPr lang="es-PE" sz="1600" b="1">
                        <a:solidFill>
                          <a:schemeClr val="accent5"/>
                        </a:solidFill>
                      </a:endParaRPr>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extLst>
                  <a:ext uri="{0D108BD9-81ED-4DB2-BD59-A6C34878D82A}">
                    <a16:rowId xmlns:a16="http://schemas.microsoft.com/office/drawing/2014/main" val="1477577548"/>
                  </a:ext>
                </a:extLst>
              </a:tr>
              <a:tr h="370840">
                <a:tc>
                  <a:txBody>
                    <a:bodyPr/>
                    <a:lstStyle/>
                    <a:p>
                      <a:r>
                        <a:rPr lang="es-MX" sz="1600" b="1">
                          <a:solidFill>
                            <a:schemeClr val="accent5"/>
                          </a:solidFill>
                        </a:rPr>
                        <a:t>Pruebas Funcionales E2E</a:t>
                      </a:r>
                      <a:endParaRPr lang="es-PE" sz="1600" b="1">
                        <a:solidFill>
                          <a:schemeClr val="accent5"/>
                        </a:solidFill>
                      </a:endParaRPr>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extLst>
                  <a:ext uri="{0D108BD9-81ED-4DB2-BD59-A6C34878D82A}">
                    <a16:rowId xmlns:a16="http://schemas.microsoft.com/office/drawing/2014/main" val="4125448082"/>
                  </a:ext>
                </a:extLst>
              </a:tr>
              <a:tr h="370840">
                <a:tc>
                  <a:txBody>
                    <a:bodyPr/>
                    <a:lstStyle/>
                    <a:p>
                      <a:r>
                        <a:rPr lang="es-MX" sz="1600" b="1">
                          <a:solidFill>
                            <a:schemeClr val="accent5"/>
                          </a:solidFill>
                        </a:rPr>
                        <a:t>Pruebas de Compatibilidad</a:t>
                      </a:r>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extLst>
                  <a:ext uri="{0D108BD9-81ED-4DB2-BD59-A6C34878D82A}">
                    <a16:rowId xmlns:a16="http://schemas.microsoft.com/office/drawing/2014/main" val="855177694"/>
                  </a:ext>
                </a:extLst>
              </a:tr>
              <a:tr h="370840">
                <a:tc>
                  <a:txBody>
                    <a:bodyPr/>
                    <a:lstStyle/>
                    <a:p>
                      <a:r>
                        <a:rPr lang="es-MX" sz="1600" b="1">
                          <a:solidFill>
                            <a:schemeClr val="accent5"/>
                          </a:solidFill>
                        </a:rPr>
                        <a:t>Pruebas de Regresión</a:t>
                      </a:r>
                      <a:endParaRPr lang="es-PE" sz="1600" b="1">
                        <a:solidFill>
                          <a:schemeClr val="accent5"/>
                        </a:solidFill>
                      </a:endParaRPr>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extLst>
                  <a:ext uri="{0D108BD9-81ED-4DB2-BD59-A6C34878D82A}">
                    <a16:rowId xmlns:a16="http://schemas.microsoft.com/office/drawing/2014/main" val="2078012048"/>
                  </a:ext>
                </a:extLst>
              </a:tr>
              <a:tr h="370840">
                <a:tc>
                  <a:txBody>
                    <a:bodyPr/>
                    <a:lstStyle/>
                    <a:p>
                      <a:r>
                        <a:rPr lang="es-MX" sz="1600" b="1">
                          <a:solidFill>
                            <a:schemeClr val="accent5"/>
                          </a:solidFill>
                        </a:rPr>
                        <a:t>Pruebas UAT</a:t>
                      </a:r>
                      <a:endParaRPr lang="es-PE" sz="1600" b="1">
                        <a:solidFill>
                          <a:schemeClr val="accent5"/>
                        </a:solidFill>
                      </a:endParaRPr>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extLst>
                  <a:ext uri="{0D108BD9-81ED-4DB2-BD59-A6C34878D82A}">
                    <a16:rowId xmlns:a16="http://schemas.microsoft.com/office/drawing/2014/main" val="1447417382"/>
                  </a:ext>
                </a:extLst>
              </a:tr>
              <a:tr h="370840">
                <a:tc>
                  <a:txBody>
                    <a:bodyPr/>
                    <a:lstStyle/>
                    <a:p>
                      <a:r>
                        <a:rPr lang="es-MX" sz="1600" b="1">
                          <a:solidFill>
                            <a:schemeClr val="accent5"/>
                          </a:solidFill>
                        </a:rPr>
                        <a:t>Pruebas Performance</a:t>
                      </a:r>
                      <a:endParaRPr lang="es-PE" sz="1600" b="1">
                        <a:solidFill>
                          <a:schemeClr val="accent5"/>
                        </a:solidFill>
                      </a:endParaRPr>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tc>
                  <a:txBody>
                    <a:bodyPr/>
                    <a:lstStyle/>
                    <a:p>
                      <a:endParaRPr lang="es-PE"/>
                    </a:p>
                  </a:txBody>
                  <a:tcPr>
                    <a:solidFill>
                      <a:schemeClr val="accent6">
                        <a:lumMod val="40000"/>
                        <a:lumOff val="60000"/>
                      </a:schemeClr>
                    </a:solidFill>
                  </a:tcPr>
                </a:tc>
                <a:extLst>
                  <a:ext uri="{0D108BD9-81ED-4DB2-BD59-A6C34878D82A}">
                    <a16:rowId xmlns:a16="http://schemas.microsoft.com/office/drawing/2014/main" val="871656011"/>
                  </a:ext>
                </a:extLst>
              </a:tr>
            </a:tbl>
          </a:graphicData>
        </a:graphic>
      </p:graphicFrame>
      <p:pic>
        <p:nvPicPr>
          <p:cNvPr id="16" name="Gráfico 15" descr="Marca de insignia1 con relleno sólido">
            <a:extLst>
              <a:ext uri="{FF2B5EF4-FFF2-40B4-BE49-F238E27FC236}">
                <a16:creationId xmlns:a16="http://schemas.microsoft.com/office/drawing/2014/main" id="{F41F85A7-B480-81A8-F8F4-9D84B67EF0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62336" y="5705520"/>
            <a:ext cx="360000" cy="360000"/>
          </a:xfrm>
          <a:prstGeom prst="rect">
            <a:avLst/>
          </a:prstGeom>
        </p:spPr>
      </p:pic>
      <p:pic>
        <p:nvPicPr>
          <p:cNvPr id="20" name="Gráfico 19" descr="Marca de insignia1 con relleno sólido">
            <a:extLst>
              <a:ext uri="{FF2B5EF4-FFF2-40B4-BE49-F238E27FC236}">
                <a16:creationId xmlns:a16="http://schemas.microsoft.com/office/drawing/2014/main" id="{60C6D80C-7689-DC7B-33D0-1804A8B364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62336" y="5339760"/>
            <a:ext cx="360000" cy="360000"/>
          </a:xfrm>
          <a:prstGeom prst="rect">
            <a:avLst/>
          </a:prstGeom>
        </p:spPr>
      </p:pic>
      <p:pic>
        <p:nvPicPr>
          <p:cNvPr id="21" name="Gráfico 20" descr="Marca de insignia1 con relleno sólido">
            <a:extLst>
              <a:ext uri="{FF2B5EF4-FFF2-40B4-BE49-F238E27FC236}">
                <a16:creationId xmlns:a16="http://schemas.microsoft.com/office/drawing/2014/main" id="{E0072850-DD28-5FD8-2554-F4F7A24382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62336" y="4974000"/>
            <a:ext cx="360000" cy="360000"/>
          </a:xfrm>
          <a:prstGeom prst="rect">
            <a:avLst/>
          </a:prstGeom>
        </p:spPr>
      </p:pic>
      <p:pic>
        <p:nvPicPr>
          <p:cNvPr id="23" name="Gráfico 22" descr="Marca de insignia1 con relleno sólido">
            <a:extLst>
              <a:ext uri="{FF2B5EF4-FFF2-40B4-BE49-F238E27FC236}">
                <a16:creationId xmlns:a16="http://schemas.microsoft.com/office/drawing/2014/main" id="{ED66F672-A66F-FCDC-DA0F-E526FEEC25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62336" y="4608240"/>
            <a:ext cx="360000" cy="360000"/>
          </a:xfrm>
          <a:prstGeom prst="rect">
            <a:avLst/>
          </a:prstGeom>
        </p:spPr>
      </p:pic>
      <p:pic>
        <p:nvPicPr>
          <p:cNvPr id="24" name="Gráfico 23" descr="Marca de insignia1 con relleno sólido">
            <a:extLst>
              <a:ext uri="{FF2B5EF4-FFF2-40B4-BE49-F238E27FC236}">
                <a16:creationId xmlns:a16="http://schemas.microsoft.com/office/drawing/2014/main" id="{ACE434D1-528A-4C75-1C6F-01497B834C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62336" y="4208952"/>
            <a:ext cx="360000" cy="360000"/>
          </a:xfrm>
          <a:prstGeom prst="rect">
            <a:avLst/>
          </a:prstGeom>
        </p:spPr>
      </p:pic>
      <p:pic>
        <p:nvPicPr>
          <p:cNvPr id="26" name="Gráfico 25" descr="Marca de insignia1 con relleno sólido">
            <a:extLst>
              <a:ext uri="{FF2B5EF4-FFF2-40B4-BE49-F238E27FC236}">
                <a16:creationId xmlns:a16="http://schemas.microsoft.com/office/drawing/2014/main" id="{C94AE7E2-922C-F1B3-FBC4-F1AA27AA8EB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62336" y="3480312"/>
            <a:ext cx="360000" cy="360000"/>
          </a:xfrm>
          <a:prstGeom prst="rect">
            <a:avLst/>
          </a:prstGeom>
        </p:spPr>
      </p:pic>
      <p:pic>
        <p:nvPicPr>
          <p:cNvPr id="27" name="Gráfico 26" descr="Marca de insignia1 con relleno sólido">
            <a:extLst>
              <a:ext uri="{FF2B5EF4-FFF2-40B4-BE49-F238E27FC236}">
                <a16:creationId xmlns:a16="http://schemas.microsoft.com/office/drawing/2014/main" id="{AECDCFEA-2C2E-F6BE-7702-74357591EA2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66368" y="3111672"/>
            <a:ext cx="360000" cy="360000"/>
          </a:xfrm>
          <a:prstGeom prst="rect">
            <a:avLst/>
          </a:prstGeom>
        </p:spPr>
      </p:pic>
      <p:pic>
        <p:nvPicPr>
          <p:cNvPr id="32" name="Gráfico 31" descr="Marca de insignia1 con relleno sólido">
            <a:extLst>
              <a:ext uri="{FF2B5EF4-FFF2-40B4-BE49-F238E27FC236}">
                <a16:creationId xmlns:a16="http://schemas.microsoft.com/office/drawing/2014/main" id="{0425B42B-9521-64C9-D73B-674D82C5EC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33168" y="3117264"/>
            <a:ext cx="360000" cy="360000"/>
          </a:xfrm>
          <a:prstGeom prst="rect">
            <a:avLst/>
          </a:prstGeom>
        </p:spPr>
      </p:pic>
      <p:pic>
        <p:nvPicPr>
          <p:cNvPr id="33" name="Gráfico 32" descr="Marca de insignia1 con relleno sólido">
            <a:extLst>
              <a:ext uri="{FF2B5EF4-FFF2-40B4-BE49-F238E27FC236}">
                <a16:creationId xmlns:a16="http://schemas.microsoft.com/office/drawing/2014/main" id="{1B9A1380-7BCC-32D8-E868-C23D517040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33168" y="4959096"/>
            <a:ext cx="360000" cy="360000"/>
          </a:xfrm>
          <a:prstGeom prst="rect">
            <a:avLst/>
          </a:prstGeom>
        </p:spPr>
      </p:pic>
      <p:pic>
        <p:nvPicPr>
          <p:cNvPr id="34" name="Gráfico 33" descr="Marca de insignia1 con relleno sólido">
            <a:extLst>
              <a:ext uri="{FF2B5EF4-FFF2-40B4-BE49-F238E27FC236}">
                <a16:creationId xmlns:a16="http://schemas.microsoft.com/office/drawing/2014/main" id="{A1D6F058-D4EA-8C38-9745-7F4D717481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33168" y="5705520"/>
            <a:ext cx="360000" cy="360000"/>
          </a:xfrm>
          <a:prstGeom prst="rect">
            <a:avLst/>
          </a:prstGeom>
        </p:spPr>
      </p:pic>
      <p:pic>
        <p:nvPicPr>
          <p:cNvPr id="40" name="Gráfico 39" descr="Advertencia con relleno sólido">
            <a:extLst>
              <a:ext uri="{FF2B5EF4-FFF2-40B4-BE49-F238E27FC236}">
                <a16:creationId xmlns:a16="http://schemas.microsoft.com/office/drawing/2014/main" id="{A697B9AA-71FF-D900-24F8-B0DC38E399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62336" y="1598438"/>
            <a:ext cx="360000" cy="360000"/>
          </a:xfrm>
          <a:prstGeom prst="rect">
            <a:avLst/>
          </a:prstGeom>
        </p:spPr>
      </p:pic>
      <p:pic>
        <p:nvPicPr>
          <p:cNvPr id="41" name="Gráfico 40" descr="Advertencia con relleno sólido">
            <a:extLst>
              <a:ext uri="{FF2B5EF4-FFF2-40B4-BE49-F238E27FC236}">
                <a16:creationId xmlns:a16="http://schemas.microsoft.com/office/drawing/2014/main" id="{BEA36218-4F14-0F6B-5156-35926DC1D4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62336" y="1977984"/>
            <a:ext cx="360000" cy="360000"/>
          </a:xfrm>
          <a:prstGeom prst="rect">
            <a:avLst/>
          </a:prstGeom>
        </p:spPr>
      </p:pic>
      <p:pic>
        <p:nvPicPr>
          <p:cNvPr id="42" name="Gráfico 41" descr="Advertencia con relleno sólido">
            <a:extLst>
              <a:ext uri="{FF2B5EF4-FFF2-40B4-BE49-F238E27FC236}">
                <a16:creationId xmlns:a16="http://schemas.microsoft.com/office/drawing/2014/main" id="{5BF0AD8C-8246-1E63-E164-F73E08D3F6F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62336" y="2345135"/>
            <a:ext cx="360000" cy="360000"/>
          </a:xfrm>
          <a:prstGeom prst="rect">
            <a:avLst/>
          </a:prstGeom>
        </p:spPr>
      </p:pic>
      <p:pic>
        <p:nvPicPr>
          <p:cNvPr id="43" name="Gráfico 42" descr="Advertencia con relleno sólido">
            <a:extLst>
              <a:ext uri="{FF2B5EF4-FFF2-40B4-BE49-F238E27FC236}">
                <a16:creationId xmlns:a16="http://schemas.microsoft.com/office/drawing/2014/main" id="{D034DFEE-6610-814B-E855-DD664D664C8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33168" y="2729930"/>
            <a:ext cx="360000" cy="360000"/>
          </a:xfrm>
          <a:prstGeom prst="rect">
            <a:avLst/>
          </a:prstGeom>
        </p:spPr>
      </p:pic>
      <p:pic>
        <p:nvPicPr>
          <p:cNvPr id="45" name="Gráfico 44" descr="Advertencia con relleno sólido">
            <a:extLst>
              <a:ext uri="{FF2B5EF4-FFF2-40B4-BE49-F238E27FC236}">
                <a16:creationId xmlns:a16="http://schemas.microsoft.com/office/drawing/2014/main" id="{44361107-7CEA-E500-0E5F-4D1E2299F5D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37200" y="4573718"/>
            <a:ext cx="360000" cy="360000"/>
          </a:xfrm>
          <a:prstGeom prst="rect">
            <a:avLst/>
          </a:prstGeom>
        </p:spPr>
      </p:pic>
      <p:pic>
        <p:nvPicPr>
          <p:cNvPr id="46" name="Gráfico 45" descr="Advertencia con relleno sólido">
            <a:extLst>
              <a:ext uri="{FF2B5EF4-FFF2-40B4-BE49-F238E27FC236}">
                <a16:creationId xmlns:a16="http://schemas.microsoft.com/office/drawing/2014/main" id="{BC932ED7-4122-A57C-E1A8-9B0D2E59CF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33168" y="4191962"/>
            <a:ext cx="360000" cy="360000"/>
          </a:xfrm>
          <a:prstGeom prst="rect">
            <a:avLst/>
          </a:prstGeom>
        </p:spPr>
      </p:pic>
      <p:pic>
        <p:nvPicPr>
          <p:cNvPr id="47" name="Gráfico 46" descr="Advertencia con relleno sólido">
            <a:extLst>
              <a:ext uri="{FF2B5EF4-FFF2-40B4-BE49-F238E27FC236}">
                <a16:creationId xmlns:a16="http://schemas.microsoft.com/office/drawing/2014/main" id="{786AA72E-DA43-349E-2FE8-EC9B8A3AB77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33168" y="5335536"/>
            <a:ext cx="360000" cy="360000"/>
          </a:xfrm>
          <a:prstGeom prst="rect">
            <a:avLst/>
          </a:prstGeom>
        </p:spPr>
      </p:pic>
      <p:pic>
        <p:nvPicPr>
          <p:cNvPr id="49" name="Gráfico 48" descr="Marca de insignia1 con relleno sólido">
            <a:extLst>
              <a:ext uri="{FF2B5EF4-FFF2-40B4-BE49-F238E27FC236}">
                <a16:creationId xmlns:a16="http://schemas.microsoft.com/office/drawing/2014/main" id="{65821069-C0E7-05F9-A8F3-B8EB33CAFB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75416" y="4221565"/>
            <a:ext cx="360000" cy="360000"/>
          </a:xfrm>
          <a:prstGeom prst="rect">
            <a:avLst/>
          </a:prstGeom>
        </p:spPr>
      </p:pic>
      <p:pic>
        <p:nvPicPr>
          <p:cNvPr id="50" name="Gráfico 49" descr="Marca de insignia1 con relleno sólido">
            <a:extLst>
              <a:ext uri="{FF2B5EF4-FFF2-40B4-BE49-F238E27FC236}">
                <a16:creationId xmlns:a16="http://schemas.microsoft.com/office/drawing/2014/main" id="{3DCA76E6-3CD4-555C-90B6-0994B07682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67352" y="3105646"/>
            <a:ext cx="360000" cy="360000"/>
          </a:xfrm>
          <a:prstGeom prst="rect">
            <a:avLst/>
          </a:prstGeom>
        </p:spPr>
      </p:pic>
      <p:pic>
        <p:nvPicPr>
          <p:cNvPr id="51" name="Gráfico 50" descr="Marca de insignia1 con relleno sólido">
            <a:extLst>
              <a:ext uri="{FF2B5EF4-FFF2-40B4-BE49-F238E27FC236}">
                <a16:creationId xmlns:a16="http://schemas.microsoft.com/office/drawing/2014/main" id="{7794EBAD-32DD-E577-BC2C-477FD2BBA7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71384" y="1626178"/>
            <a:ext cx="360000" cy="360000"/>
          </a:xfrm>
          <a:prstGeom prst="rect">
            <a:avLst/>
          </a:prstGeom>
        </p:spPr>
      </p:pic>
      <p:pic>
        <p:nvPicPr>
          <p:cNvPr id="52" name="Gráfico 51" descr="Marca de insignia1 con relleno sólido">
            <a:extLst>
              <a:ext uri="{FF2B5EF4-FFF2-40B4-BE49-F238E27FC236}">
                <a16:creationId xmlns:a16="http://schemas.microsoft.com/office/drawing/2014/main" id="{1085577E-8EFA-659C-39DC-0F0D9BDD65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71384" y="2001068"/>
            <a:ext cx="360000" cy="360000"/>
          </a:xfrm>
          <a:prstGeom prst="rect">
            <a:avLst/>
          </a:prstGeom>
        </p:spPr>
      </p:pic>
      <p:pic>
        <p:nvPicPr>
          <p:cNvPr id="53" name="Gráfico 52" descr="Marca de insignia1 con relleno sólido">
            <a:extLst>
              <a:ext uri="{FF2B5EF4-FFF2-40B4-BE49-F238E27FC236}">
                <a16:creationId xmlns:a16="http://schemas.microsoft.com/office/drawing/2014/main" id="{6F4D345F-84F6-FD66-58DF-5B8901A48B5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71384" y="2361299"/>
            <a:ext cx="360000" cy="360000"/>
          </a:xfrm>
          <a:prstGeom prst="rect">
            <a:avLst/>
          </a:prstGeom>
        </p:spPr>
      </p:pic>
      <p:pic>
        <p:nvPicPr>
          <p:cNvPr id="54" name="Gráfico 53" descr="Marca de insignia1 con relleno sólido">
            <a:extLst>
              <a:ext uri="{FF2B5EF4-FFF2-40B4-BE49-F238E27FC236}">
                <a16:creationId xmlns:a16="http://schemas.microsoft.com/office/drawing/2014/main" id="{A42E8A6D-4385-6ABC-AC04-6EC39D4B545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67352" y="2735176"/>
            <a:ext cx="360000" cy="360000"/>
          </a:xfrm>
          <a:prstGeom prst="rect">
            <a:avLst/>
          </a:prstGeom>
        </p:spPr>
      </p:pic>
      <p:pic>
        <p:nvPicPr>
          <p:cNvPr id="55" name="Gráfico 54" descr="Marca de insignia1 con relleno sólido">
            <a:extLst>
              <a:ext uri="{FF2B5EF4-FFF2-40B4-BE49-F238E27FC236}">
                <a16:creationId xmlns:a16="http://schemas.microsoft.com/office/drawing/2014/main" id="{9CD06148-05EE-A6C9-C2FF-2E8B6414814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75416" y="3478984"/>
            <a:ext cx="360000" cy="360000"/>
          </a:xfrm>
          <a:prstGeom prst="rect">
            <a:avLst/>
          </a:prstGeom>
        </p:spPr>
      </p:pic>
      <p:pic>
        <p:nvPicPr>
          <p:cNvPr id="56" name="Gráfico 55" descr="Marca de insignia1 con relleno sólido">
            <a:extLst>
              <a:ext uri="{FF2B5EF4-FFF2-40B4-BE49-F238E27FC236}">
                <a16:creationId xmlns:a16="http://schemas.microsoft.com/office/drawing/2014/main" id="{7ECC2B0F-A140-18AE-13BA-797BE180130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75416" y="3852521"/>
            <a:ext cx="360000" cy="360000"/>
          </a:xfrm>
          <a:prstGeom prst="rect">
            <a:avLst/>
          </a:prstGeom>
        </p:spPr>
      </p:pic>
      <p:pic>
        <p:nvPicPr>
          <p:cNvPr id="57" name="Gráfico 56" descr="Marca de insignia1 con relleno sólido">
            <a:extLst>
              <a:ext uri="{FF2B5EF4-FFF2-40B4-BE49-F238E27FC236}">
                <a16:creationId xmlns:a16="http://schemas.microsoft.com/office/drawing/2014/main" id="{FA7A008E-70BC-E3C9-FFF0-55AA74C7E58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67352" y="4594726"/>
            <a:ext cx="360000" cy="360000"/>
          </a:xfrm>
          <a:prstGeom prst="rect">
            <a:avLst/>
          </a:prstGeom>
        </p:spPr>
      </p:pic>
      <p:pic>
        <p:nvPicPr>
          <p:cNvPr id="58" name="Gráfico 57" descr="Marca de insignia1 con relleno sólido">
            <a:extLst>
              <a:ext uri="{FF2B5EF4-FFF2-40B4-BE49-F238E27FC236}">
                <a16:creationId xmlns:a16="http://schemas.microsoft.com/office/drawing/2014/main" id="{025F3434-E87B-4485-16EE-93226D3DB8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67352" y="4968929"/>
            <a:ext cx="360000" cy="360000"/>
          </a:xfrm>
          <a:prstGeom prst="rect">
            <a:avLst/>
          </a:prstGeom>
        </p:spPr>
      </p:pic>
      <p:pic>
        <p:nvPicPr>
          <p:cNvPr id="59" name="Gráfico 58" descr="Marca de insignia1 con relleno sólido">
            <a:extLst>
              <a:ext uri="{FF2B5EF4-FFF2-40B4-BE49-F238E27FC236}">
                <a16:creationId xmlns:a16="http://schemas.microsoft.com/office/drawing/2014/main" id="{060BC13D-BAAC-83EF-3D9D-0673308C1E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67352" y="5342624"/>
            <a:ext cx="360000" cy="360000"/>
          </a:xfrm>
          <a:prstGeom prst="rect">
            <a:avLst/>
          </a:prstGeom>
        </p:spPr>
      </p:pic>
      <p:pic>
        <p:nvPicPr>
          <p:cNvPr id="60" name="Gráfico 59" descr="Marca de insignia1 con relleno sólido">
            <a:extLst>
              <a:ext uri="{FF2B5EF4-FFF2-40B4-BE49-F238E27FC236}">
                <a16:creationId xmlns:a16="http://schemas.microsoft.com/office/drawing/2014/main" id="{37172348-3125-BE5A-7BD9-8BCE667E4C7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67352" y="5695536"/>
            <a:ext cx="360000" cy="360000"/>
          </a:xfrm>
          <a:prstGeom prst="rect">
            <a:avLst/>
          </a:prstGeom>
        </p:spPr>
      </p:pic>
      <p:pic>
        <p:nvPicPr>
          <p:cNvPr id="61" name="Gráfico 60" descr="Marca de insignia1 con relleno sólido">
            <a:extLst>
              <a:ext uri="{FF2B5EF4-FFF2-40B4-BE49-F238E27FC236}">
                <a16:creationId xmlns:a16="http://schemas.microsoft.com/office/drawing/2014/main" id="{A89D5123-7645-95D1-A93B-1F4C1CA7BEC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62336" y="3838984"/>
            <a:ext cx="360000" cy="360000"/>
          </a:xfrm>
          <a:prstGeom prst="rect">
            <a:avLst/>
          </a:prstGeom>
        </p:spPr>
      </p:pic>
      <p:pic>
        <p:nvPicPr>
          <p:cNvPr id="62" name="Gráfico 61" descr="Marca de insignia1 con relleno sólido">
            <a:extLst>
              <a:ext uri="{FF2B5EF4-FFF2-40B4-BE49-F238E27FC236}">
                <a16:creationId xmlns:a16="http://schemas.microsoft.com/office/drawing/2014/main" id="{60C82CD6-B01C-B93E-4015-EA25AF0A8F3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41232" y="3835682"/>
            <a:ext cx="360000" cy="360000"/>
          </a:xfrm>
          <a:prstGeom prst="rect">
            <a:avLst/>
          </a:prstGeom>
        </p:spPr>
      </p:pic>
      <p:pic>
        <p:nvPicPr>
          <p:cNvPr id="63" name="Gráfico 62" descr="Marca de insignia1 con relleno sólido">
            <a:extLst>
              <a:ext uri="{FF2B5EF4-FFF2-40B4-BE49-F238E27FC236}">
                <a16:creationId xmlns:a16="http://schemas.microsoft.com/office/drawing/2014/main" id="{6311F1D5-6B5A-993E-AF32-B12423FF0AC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41232" y="1617102"/>
            <a:ext cx="360000" cy="360000"/>
          </a:xfrm>
          <a:prstGeom prst="rect">
            <a:avLst/>
          </a:prstGeom>
        </p:spPr>
      </p:pic>
      <p:pic>
        <p:nvPicPr>
          <p:cNvPr id="64" name="Gráfico 63" descr="Marca de insignia1 con relleno sólido">
            <a:extLst>
              <a:ext uri="{FF2B5EF4-FFF2-40B4-BE49-F238E27FC236}">
                <a16:creationId xmlns:a16="http://schemas.microsoft.com/office/drawing/2014/main" id="{FA5461F3-5098-E22E-D689-5B24462747F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41232" y="1991992"/>
            <a:ext cx="360000" cy="360000"/>
          </a:xfrm>
          <a:prstGeom prst="rect">
            <a:avLst/>
          </a:prstGeom>
        </p:spPr>
      </p:pic>
      <p:pic>
        <p:nvPicPr>
          <p:cNvPr id="66" name="Gráfico 65" descr="Marca de insignia1 con relleno sólido">
            <a:extLst>
              <a:ext uri="{FF2B5EF4-FFF2-40B4-BE49-F238E27FC236}">
                <a16:creationId xmlns:a16="http://schemas.microsoft.com/office/drawing/2014/main" id="{193F9D0C-690A-4871-4205-B301CF6090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62336" y="2725009"/>
            <a:ext cx="360000" cy="360000"/>
          </a:xfrm>
          <a:prstGeom prst="rect">
            <a:avLst/>
          </a:prstGeom>
        </p:spPr>
      </p:pic>
      <p:pic>
        <p:nvPicPr>
          <p:cNvPr id="67" name="Gráfico 66" descr="Marca de insignia1 con relleno sólido">
            <a:extLst>
              <a:ext uri="{FF2B5EF4-FFF2-40B4-BE49-F238E27FC236}">
                <a16:creationId xmlns:a16="http://schemas.microsoft.com/office/drawing/2014/main" id="{4E6BB939-8E93-D256-8CF5-89D2428156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43200" y="2381919"/>
            <a:ext cx="360000" cy="360000"/>
          </a:xfrm>
          <a:prstGeom prst="rect">
            <a:avLst/>
          </a:prstGeom>
        </p:spPr>
      </p:pic>
      <p:sp>
        <p:nvSpPr>
          <p:cNvPr id="69" name="CuadroTexto 68">
            <a:extLst>
              <a:ext uri="{FF2B5EF4-FFF2-40B4-BE49-F238E27FC236}">
                <a16:creationId xmlns:a16="http://schemas.microsoft.com/office/drawing/2014/main" id="{44798FFA-32A8-9E68-CB4C-715A7D5CC3DB}"/>
              </a:ext>
            </a:extLst>
          </p:cNvPr>
          <p:cNvSpPr txBox="1"/>
          <p:nvPr/>
        </p:nvSpPr>
        <p:spPr>
          <a:xfrm>
            <a:off x="7013448" y="6155695"/>
            <a:ext cx="1618488" cy="261610"/>
          </a:xfrm>
          <a:prstGeom prst="rect">
            <a:avLst/>
          </a:prstGeom>
          <a:noFill/>
        </p:spPr>
        <p:txBody>
          <a:bodyPr wrap="square" rtlCol="0">
            <a:spAutoFit/>
          </a:bodyPr>
          <a:lstStyle/>
          <a:p>
            <a:r>
              <a:rPr lang="es-MX" sz="1100">
                <a:solidFill>
                  <a:schemeClr val="accent5"/>
                </a:solidFill>
              </a:rPr>
              <a:t>Fuera de Alcance</a:t>
            </a:r>
            <a:endParaRPr lang="es-PE" sz="1100">
              <a:solidFill>
                <a:schemeClr val="accent5"/>
              </a:solidFill>
            </a:endParaRPr>
          </a:p>
        </p:txBody>
      </p:sp>
      <p:sp>
        <p:nvSpPr>
          <p:cNvPr id="71" name="CuadroTexto 70">
            <a:extLst>
              <a:ext uri="{FF2B5EF4-FFF2-40B4-BE49-F238E27FC236}">
                <a16:creationId xmlns:a16="http://schemas.microsoft.com/office/drawing/2014/main" id="{4B330686-22F8-88C7-1CE0-E38A0211A69B}"/>
              </a:ext>
            </a:extLst>
          </p:cNvPr>
          <p:cNvSpPr txBox="1"/>
          <p:nvPr/>
        </p:nvSpPr>
        <p:spPr>
          <a:xfrm>
            <a:off x="8404732" y="6147085"/>
            <a:ext cx="2018602" cy="261610"/>
          </a:xfrm>
          <a:prstGeom prst="rect">
            <a:avLst/>
          </a:prstGeom>
          <a:noFill/>
        </p:spPr>
        <p:txBody>
          <a:bodyPr wrap="square" rtlCol="0">
            <a:spAutoFit/>
          </a:bodyPr>
          <a:lstStyle/>
          <a:p>
            <a:r>
              <a:rPr lang="es-MX" sz="1100">
                <a:solidFill>
                  <a:schemeClr val="accent5"/>
                </a:solidFill>
              </a:rPr>
              <a:t>Acompañamiento Externo</a:t>
            </a:r>
            <a:endParaRPr lang="es-PE" sz="1100">
              <a:solidFill>
                <a:schemeClr val="accent5"/>
              </a:solidFill>
            </a:endParaRPr>
          </a:p>
        </p:txBody>
      </p:sp>
      <p:sp>
        <p:nvSpPr>
          <p:cNvPr id="73" name="CuadroTexto 72">
            <a:extLst>
              <a:ext uri="{FF2B5EF4-FFF2-40B4-BE49-F238E27FC236}">
                <a16:creationId xmlns:a16="http://schemas.microsoft.com/office/drawing/2014/main" id="{BA853997-944A-A03B-182A-586CC62618F3}"/>
              </a:ext>
            </a:extLst>
          </p:cNvPr>
          <p:cNvSpPr txBox="1"/>
          <p:nvPr/>
        </p:nvSpPr>
        <p:spPr>
          <a:xfrm>
            <a:off x="10309034" y="6155695"/>
            <a:ext cx="1722818" cy="261610"/>
          </a:xfrm>
          <a:prstGeom prst="rect">
            <a:avLst/>
          </a:prstGeom>
          <a:noFill/>
        </p:spPr>
        <p:txBody>
          <a:bodyPr wrap="square" rtlCol="0">
            <a:spAutoFit/>
          </a:bodyPr>
          <a:lstStyle/>
          <a:p>
            <a:r>
              <a:rPr lang="es-MX" sz="1100">
                <a:solidFill>
                  <a:schemeClr val="accent5"/>
                </a:solidFill>
              </a:rPr>
              <a:t>Ejecución de Pruebas SCB</a:t>
            </a:r>
            <a:endParaRPr lang="es-PE" sz="1100">
              <a:solidFill>
                <a:schemeClr val="accent5"/>
              </a:solidFill>
            </a:endParaRPr>
          </a:p>
        </p:txBody>
      </p:sp>
      <p:pic>
        <p:nvPicPr>
          <p:cNvPr id="74" name="Gráfico 73" descr="Advertencia con relleno sólido">
            <a:extLst>
              <a:ext uri="{FF2B5EF4-FFF2-40B4-BE49-F238E27FC236}">
                <a16:creationId xmlns:a16="http://schemas.microsoft.com/office/drawing/2014/main" id="{16033A72-C1D9-6CAF-D640-1F9F57175E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05978" y="6114153"/>
            <a:ext cx="252000" cy="252000"/>
          </a:xfrm>
          <a:prstGeom prst="rect">
            <a:avLst/>
          </a:prstGeom>
        </p:spPr>
      </p:pic>
      <p:pic>
        <p:nvPicPr>
          <p:cNvPr id="75" name="Gráfico 74" descr="Marca de insignia1 con relleno sólido">
            <a:extLst>
              <a:ext uri="{FF2B5EF4-FFF2-40B4-BE49-F238E27FC236}">
                <a16:creationId xmlns:a16="http://schemas.microsoft.com/office/drawing/2014/main" id="{E257AD38-2A89-02DF-4508-B1E88C9758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97056" y="6160500"/>
            <a:ext cx="252000" cy="252000"/>
          </a:xfrm>
          <a:prstGeom prst="rect">
            <a:avLst/>
          </a:prstGeom>
        </p:spPr>
      </p:pic>
      <p:pic>
        <p:nvPicPr>
          <p:cNvPr id="76" name="Gráfico 75" descr="Marca de insignia1 con relleno sólido">
            <a:extLst>
              <a:ext uri="{FF2B5EF4-FFF2-40B4-BE49-F238E27FC236}">
                <a16:creationId xmlns:a16="http://schemas.microsoft.com/office/drawing/2014/main" id="{4F008ED4-CBBB-A8E1-4EDD-35D6FF3794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14454" y="6147975"/>
            <a:ext cx="252000" cy="252000"/>
          </a:xfrm>
          <a:prstGeom prst="rect">
            <a:avLst/>
          </a:prstGeom>
        </p:spPr>
      </p:pic>
      <p:pic>
        <p:nvPicPr>
          <p:cNvPr id="97" name="Gráfico 96" descr="Marca de insignia1 con relleno sólido">
            <a:extLst>
              <a:ext uri="{FF2B5EF4-FFF2-40B4-BE49-F238E27FC236}">
                <a16:creationId xmlns:a16="http://schemas.microsoft.com/office/drawing/2014/main" id="{9F2E12FD-8065-6D65-92F7-2325573F46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41232" y="3467758"/>
            <a:ext cx="360000" cy="360000"/>
          </a:xfrm>
          <a:prstGeom prst="rect">
            <a:avLst/>
          </a:prstGeom>
        </p:spPr>
      </p:pic>
    </p:spTree>
    <p:extLst>
      <p:ext uri="{BB962C8B-B14F-4D97-AF65-F5344CB8AC3E}">
        <p14:creationId xmlns:p14="http://schemas.microsoft.com/office/powerpoint/2010/main" val="36656949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2AF954-2C08-6012-3A83-3924E792E2C5}"/>
            </a:ext>
          </a:extLst>
        </p:cNvPr>
        <p:cNvGrpSpPr/>
        <p:nvPr/>
      </p:nvGrpSpPr>
      <p:grpSpPr>
        <a:xfrm>
          <a:off x="0" y="0"/>
          <a:ext cx="0" cy="0"/>
          <a:chOff x="0" y="0"/>
          <a:chExt cx="0" cy="0"/>
        </a:xfrm>
      </p:grpSpPr>
      <p:grpSp>
        <p:nvGrpSpPr>
          <p:cNvPr id="25" name="Grupo 24">
            <a:extLst>
              <a:ext uri="{FF2B5EF4-FFF2-40B4-BE49-F238E27FC236}">
                <a16:creationId xmlns:a16="http://schemas.microsoft.com/office/drawing/2014/main" id="{38E5155E-F6D3-BA69-6207-0E4876003477}"/>
              </a:ext>
            </a:extLst>
          </p:cNvPr>
          <p:cNvGrpSpPr/>
          <p:nvPr/>
        </p:nvGrpSpPr>
        <p:grpSpPr>
          <a:xfrm>
            <a:off x="2206873" y="1400008"/>
            <a:ext cx="9889372" cy="3749227"/>
            <a:chOff x="550862" y="1352502"/>
            <a:chExt cx="11497882" cy="4359040"/>
          </a:xfrm>
        </p:grpSpPr>
        <p:cxnSp>
          <p:nvCxnSpPr>
            <p:cNvPr id="23" name="Conector recto 22">
              <a:extLst>
                <a:ext uri="{FF2B5EF4-FFF2-40B4-BE49-F238E27FC236}">
                  <a16:creationId xmlns:a16="http://schemas.microsoft.com/office/drawing/2014/main" id="{B783CA86-0653-A128-EBE3-2440F256AE78}"/>
                </a:ext>
              </a:extLst>
            </p:cNvPr>
            <p:cNvCxnSpPr/>
            <p:nvPr/>
          </p:nvCxnSpPr>
          <p:spPr>
            <a:xfrm flipV="1">
              <a:off x="910862" y="5565648"/>
              <a:ext cx="10800000" cy="0"/>
            </a:xfrm>
            <a:prstGeom prst="line">
              <a:avLst/>
            </a:prstGeom>
            <a:ln w="19050"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 name="Conector recto 21">
              <a:extLst>
                <a:ext uri="{FF2B5EF4-FFF2-40B4-BE49-F238E27FC236}">
                  <a16:creationId xmlns:a16="http://schemas.microsoft.com/office/drawing/2014/main" id="{A964FCCF-5807-902A-1E34-53F7ED4415C2}"/>
                </a:ext>
              </a:extLst>
            </p:cNvPr>
            <p:cNvCxnSpPr/>
            <p:nvPr/>
          </p:nvCxnSpPr>
          <p:spPr>
            <a:xfrm flipV="1">
              <a:off x="910863" y="4760976"/>
              <a:ext cx="10800000" cy="0"/>
            </a:xfrm>
            <a:prstGeom prst="line">
              <a:avLst/>
            </a:prstGeom>
            <a:ln w="19050"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 name="Conector recto 20">
              <a:extLst>
                <a:ext uri="{FF2B5EF4-FFF2-40B4-BE49-F238E27FC236}">
                  <a16:creationId xmlns:a16="http://schemas.microsoft.com/office/drawing/2014/main" id="{670A620F-8DF7-D68A-B435-48BA218F40BF}"/>
                </a:ext>
              </a:extLst>
            </p:cNvPr>
            <p:cNvCxnSpPr/>
            <p:nvPr/>
          </p:nvCxnSpPr>
          <p:spPr>
            <a:xfrm flipV="1">
              <a:off x="910863" y="3938016"/>
              <a:ext cx="10800000" cy="0"/>
            </a:xfrm>
            <a:prstGeom prst="line">
              <a:avLst/>
            </a:prstGeom>
            <a:ln w="19050"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0" name="Conector recto 19">
              <a:extLst>
                <a:ext uri="{FF2B5EF4-FFF2-40B4-BE49-F238E27FC236}">
                  <a16:creationId xmlns:a16="http://schemas.microsoft.com/office/drawing/2014/main" id="{83E0CC71-39FA-A466-791B-E0AEF74DAA5E}"/>
                </a:ext>
              </a:extLst>
            </p:cNvPr>
            <p:cNvCxnSpPr/>
            <p:nvPr/>
          </p:nvCxnSpPr>
          <p:spPr>
            <a:xfrm flipV="1">
              <a:off x="910863" y="3142488"/>
              <a:ext cx="10800000" cy="0"/>
            </a:xfrm>
            <a:prstGeom prst="line">
              <a:avLst/>
            </a:prstGeom>
            <a:ln w="19050"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 name="Conector recto 18">
              <a:extLst>
                <a:ext uri="{FF2B5EF4-FFF2-40B4-BE49-F238E27FC236}">
                  <a16:creationId xmlns:a16="http://schemas.microsoft.com/office/drawing/2014/main" id="{2E953E32-3498-142A-B012-45FA073E9382}"/>
                </a:ext>
              </a:extLst>
            </p:cNvPr>
            <p:cNvCxnSpPr/>
            <p:nvPr/>
          </p:nvCxnSpPr>
          <p:spPr>
            <a:xfrm flipV="1">
              <a:off x="910863" y="2365248"/>
              <a:ext cx="10800000" cy="0"/>
            </a:xfrm>
            <a:prstGeom prst="line">
              <a:avLst/>
            </a:prstGeom>
            <a:ln w="19050"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 name="Conector recto 17">
              <a:extLst>
                <a:ext uri="{FF2B5EF4-FFF2-40B4-BE49-F238E27FC236}">
                  <a16:creationId xmlns:a16="http://schemas.microsoft.com/office/drawing/2014/main" id="{9CD3C606-7177-5927-DFCC-2DA82D069157}"/>
                </a:ext>
              </a:extLst>
            </p:cNvPr>
            <p:cNvCxnSpPr>
              <a:stCxn id="5" idx="1"/>
            </p:cNvCxnSpPr>
            <p:nvPr/>
          </p:nvCxnSpPr>
          <p:spPr>
            <a:xfrm flipV="1">
              <a:off x="910863" y="1572768"/>
              <a:ext cx="10800000" cy="0"/>
            </a:xfrm>
            <a:prstGeom prst="line">
              <a:avLst/>
            </a:prstGeom>
            <a:ln w="19050"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 name="Rectángulo: esquinas redondeadas 3">
              <a:extLst>
                <a:ext uri="{FF2B5EF4-FFF2-40B4-BE49-F238E27FC236}">
                  <a16:creationId xmlns:a16="http://schemas.microsoft.com/office/drawing/2014/main" id="{35E4017E-606A-1DD5-C4E0-B69EB62EB381}"/>
                </a:ext>
              </a:extLst>
            </p:cNvPr>
            <p:cNvSpPr/>
            <p:nvPr/>
          </p:nvSpPr>
          <p:spPr>
            <a:xfrm>
              <a:off x="1042416" y="1352502"/>
              <a:ext cx="1691640" cy="360000"/>
            </a:xfrm>
            <a:prstGeom prst="roundRect">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a:t>PLANIFICACIÓN</a:t>
              </a:r>
              <a:endParaRPr lang="es-PE" sz="1400"/>
            </a:p>
          </p:txBody>
        </p:sp>
        <p:sp>
          <p:nvSpPr>
            <p:cNvPr id="5" name="Heptágono 4">
              <a:extLst>
                <a:ext uri="{FF2B5EF4-FFF2-40B4-BE49-F238E27FC236}">
                  <a16:creationId xmlns:a16="http://schemas.microsoft.com/office/drawing/2014/main" id="{F005D208-2566-3704-C5D8-33D68FB4DF59}"/>
                </a:ext>
              </a:extLst>
            </p:cNvPr>
            <p:cNvSpPr/>
            <p:nvPr/>
          </p:nvSpPr>
          <p:spPr>
            <a:xfrm>
              <a:off x="550862" y="1352502"/>
              <a:ext cx="360000" cy="360000"/>
            </a:xfrm>
            <a:prstGeom prst="heptag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1</a:t>
              </a:r>
              <a:endParaRPr lang="es-PE"/>
            </a:p>
          </p:txBody>
        </p:sp>
        <p:sp>
          <p:nvSpPr>
            <p:cNvPr id="7" name="Heptágono 6">
              <a:extLst>
                <a:ext uri="{FF2B5EF4-FFF2-40B4-BE49-F238E27FC236}">
                  <a16:creationId xmlns:a16="http://schemas.microsoft.com/office/drawing/2014/main" id="{49304D10-F9EE-32D4-ED47-DB081BC5BEED}"/>
                </a:ext>
              </a:extLst>
            </p:cNvPr>
            <p:cNvSpPr/>
            <p:nvPr/>
          </p:nvSpPr>
          <p:spPr>
            <a:xfrm>
              <a:off x="550862" y="2152310"/>
              <a:ext cx="360000" cy="360000"/>
            </a:xfrm>
            <a:prstGeom prst="heptag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2</a:t>
              </a:r>
              <a:endParaRPr lang="es-PE"/>
            </a:p>
          </p:txBody>
        </p:sp>
        <p:sp>
          <p:nvSpPr>
            <p:cNvPr id="8" name="Heptágono 7">
              <a:extLst>
                <a:ext uri="{FF2B5EF4-FFF2-40B4-BE49-F238E27FC236}">
                  <a16:creationId xmlns:a16="http://schemas.microsoft.com/office/drawing/2014/main" id="{586B92AB-0CD5-4F74-7554-B2CEDAA21C54}"/>
                </a:ext>
              </a:extLst>
            </p:cNvPr>
            <p:cNvSpPr/>
            <p:nvPr/>
          </p:nvSpPr>
          <p:spPr>
            <a:xfrm>
              <a:off x="550862" y="2952118"/>
              <a:ext cx="360000" cy="360000"/>
            </a:xfrm>
            <a:prstGeom prst="heptag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3</a:t>
              </a:r>
              <a:endParaRPr lang="es-PE"/>
            </a:p>
          </p:txBody>
        </p:sp>
        <p:sp>
          <p:nvSpPr>
            <p:cNvPr id="9" name="Heptágono 8">
              <a:extLst>
                <a:ext uri="{FF2B5EF4-FFF2-40B4-BE49-F238E27FC236}">
                  <a16:creationId xmlns:a16="http://schemas.microsoft.com/office/drawing/2014/main" id="{14775CE2-E31F-0C2B-805A-49B582B8AFB8}"/>
                </a:ext>
              </a:extLst>
            </p:cNvPr>
            <p:cNvSpPr/>
            <p:nvPr/>
          </p:nvSpPr>
          <p:spPr>
            <a:xfrm>
              <a:off x="550862" y="3751926"/>
              <a:ext cx="360000" cy="360000"/>
            </a:xfrm>
            <a:prstGeom prst="heptag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4</a:t>
              </a:r>
              <a:endParaRPr lang="es-PE"/>
            </a:p>
          </p:txBody>
        </p:sp>
        <p:sp>
          <p:nvSpPr>
            <p:cNvPr id="10" name="Heptágono 9">
              <a:extLst>
                <a:ext uri="{FF2B5EF4-FFF2-40B4-BE49-F238E27FC236}">
                  <a16:creationId xmlns:a16="http://schemas.microsoft.com/office/drawing/2014/main" id="{82F790D6-7F96-A8FB-D810-C71C77EC3D58}"/>
                </a:ext>
              </a:extLst>
            </p:cNvPr>
            <p:cNvSpPr/>
            <p:nvPr/>
          </p:nvSpPr>
          <p:spPr>
            <a:xfrm>
              <a:off x="550862" y="4551734"/>
              <a:ext cx="360000" cy="360000"/>
            </a:xfrm>
            <a:prstGeom prst="heptag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5</a:t>
              </a:r>
              <a:endParaRPr lang="es-PE"/>
            </a:p>
          </p:txBody>
        </p:sp>
        <p:sp>
          <p:nvSpPr>
            <p:cNvPr id="11" name="Heptágono 10">
              <a:extLst>
                <a:ext uri="{FF2B5EF4-FFF2-40B4-BE49-F238E27FC236}">
                  <a16:creationId xmlns:a16="http://schemas.microsoft.com/office/drawing/2014/main" id="{80D048C7-890E-38E9-BBE9-4C6A2A8E7553}"/>
                </a:ext>
              </a:extLst>
            </p:cNvPr>
            <p:cNvSpPr/>
            <p:nvPr/>
          </p:nvSpPr>
          <p:spPr>
            <a:xfrm>
              <a:off x="550862" y="5351542"/>
              <a:ext cx="360000" cy="360000"/>
            </a:xfrm>
            <a:prstGeom prst="heptag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6</a:t>
              </a:r>
              <a:endParaRPr lang="es-PE"/>
            </a:p>
          </p:txBody>
        </p:sp>
        <p:sp>
          <p:nvSpPr>
            <p:cNvPr id="12" name="Rectángulo: esquinas redondeadas 11">
              <a:extLst>
                <a:ext uri="{FF2B5EF4-FFF2-40B4-BE49-F238E27FC236}">
                  <a16:creationId xmlns:a16="http://schemas.microsoft.com/office/drawing/2014/main" id="{C3AB8743-057D-9E8C-5030-A4366FF3EFCD}"/>
                </a:ext>
              </a:extLst>
            </p:cNvPr>
            <p:cNvSpPr/>
            <p:nvPr/>
          </p:nvSpPr>
          <p:spPr>
            <a:xfrm>
              <a:off x="2710860" y="2152310"/>
              <a:ext cx="1063752" cy="360000"/>
            </a:xfrm>
            <a:prstGeom prst="roundRect">
              <a:avLst/>
            </a:prstGeom>
            <a:solidFill>
              <a:srgbClr val="00206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a:solidFill>
                    <a:schemeClr val="bg1"/>
                  </a:solidFill>
                </a:rPr>
                <a:t>ANÁLISIS</a:t>
              </a:r>
              <a:endParaRPr lang="es-PE" sz="1400">
                <a:solidFill>
                  <a:schemeClr val="bg1"/>
                </a:solidFill>
              </a:endParaRPr>
            </a:p>
          </p:txBody>
        </p:sp>
        <p:sp>
          <p:nvSpPr>
            <p:cNvPr id="13" name="Rectángulo: esquinas redondeadas 12">
              <a:extLst>
                <a:ext uri="{FF2B5EF4-FFF2-40B4-BE49-F238E27FC236}">
                  <a16:creationId xmlns:a16="http://schemas.microsoft.com/office/drawing/2014/main" id="{CDEBDB5D-CBD1-886A-7E66-51A9CDB7BD7B}"/>
                </a:ext>
              </a:extLst>
            </p:cNvPr>
            <p:cNvSpPr/>
            <p:nvPr/>
          </p:nvSpPr>
          <p:spPr>
            <a:xfrm>
              <a:off x="3700272" y="2952118"/>
              <a:ext cx="963168" cy="360000"/>
            </a:xfrm>
            <a:prstGeom prst="roundRect">
              <a:avLst/>
            </a:prstGeom>
            <a:solidFill>
              <a:srgbClr val="00206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a:t>DISEÑO</a:t>
              </a:r>
              <a:endParaRPr lang="es-PE" sz="1400"/>
            </a:p>
          </p:txBody>
        </p:sp>
        <p:sp>
          <p:nvSpPr>
            <p:cNvPr id="14" name="Rectángulo: esquinas redondeadas 13">
              <a:extLst>
                <a:ext uri="{FF2B5EF4-FFF2-40B4-BE49-F238E27FC236}">
                  <a16:creationId xmlns:a16="http://schemas.microsoft.com/office/drawing/2014/main" id="{5EB1CA75-B924-B661-9711-762EE5510064}"/>
                </a:ext>
              </a:extLst>
            </p:cNvPr>
            <p:cNvSpPr/>
            <p:nvPr/>
          </p:nvSpPr>
          <p:spPr>
            <a:xfrm>
              <a:off x="4355592" y="3751926"/>
              <a:ext cx="1542288" cy="360000"/>
            </a:xfrm>
            <a:prstGeom prst="roundRect">
              <a:avLst/>
            </a:prstGeom>
            <a:solidFill>
              <a:srgbClr val="00206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a:t>PREPARACIÓN</a:t>
              </a:r>
              <a:endParaRPr lang="es-PE" sz="1400"/>
            </a:p>
          </p:txBody>
        </p:sp>
        <p:sp>
          <p:nvSpPr>
            <p:cNvPr id="15" name="Rectángulo: esquinas redondeadas 14">
              <a:extLst>
                <a:ext uri="{FF2B5EF4-FFF2-40B4-BE49-F238E27FC236}">
                  <a16:creationId xmlns:a16="http://schemas.microsoft.com/office/drawing/2014/main" id="{E3EAACDD-E693-1BAB-3ECC-37B19B78C283}"/>
                </a:ext>
              </a:extLst>
            </p:cNvPr>
            <p:cNvSpPr/>
            <p:nvPr/>
          </p:nvSpPr>
          <p:spPr>
            <a:xfrm>
              <a:off x="5675456" y="4617721"/>
              <a:ext cx="5644815" cy="315248"/>
            </a:xfrm>
            <a:prstGeom prst="roundRect">
              <a:avLst/>
            </a:prstGeom>
            <a:solidFill>
              <a:srgbClr val="00B05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a:t>PRUEBAS QA</a:t>
              </a:r>
              <a:endParaRPr lang="es-PE" sz="1400"/>
            </a:p>
          </p:txBody>
        </p:sp>
        <p:sp>
          <p:nvSpPr>
            <p:cNvPr id="16" name="Rectángulo: esquinas redondeadas 15">
              <a:extLst>
                <a:ext uri="{FF2B5EF4-FFF2-40B4-BE49-F238E27FC236}">
                  <a16:creationId xmlns:a16="http://schemas.microsoft.com/office/drawing/2014/main" id="{25B83D4E-9B73-5B7D-CEB9-6C1F3F7885AA}"/>
                </a:ext>
              </a:extLst>
            </p:cNvPr>
            <p:cNvSpPr/>
            <p:nvPr/>
          </p:nvSpPr>
          <p:spPr>
            <a:xfrm>
              <a:off x="11119104" y="5351542"/>
              <a:ext cx="929640" cy="360000"/>
            </a:xfrm>
            <a:prstGeom prst="roundRect">
              <a:avLst/>
            </a:prstGeom>
            <a:solidFill>
              <a:srgbClr val="00B05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400"/>
                <a:t>CIERRE</a:t>
              </a:r>
              <a:endParaRPr lang="es-PE" sz="1400"/>
            </a:p>
          </p:txBody>
        </p:sp>
      </p:grpSp>
      <p:sp>
        <p:nvSpPr>
          <p:cNvPr id="6" name="Rectángulo: esquinas redondeadas 5">
            <a:extLst>
              <a:ext uri="{FF2B5EF4-FFF2-40B4-BE49-F238E27FC236}">
                <a16:creationId xmlns:a16="http://schemas.microsoft.com/office/drawing/2014/main" id="{B418FE75-416E-48E3-89B4-CBBF902365DA}"/>
              </a:ext>
            </a:extLst>
          </p:cNvPr>
          <p:cNvSpPr/>
          <p:nvPr/>
        </p:nvSpPr>
        <p:spPr>
          <a:xfrm>
            <a:off x="171680" y="2374177"/>
            <a:ext cx="1691640" cy="360000"/>
          </a:xfrm>
          <a:prstGeom prst="roundRect">
            <a:avLst/>
          </a:prstGeom>
          <a:solidFill>
            <a:srgbClr val="203864"/>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b="1" i="1"/>
              <a:t>SHIFT LEFT</a:t>
            </a:r>
            <a:endParaRPr lang="es-PE" b="1" i="1"/>
          </a:p>
        </p:txBody>
      </p:sp>
      <p:sp>
        <p:nvSpPr>
          <p:cNvPr id="17" name="Abrir llave 16">
            <a:extLst>
              <a:ext uri="{FF2B5EF4-FFF2-40B4-BE49-F238E27FC236}">
                <a16:creationId xmlns:a16="http://schemas.microsoft.com/office/drawing/2014/main" id="{536C504D-C74E-3019-A6ED-AC8E96CF97BE}"/>
              </a:ext>
            </a:extLst>
          </p:cNvPr>
          <p:cNvSpPr/>
          <p:nvPr/>
        </p:nvSpPr>
        <p:spPr>
          <a:xfrm>
            <a:off x="1937403" y="4058399"/>
            <a:ext cx="288493" cy="1183800"/>
          </a:xfrm>
          <a:prstGeom prst="leftBrace">
            <a:avLst/>
          </a:prstGeom>
        </p:spPr>
        <p:style>
          <a:lnRef idx="3">
            <a:schemeClr val="accent5"/>
          </a:lnRef>
          <a:fillRef idx="0">
            <a:schemeClr val="accent5"/>
          </a:fillRef>
          <a:effectRef idx="2">
            <a:schemeClr val="accent5"/>
          </a:effectRef>
          <a:fontRef idx="minor">
            <a:schemeClr val="tx1"/>
          </a:fontRef>
        </p:style>
        <p:txBody>
          <a:bodyPr rtlCol="0" anchor="ctr"/>
          <a:lstStyle/>
          <a:p>
            <a:pPr algn="ctr"/>
            <a:endParaRPr lang="es-PE"/>
          </a:p>
        </p:txBody>
      </p:sp>
      <p:sp>
        <p:nvSpPr>
          <p:cNvPr id="24" name="Rectángulo: esquinas redondeadas 23">
            <a:extLst>
              <a:ext uri="{FF2B5EF4-FFF2-40B4-BE49-F238E27FC236}">
                <a16:creationId xmlns:a16="http://schemas.microsoft.com/office/drawing/2014/main" id="{782594BF-BFB4-0BAB-AC88-C1599B141FD3}"/>
              </a:ext>
            </a:extLst>
          </p:cNvPr>
          <p:cNvSpPr/>
          <p:nvPr/>
        </p:nvSpPr>
        <p:spPr>
          <a:xfrm>
            <a:off x="171680" y="4479598"/>
            <a:ext cx="1691640" cy="360000"/>
          </a:xfrm>
          <a:prstGeom prst="roundRect">
            <a:avLst/>
          </a:prstGeom>
          <a:solidFill>
            <a:srgbClr val="00B05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b="1" i="1"/>
              <a:t>SHIFT RIGHT</a:t>
            </a:r>
            <a:endParaRPr lang="es-PE" b="1" i="1"/>
          </a:p>
        </p:txBody>
      </p:sp>
      <p:sp>
        <p:nvSpPr>
          <p:cNvPr id="26" name="Abrir llave 25">
            <a:extLst>
              <a:ext uri="{FF2B5EF4-FFF2-40B4-BE49-F238E27FC236}">
                <a16:creationId xmlns:a16="http://schemas.microsoft.com/office/drawing/2014/main" id="{58B9C3F2-3950-BA5E-B926-F9E4EBFCEBA7}"/>
              </a:ext>
            </a:extLst>
          </p:cNvPr>
          <p:cNvSpPr/>
          <p:nvPr/>
        </p:nvSpPr>
        <p:spPr>
          <a:xfrm>
            <a:off x="1937402" y="1307045"/>
            <a:ext cx="288493" cy="2494265"/>
          </a:xfrm>
          <a:prstGeom prst="leftBrace">
            <a:avLst/>
          </a:prstGeom>
        </p:spPr>
        <p:style>
          <a:lnRef idx="3">
            <a:schemeClr val="accent5"/>
          </a:lnRef>
          <a:fillRef idx="0">
            <a:schemeClr val="accent5"/>
          </a:fillRef>
          <a:effectRef idx="2">
            <a:schemeClr val="accent5"/>
          </a:effectRef>
          <a:fontRef idx="minor">
            <a:schemeClr val="tx1"/>
          </a:fontRef>
        </p:style>
        <p:txBody>
          <a:bodyPr rtlCol="0" anchor="ctr"/>
          <a:lstStyle/>
          <a:p>
            <a:pPr algn="ctr"/>
            <a:endParaRPr lang="es-PE"/>
          </a:p>
        </p:txBody>
      </p:sp>
      <p:sp>
        <p:nvSpPr>
          <p:cNvPr id="28" name="Título 27">
            <a:extLst>
              <a:ext uri="{FF2B5EF4-FFF2-40B4-BE49-F238E27FC236}">
                <a16:creationId xmlns:a16="http://schemas.microsoft.com/office/drawing/2014/main" id="{C559DADC-47DC-985C-F920-DB9E990D52F4}"/>
              </a:ext>
            </a:extLst>
          </p:cNvPr>
          <p:cNvSpPr>
            <a:spLocks noGrp="1"/>
          </p:cNvSpPr>
          <p:nvPr>
            <p:ph type="title"/>
          </p:nvPr>
        </p:nvSpPr>
        <p:spPr/>
        <p:txBody>
          <a:bodyPr/>
          <a:lstStyle/>
          <a:p>
            <a:r>
              <a:rPr lang="es-MX"/>
              <a:t> </a:t>
            </a:r>
            <a:endParaRPr lang="es-PE"/>
          </a:p>
        </p:txBody>
      </p:sp>
      <p:sp>
        <p:nvSpPr>
          <p:cNvPr id="32" name="Title 5">
            <a:extLst>
              <a:ext uri="{FF2B5EF4-FFF2-40B4-BE49-F238E27FC236}">
                <a16:creationId xmlns:a16="http://schemas.microsoft.com/office/drawing/2014/main" id="{B244F8B6-BED9-BEF4-57D3-ADAC6DE4521C}"/>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 </a:t>
            </a:r>
            <a:r>
              <a:rPr lang="en-GB" b="0" err="1">
                <a:solidFill>
                  <a:srgbClr val="203864"/>
                </a:solidFill>
                <a:latin typeface="Santander Headline" panose="020B0504020201020104" pitchFamily="34" charset="0"/>
              </a:rPr>
              <a:t>Etapas</a:t>
            </a:r>
            <a:r>
              <a:rPr lang="en-GB" b="0">
                <a:solidFill>
                  <a:srgbClr val="203864"/>
                </a:solidFill>
                <a:latin typeface="Santander Headline" panose="020B0504020201020104" pitchFamily="34" charset="0"/>
              </a:rPr>
              <a:t> de </a:t>
            </a:r>
            <a:r>
              <a:rPr lang="en-GB" b="0" err="1">
                <a:solidFill>
                  <a:srgbClr val="203864"/>
                </a:solidFill>
                <a:latin typeface="Santander Headline" panose="020B0504020201020104" pitchFamily="34" charset="0"/>
              </a:rPr>
              <a:t>Pruebas</a:t>
            </a:r>
            <a:r>
              <a:rPr lang="en-GB" b="0">
                <a:solidFill>
                  <a:srgbClr val="203864"/>
                </a:solidFill>
                <a:latin typeface="Santander Headline" panose="020B0504020201020104" pitchFamily="34" charset="0"/>
              </a:rPr>
              <a:t> en Modelo </a:t>
            </a:r>
            <a:r>
              <a:rPr lang="en-GB" b="0" err="1">
                <a:solidFill>
                  <a:srgbClr val="203864"/>
                </a:solidFill>
                <a:latin typeface="Santander Headline" panose="020B0504020201020104" pitchFamily="34" charset="0"/>
              </a:rPr>
              <a:t>Ágil</a:t>
            </a:r>
            <a:endParaRPr lang="es-MX">
              <a:solidFill>
                <a:srgbClr val="203864"/>
              </a:solidFill>
            </a:endParaRPr>
          </a:p>
        </p:txBody>
      </p:sp>
      <p:sp>
        <p:nvSpPr>
          <p:cNvPr id="2" name="Rectángulo 1">
            <a:extLst>
              <a:ext uri="{FF2B5EF4-FFF2-40B4-BE49-F238E27FC236}">
                <a16:creationId xmlns:a16="http://schemas.microsoft.com/office/drawing/2014/main" id="{41B7517A-21BC-C300-8DCB-455E9309FE8A}"/>
              </a:ext>
            </a:extLst>
          </p:cNvPr>
          <p:cNvSpPr/>
          <p:nvPr/>
        </p:nvSpPr>
        <p:spPr>
          <a:xfrm>
            <a:off x="6796214" y="6181344"/>
            <a:ext cx="217234" cy="210312"/>
          </a:xfrm>
          <a:prstGeom prst="rect">
            <a:avLst/>
          </a:prstGeom>
          <a:solidFill>
            <a:srgbClr val="636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 name="CuadroTexto 2">
            <a:extLst>
              <a:ext uri="{FF2B5EF4-FFF2-40B4-BE49-F238E27FC236}">
                <a16:creationId xmlns:a16="http://schemas.microsoft.com/office/drawing/2014/main" id="{9D785E22-6D67-4ACA-E9DE-8CD4B61B7AAB}"/>
              </a:ext>
            </a:extLst>
          </p:cNvPr>
          <p:cNvSpPr txBox="1"/>
          <p:nvPr/>
        </p:nvSpPr>
        <p:spPr>
          <a:xfrm>
            <a:off x="7013448" y="6155695"/>
            <a:ext cx="1618488" cy="261610"/>
          </a:xfrm>
          <a:prstGeom prst="rect">
            <a:avLst/>
          </a:prstGeom>
          <a:noFill/>
        </p:spPr>
        <p:txBody>
          <a:bodyPr wrap="square" rtlCol="0">
            <a:spAutoFit/>
          </a:bodyPr>
          <a:lstStyle/>
          <a:p>
            <a:r>
              <a:rPr lang="es-MX" sz="1100">
                <a:solidFill>
                  <a:schemeClr val="accent5"/>
                </a:solidFill>
              </a:rPr>
              <a:t>Equipo QA Transversal</a:t>
            </a:r>
            <a:endParaRPr lang="es-PE" sz="1100">
              <a:solidFill>
                <a:schemeClr val="accent5"/>
              </a:solidFill>
            </a:endParaRPr>
          </a:p>
        </p:txBody>
      </p:sp>
      <p:sp>
        <p:nvSpPr>
          <p:cNvPr id="27" name="Rectángulo 26">
            <a:extLst>
              <a:ext uri="{FF2B5EF4-FFF2-40B4-BE49-F238E27FC236}">
                <a16:creationId xmlns:a16="http://schemas.microsoft.com/office/drawing/2014/main" id="{96B46B67-85D1-3456-A5EC-5C4006ED61B0}"/>
              </a:ext>
            </a:extLst>
          </p:cNvPr>
          <p:cNvSpPr/>
          <p:nvPr/>
        </p:nvSpPr>
        <p:spPr>
          <a:xfrm>
            <a:off x="8460422" y="6181344"/>
            <a:ext cx="217234" cy="210312"/>
          </a:xfrm>
          <a:prstGeom prst="rect">
            <a:avLst/>
          </a:prstGeom>
          <a:solidFill>
            <a:srgbClr val="2038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9" name="CuadroTexto 28">
            <a:extLst>
              <a:ext uri="{FF2B5EF4-FFF2-40B4-BE49-F238E27FC236}">
                <a16:creationId xmlns:a16="http://schemas.microsoft.com/office/drawing/2014/main" id="{0397F9AA-3126-905D-13BC-AD546EF69F9F}"/>
              </a:ext>
            </a:extLst>
          </p:cNvPr>
          <p:cNvSpPr txBox="1"/>
          <p:nvPr/>
        </p:nvSpPr>
        <p:spPr>
          <a:xfrm>
            <a:off x="8677656" y="6155695"/>
            <a:ext cx="1618488" cy="261610"/>
          </a:xfrm>
          <a:prstGeom prst="rect">
            <a:avLst/>
          </a:prstGeom>
          <a:noFill/>
        </p:spPr>
        <p:txBody>
          <a:bodyPr wrap="square" rtlCol="0">
            <a:spAutoFit/>
          </a:bodyPr>
          <a:lstStyle/>
          <a:p>
            <a:r>
              <a:rPr lang="es-MX" sz="1100">
                <a:solidFill>
                  <a:schemeClr val="accent5"/>
                </a:solidFill>
              </a:rPr>
              <a:t>Equipo QA Dedicado BB</a:t>
            </a:r>
            <a:endParaRPr lang="es-PE" sz="1100">
              <a:solidFill>
                <a:schemeClr val="accent5"/>
              </a:solidFill>
            </a:endParaRPr>
          </a:p>
        </p:txBody>
      </p:sp>
      <p:sp>
        <p:nvSpPr>
          <p:cNvPr id="30" name="Rectángulo 29">
            <a:extLst>
              <a:ext uri="{FF2B5EF4-FFF2-40B4-BE49-F238E27FC236}">
                <a16:creationId xmlns:a16="http://schemas.microsoft.com/office/drawing/2014/main" id="{CA264587-2082-4C93-15E7-EFF95ACDA5FE}"/>
              </a:ext>
            </a:extLst>
          </p:cNvPr>
          <p:cNvSpPr/>
          <p:nvPr/>
        </p:nvSpPr>
        <p:spPr>
          <a:xfrm>
            <a:off x="10206100" y="6181344"/>
            <a:ext cx="217234" cy="210312"/>
          </a:xfrm>
          <a:prstGeom prst="rect">
            <a:avLst/>
          </a:prstGeom>
          <a:solidFill>
            <a:srgbClr val="05BC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1" name="CuadroTexto 30">
            <a:extLst>
              <a:ext uri="{FF2B5EF4-FFF2-40B4-BE49-F238E27FC236}">
                <a16:creationId xmlns:a16="http://schemas.microsoft.com/office/drawing/2014/main" id="{9DA7F276-E05C-E511-1034-F73C0F72E6CC}"/>
              </a:ext>
            </a:extLst>
          </p:cNvPr>
          <p:cNvSpPr txBox="1"/>
          <p:nvPr/>
        </p:nvSpPr>
        <p:spPr>
          <a:xfrm>
            <a:off x="10423334" y="6155695"/>
            <a:ext cx="1618488" cy="261610"/>
          </a:xfrm>
          <a:prstGeom prst="rect">
            <a:avLst/>
          </a:prstGeom>
          <a:noFill/>
        </p:spPr>
        <p:txBody>
          <a:bodyPr wrap="square" rtlCol="0">
            <a:spAutoFit/>
          </a:bodyPr>
          <a:lstStyle/>
          <a:p>
            <a:r>
              <a:rPr lang="es-MX" sz="1100">
                <a:solidFill>
                  <a:schemeClr val="accent5"/>
                </a:solidFill>
              </a:rPr>
              <a:t>Equipo QA Planificado</a:t>
            </a:r>
            <a:endParaRPr lang="es-PE" sz="1100">
              <a:solidFill>
                <a:schemeClr val="accent5"/>
              </a:solidFill>
            </a:endParaRPr>
          </a:p>
        </p:txBody>
      </p:sp>
    </p:spTree>
    <p:extLst>
      <p:ext uri="{BB962C8B-B14F-4D97-AF65-F5344CB8AC3E}">
        <p14:creationId xmlns:p14="http://schemas.microsoft.com/office/powerpoint/2010/main" val="23031145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5DAAEC-505B-9F85-9934-5EF5AA56AE18}"/>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9716350C-0D51-50D1-3451-83109EF4AB01}"/>
              </a:ext>
            </a:extLst>
          </p:cNvPr>
          <p:cNvSpPr>
            <a:spLocks noGrp="1"/>
          </p:cNvSpPr>
          <p:nvPr>
            <p:ph type="body" sz="quarter" idx="14"/>
          </p:nvPr>
        </p:nvSpPr>
        <p:spPr/>
        <p:txBody>
          <a:bodyPr/>
          <a:lstStyle/>
          <a:p>
            <a:endParaRPr lang="es-PE"/>
          </a:p>
        </p:txBody>
      </p:sp>
      <p:sp>
        <p:nvSpPr>
          <p:cNvPr id="3" name="Título 2">
            <a:extLst>
              <a:ext uri="{FF2B5EF4-FFF2-40B4-BE49-F238E27FC236}">
                <a16:creationId xmlns:a16="http://schemas.microsoft.com/office/drawing/2014/main" id="{0FD24BBC-9A69-CBC8-E444-03A24EC9ABE0}"/>
              </a:ext>
            </a:extLst>
          </p:cNvPr>
          <p:cNvSpPr>
            <a:spLocks noGrp="1"/>
          </p:cNvSpPr>
          <p:nvPr>
            <p:ph type="title"/>
          </p:nvPr>
        </p:nvSpPr>
        <p:spPr/>
        <p:txBody>
          <a:bodyPr/>
          <a:lstStyle/>
          <a:p>
            <a:r>
              <a:rPr lang="es-MX"/>
              <a:t> </a:t>
            </a:r>
            <a:endParaRPr lang="es-PE"/>
          </a:p>
        </p:txBody>
      </p:sp>
      <p:sp>
        <p:nvSpPr>
          <p:cNvPr id="6" name="Title 5">
            <a:extLst>
              <a:ext uri="{FF2B5EF4-FFF2-40B4-BE49-F238E27FC236}">
                <a16:creationId xmlns:a16="http://schemas.microsoft.com/office/drawing/2014/main" id="{11DFAE49-2CE9-6290-E66A-58DF5D7D78F4}"/>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err="1">
                <a:solidFill>
                  <a:srgbClr val="203864"/>
                </a:solidFill>
                <a:latin typeface="Santander Headline" panose="020B0504020201020104" pitchFamily="34" charset="0"/>
              </a:rPr>
              <a:t>Metodología</a:t>
            </a:r>
            <a:r>
              <a:rPr lang="en-GB" b="0">
                <a:solidFill>
                  <a:srgbClr val="203864"/>
                </a:solidFill>
                <a:latin typeface="Santander Headline" panose="020B0504020201020104" pitchFamily="34" charset="0"/>
              </a:rPr>
              <a:t> BDD</a:t>
            </a:r>
            <a:endParaRPr lang="es-MX">
              <a:solidFill>
                <a:srgbClr val="203864"/>
              </a:solidFill>
            </a:endParaRPr>
          </a:p>
        </p:txBody>
      </p:sp>
      <p:sp>
        <p:nvSpPr>
          <p:cNvPr id="10" name="Marcador de texto 2">
            <a:extLst>
              <a:ext uri="{FF2B5EF4-FFF2-40B4-BE49-F238E27FC236}">
                <a16:creationId xmlns:a16="http://schemas.microsoft.com/office/drawing/2014/main" id="{082E6792-0C2C-E059-B6C1-546DF66A5A23}"/>
              </a:ext>
            </a:extLst>
          </p:cNvPr>
          <p:cNvSpPr txBox="1">
            <a:spLocks/>
          </p:cNvSpPr>
          <p:nvPr/>
        </p:nvSpPr>
        <p:spPr>
          <a:xfrm>
            <a:off x="508003" y="1402256"/>
            <a:ext cx="5587996" cy="493294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3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0" indent="-457200" algn="just">
              <a:lnSpc>
                <a:spcPct val="100000"/>
              </a:lnSpc>
              <a:buFont typeface="Arial" panose="020B0604020202020204" pitchFamily="34" charset="0"/>
              <a:buChar char="•"/>
            </a:pPr>
            <a:r>
              <a:rPr lang="es-MX" sz="1800" b="1">
                <a:solidFill>
                  <a:sysClr val="windowText" lastClr="000000"/>
                </a:solidFill>
                <a:latin typeface="Calibri Light" panose="020F0302020204030204"/>
              </a:rPr>
              <a:t>Lenguaje común: </a:t>
            </a:r>
            <a:r>
              <a:rPr lang="es-MX" sz="1800">
                <a:solidFill>
                  <a:sysClr val="windowText" lastClr="000000"/>
                </a:solidFill>
                <a:latin typeface="Calibri Light" panose="020F0302020204030204"/>
              </a:rPr>
              <a:t>BDD utiliza un lenguaje sencillo y entendible por todos los miembros del equipo (desarrolladores, </a:t>
            </a:r>
            <a:r>
              <a:rPr lang="es-MX" sz="1800" err="1">
                <a:solidFill>
                  <a:sysClr val="windowText" lastClr="000000"/>
                </a:solidFill>
                <a:latin typeface="Calibri Light" panose="020F0302020204030204"/>
              </a:rPr>
              <a:t>testers</a:t>
            </a:r>
            <a:r>
              <a:rPr lang="es-MX" sz="1800">
                <a:solidFill>
                  <a:sysClr val="windowText" lastClr="000000"/>
                </a:solidFill>
                <a:latin typeface="Calibri Light" panose="020F0302020204030204"/>
              </a:rPr>
              <a:t>, analistas, clientes). Normalmente se emplea </a:t>
            </a:r>
            <a:r>
              <a:rPr lang="es-MX" sz="1800" err="1">
                <a:solidFill>
                  <a:sysClr val="windowText" lastClr="000000"/>
                </a:solidFill>
                <a:latin typeface="Calibri Light" panose="020F0302020204030204"/>
              </a:rPr>
              <a:t>Gherkin</a:t>
            </a:r>
            <a:r>
              <a:rPr lang="es-MX" sz="1800">
                <a:solidFill>
                  <a:sysClr val="windowText" lastClr="000000"/>
                </a:solidFill>
                <a:latin typeface="Calibri Light" panose="020F0302020204030204"/>
              </a:rPr>
              <a:t>.</a:t>
            </a:r>
          </a:p>
          <a:p>
            <a:pPr marL="457200" lvl="0" indent="-457200" algn="just">
              <a:lnSpc>
                <a:spcPct val="100000"/>
              </a:lnSpc>
              <a:buFont typeface="Arial" panose="020B0604020202020204" pitchFamily="34" charset="0"/>
              <a:buChar char="•"/>
            </a:pPr>
            <a:r>
              <a:rPr lang="es-MX" sz="1800" b="1">
                <a:solidFill>
                  <a:sysClr val="windowText" lastClr="000000"/>
                </a:solidFill>
                <a:latin typeface="Calibri Light" panose="020F0302020204030204"/>
              </a:rPr>
              <a:t>Escenarios de prueba: </a:t>
            </a:r>
            <a:r>
              <a:rPr lang="es-MX" sz="1800">
                <a:solidFill>
                  <a:sysClr val="windowText" lastClr="000000"/>
                </a:solidFill>
                <a:latin typeface="Calibri Light" panose="020F0302020204030204"/>
              </a:rPr>
              <a:t>Las pruebas se definen como escenarios que describen el comportamiento esperado ante ciertas condiciones y acciones.</a:t>
            </a:r>
          </a:p>
          <a:p>
            <a:pPr marL="457200" lvl="0" indent="-457200" algn="just">
              <a:lnSpc>
                <a:spcPct val="100000"/>
              </a:lnSpc>
              <a:buFont typeface="Arial" panose="020B0604020202020204" pitchFamily="34" charset="0"/>
              <a:buChar char="•"/>
            </a:pPr>
            <a:r>
              <a:rPr lang="es-MX" sz="1800" b="1">
                <a:solidFill>
                  <a:sysClr val="windowText" lastClr="000000"/>
                </a:solidFill>
                <a:latin typeface="Calibri Light" panose="020F0302020204030204"/>
              </a:rPr>
              <a:t>Automatización: </a:t>
            </a:r>
            <a:r>
              <a:rPr lang="es-MX" sz="1800">
                <a:solidFill>
                  <a:sysClr val="windowText" lastClr="000000"/>
                </a:solidFill>
                <a:latin typeface="Calibri Light" panose="020F0302020204030204"/>
              </a:rPr>
              <a:t>Los escenarios escritos en BDD pueden ser automatizados usando herramientas como </a:t>
            </a:r>
            <a:r>
              <a:rPr lang="es-MX" sz="1800" err="1">
                <a:solidFill>
                  <a:sysClr val="windowText" lastClr="000000"/>
                </a:solidFill>
                <a:latin typeface="Calibri Light" panose="020F0302020204030204"/>
              </a:rPr>
              <a:t>Cucumber</a:t>
            </a:r>
            <a:r>
              <a:rPr lang="es-MX" sz="1800">
                <a:solidFill>
                  <a:sysClr val="windowText" lastClr="000000"/>
                </a:solidFill>
                <a:latin typeface="Calibri Light" panose="020F0302020204030204"/>
              </a:rPr>
              <a:t>, </a:t>
            </a:r>
            <a:r>
              <a:rPr lang="es-MX" sz="1800" err="1">
                <a:solidFill>
                  <a:sysClr val="windowText" lastClr="000000"/>
                </a:solidFill>
                <a:latin typeface="Calibri Light" panose="020F0302020204030204"/>
              </a:rPr>
              <a:t>Behave</a:t>
            </a:r>
            <a:r>
              <a:rPr lang="es-MX" sz="1800">
                <a:solidFill>
                  <a:sysClr val="windowText" lastClr="000000"/>
                </a:solidFill>
                <a:latin typeface="Calibri Light" panose="020F0302020204030204"/>
              </a:rPr>
              <a:t>, etc. Esto permite que las pruebas sean ejecutables y repetibles.</a:t>
            </a:r>
          </a:p>
          <a:p>
            <a:pPr marL="457200" indent="-457200" algn="just">
              <a:lnSpc>
                <a:spcPct val="100000"/>
              </a:lnSpc>
              <a:buFont typeface="Arial" panose="020B0604020202020204" pitchFamily="34" charset="0"/>
              <a:buChar char="•"/>
            </a:pPr>
            <a:r>
              <a:rPr lang="es-MX" sz="1800" b="1">
                <a:solidFill>
                  <a:sysClr val="windowText" lastClr="000000"/>
                </a:solidFill>
                <a:latin typeface="Calibri Light" panose="020F0302020204030204"/>
              </a:rPr>
              <a:t>Colaboración: </a:t>
            </a:r>
            <a:r>
              <a:rPr lang="es-MX" sz="1800">
                <a:solidFill>
                  <a:sysClr val="windowText" lastClr="000000"/>
                </a:solidFill>
                <a:latin typeface="Calibri Light" panose="020F0302020204030204"/>
              </a:rPr>
              <a:t>BDD fomenta la colaboración entre roles (QA, desarrollo, negocio) ya que todos entienden y contribuyen a la definición de los requisitos y pruebas.</a:t>
            </a:r>
          </a:p>
          <a:p>
            <a:pPr marL="457200" lvl="0" indent="-457200">
              <a:lnSpc>
                <a:spcPct val="100000"/>
              </a:lnSpc>
              <a:buFont typeface="Arial" panose="020B0604020202020204" pitchFamily="34" charset="0"/>
              <a:buChar char="•"/>
            </a:pPr>
            <a:endParaRPr lang="es-MX" sz="2000">
              <a:solidFill>
                <a:sysClr val="windowText" lastClr="000000"/>
              </a:solidFill>
              <a:latin typeface="Calibri Light" panose="020F0302020204030204"/>
            </a:endParaRPr>
          </a:p>
        </p:txBody>
      </p:sp>
      <p:grpSp>
        <p:nvGrpSpPr>
          <p:cNvPr id="11" name="Grupo 10">
            <a:extLst>
              <a:ext uri="{FF2B5EF4-FFF2-40B4-BE49-F238E27FC236}">
                <a16:creationId xmlns:a16="http://schemas.microsoft.com/office/drawing/2014/main" id="{5DA3FEC4-D244-60C2-3F32-9A43DBC5EC29}"/>
              </a:ext>
            </a:extLst>
          </p:cNvPr>
          <p:cNvGrpSpPr/>
          <p:nvPr/>
        </p:nvGrpSpPr>
        <p:grpSpPr>
          <a:xfrm>
            <a:off x="6222999" y="978438"/>
            <a:ext cx="6160215" cy="5904963"/>
            <a:chOff x="6222999" y="978438"/>
            <a:chExt cx="6160215" cy="5904963"/>
          </a:xfrm>
        </p:grpSpPr>
        <p:graphicFrame>
          <p:nvGraphicFramePr>
            <p:cNvPr id="12" name="Diagrama 11">
              <a:extLst>
                <a:ext uri="{FF2B5EF4-FFF2-40B4-BE49-F238E27FC236}">
                  <a16:creationId xmlns:a16="http://schemas.microsoft.com/office/drawing/2014/main" id="{F66E1116-1E34-5227-1AB4-103E57B80257}"/>
                </a:ext>
              </a:extLst>
            </p:cNvPr>
            <p:cNvGraphicFramePr/>
            <p:nvPr/>
          </p:nvGraphicFramePr>
          <p:xfrm>
            <a:off x="6222999" y="978438"/>
            <a:ext cx="5765801" cy="5904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3" name="Diagrama 12">
              <a:extLst>
                <a:ext uri="{FF2B5EF4-FFF2-40B4-BE49-F238E27FC236}">
                  <a16:creationId xmlns:a16="http://schemas.microsoft.com/office/drawing/2014/main" id="{433856BB-32E3-86BD-2370-F2F0CB49FD6B}"/>
                </a:ext>
              </a:extLst>
            </p:cNvPr>
            <p:cNvGraphicFramePr/>
            <p:nvPr/>
          </p:nvGraphicFramePr>
          <p:xfrm>
            <a:off x="10121183" y="3868728"/>
            <a:ext cx="2262031" cy="298927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spTree>
    <p:extLst>
      <p:ext uri="{BB962C8B-B14F-4D97-AF65-F5344CB8AC3E}">
        <p14:creationId xmlns:p14="http://schemas.microsoft.com/office/powerpoint/2010/main" val="1022667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8F604-57B3-8848-EBEF-102276468E65}"/>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5FD5716A-3009-932F-E00A-991EB93B2435}"/>
              </a:ext>
            </a:extLst>
          </p:cNvPr>
          <p:cNvSpPr>
            <a:spLocks noGrp="1"/>
          </p:cNvSpPr>
          <p:nvPr>
            <p:ph type="body" sz="quarter" idx="14"/>
          </p:nvPr>
        </p:nvSpPr>
        <p:spPr/>
        <p:txBody>
          <a:bodyPr/>
          <a:lstStyle/>
          <a:p>
            <a:endParaRPr lang="es-PE"/>
          </a:p>
        </p:txBody>
      </p:sp>
      <p:sp>
        <p:nvSpPr>
          <p:cNvPr id="3" name="Título 2">
            <a:extLst>
              <a:ext uri="{FF2B5EF4-FFF2-40B4-BE49-F238E27FC236}">
                <a16:creationId xmlns:a16="http://schemas.microsoft.com/office/drawing/2014/main" id="{9B983744-0A3D-8663-FCF7-B74B3CAD5C62}"/>
              </a:ext>
            </a:extLst>
          </p:cNvPr>
          <p:cNvSpPr>
            <a:spLocks noGrp="1"/>
          </p:cNvSpPr>
          <p:nvPr>
            <p:ph type="title"/>
          </p:nvPr>
        </p:nvSpPr>
        <p:spPr/>
        <p:txBody>
          <a:bodyPr/>
          <a:lstStyle/>
          <a:p>
            <a:r>
              <a:rPr lang="es-MX"/>
              <a:t> </a:t>
            </a:r>
            <a:endParaRPr lang="es-PE"/>
          </a:p>
        </p:txBody>
      </p:sp>
      <p:sp>
        <p:nvSpPr>
          <p:cNvPr id="6" name="Title 5">
            <a:extLst>
              <a:ext uri="{FF2B5EF4-FFF2-40B4-BE49-F238E27FC236}">
                <a16:creationId xmlns:a16="http://schemas.microsoft.com/office/drawing/2014/main" id="{EEFF0121-60B9-20C7-24F9-922878BD00D7}"/>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15.1. 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a:solidFill>
                  <a:srgbClr val="203864"/>
                </a:solidFill>
                <a:latin typeface="Santander Headline" panose="020B0504020201020104" pitchFamily="34" charset="0"/>
              </a:rPr>
              <a:t>PRUEBAS UNITARIAS</a:t>
            </a:r>
            <a:endParaRPr lang="es-MX">
              <a:solidFill>
                <a:srgbClr val="203864"/>
              </a:solidFill>
            </a:endParaRPr>
          </a:p>
        </p:txBody>
      </p:sp>
      <p:sp>
        <p:nvSpPr>
          <p:cNvPr id="7" name="Rectángulo 6">
            <a:extLst>
              <a:ext uri="{FF2B5EF4-FFF2-40B4-BE49-F238E27FC236}">
                <a16:creationId xmlns:a16="http://schemas.microsoft.com/office/drawing/2014/main" id="{B15582FC-65B2-EBE3-E68D-9659DC4B7CC4}"/>
              </a:ext>
            </a:extLst>
          </p:cNvPr>
          <p:cNvSpPr/>
          <p:nvPr/>
        </p:nvSpPr>
        <p:spPr>
          <a:xfrm>
            <a:off x="838200" y="1354667"/>
            <a:ext cx="10337800" cy="707886"/>
          </a:xfrm>
          <a:prstGeom prst="rect">
            <a:avLst/>
          </a:prstGeom>
        </p:spPr>
        <p:txBody>
          <a:bodyPr wrap="square">
            <a:spAutoFit/>
          </a:bodyPr>
          <a:lstStyle/>
          <a:p>
            <a:pPr algn="just"/>
            <a:r>
              <a:rPr lang="es-ES" sz="2000">
                <a:solidFill>
                  <a:schemeClr val="accent5"/>
                </a:solidFill>
              </a:rPr>
              <a:t>Una prueba unitaria es la forma de comprobar el correcto funcionamiento de cada módulo de código por separado.</a:t>
            </a:r>
          </a:p>
        </p:txBody>
      </p:sp>
      <p:pic>
        <p:nvPicPr>
          <p:cNvPr id="9" name="Imagen 8">
            <a:extLst>
              <a:ext uri="{FF2B5EF4-FFF2-40B4-BE49-F238E27FC236}">
                <a16:creationId xmlns:a16="http://schemas.microsoft.com/office/drawing/2014/main" id="{FBE3543F-948C-47C6-4AD5-626E0AE3D12F}"/>
              </a:ext>
            </a:extLst>
          </p:cNvPr>
          <p:cNvPicPr>
            <a:picLocks noChangeAspect="1"/>
          </p:cNvPicPr>
          <p:nvPr/>
        </p:nvPicPr>
        <p:blipFill>
          <a:blip r:embed="rId3"/>
          <a:stretch>
            <a:fillRect/>
          </a:stretch>
        </p:blipFill>
        <p:spPr>
          <a:xfrm>
            <a:off x="1108781" y="2324695"/>
            <a:ext cx="4427276" cy="1654639"/>
          </a:xfrm>
          <a:prstGeom prst="rect">
            <a:avLst/>
          </a:prstGeom>
        </p:spPr>
      </p:pic>
      <p:pic>
        <p:nvPicPr>
          <p:cNvPr id="10" name="Imagen 9">
            <a:extLst>
              <a:ext uri="{FF2B5EF4-FFF2-40B4-BE49-F238E27FC236}">
                <a16:creationId xmlns:a16="http://schemas.microsoft.com/office/drawing/2014/main" id="{FA6E5CA8-98B2-29B4-B490-44499E2E63E8}"/>
              </a:ext>
            </a:extLst>
          </p:cNvPr>
          <p:cNvPicPr>
            <a:picLocks noChangeAspect="1"/>
          </p:cNvPicPr>
          <p:nvPr/>
        </p:nvPicPr>
        <p:blipFill>
          <a:blip r:embed="rId4"/>
          <a:stretch>
            <a:fillRect/>
          </a:stretch>
        </p:blipFill>
        <p:spPr>
          <a:xfrm>
            <a:off x="6007100" y="1708610"/>
            <a:ext cx="5754675" cy="3164296"/>
          </a:xfrm>
          <a:prstGeom prst="rect">
            <a:avLst/>
          </a:prstGeom>
        </p:spPr>
      </p:pic>
      <p:pic>
        <p:nvPicPr>
          <p:cNvPr id="11" name="Imagen 10">
            <a:extLst>
              <a:ext uri="{FF2B5EF4-FFF2-40B4-BE49-F238E27FC236}">
                <a16:creationId xmlns:a16="http://schemas.microsoft.com/office/drawing/2014/main" id="{483C7040-54B8-6A1B-A426-C55A2B47428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45172" y="4241476"/>
            <a:ext cx="1190885" cy="1190885"/>
          </a:xfrm>
          <a:prstGeom prst="rect">
            <a:avLst/>
          </a:prstGeom>
        </p:spPr>
      </p:pic>
      <p:sp>
        <p:nvSpPr>
          <p:cNvPr id="12" name="Rectángulo 11">
            <a:extLst>
              <a:ext uri="{FF2B5EF4-FFF2-40B4-BE49-F238E27FC236}">
                <a16:creationId xmlns:a16="http://schemas.microsoft.com/office/drawing/2014/main" id="{6E312343-4CC3-252D-3A54-11E8EF94420E}"/>
              </a:ext>
            </a:extLst>
          </p:cNvPr>
          <p:cNvSpPr/>
          <p:nvPr/>
        </p:nvSpPr>
        <p:spPr>
          <a:xfrm>
            <a:off x="10086715" y="6208701"/>
            <a:ext cx="987409" cy="307777"/>
          </a:xfrm>
          <a:prstGeom prst="rect">
            <a:avLst/>
          </a:prstGeom>
        </p:spPr>
        <p:txBody>
          <a:bodyPr wrap="square">
            <a:spAutoFit/>
          </a:bodyPr>
          <a:lstStyle/>
          <a:p>
            <a:pPr marL="0" lvl="1"/>
            <a:r>
              <a:rPr lang="es-AR" sz="1400" b="1">
                <a:solidFill>
                  <a:schemeClr val="tx2"/>
                </a:solidFill>
              </a:rPr>
              <a:t>Developer</a:t>
            </a:r>
          </a:p>
        </p:txBody>
      </p:sp>
    </p:spTree>
    <p:extLst>
      <p:ext uri="{BB962C8B-B14F-4D97-AF65-F5344CB8AC3E}">
        <p14:creationId xmlns:p14="http://schemas.microsoft.com/office/powerpoint/2010/main" val="9434201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89457A-2C85-24B9-D786-C6D83656F3A9}"/>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EC26599A-2A66-0F2E-4AF2-0412AB51B9FE}"/>
              </a:ext>
            </a:extLst>
          </p:cNvPr>
          <p:cNvSpPr>
            <a:spLocks noGrp="1"/>
          </p:cNvSpPr>
          <p:nvPr>
            <p:ph type="body" sz="quarter" idx="14"/>
          </p:nvPr>
        </p:nvSpPr>
        <p:spPr/>
        <p:txBody>
          <a:bodyPr/>
          <a:lstStyle/>
          <a:p>
            <a:endParaRPr lang="es-PE"/>
          </a:p>
        </p:txBody>
      </p:sp>
      <p:sp>
        <p:nvSpPr>
          <p:cNvPr id="3" name="Título 2">
            <a:extLst>
              <a:ext uri="{FF2B5EF4-FFF2-40B4-BE49-F238E27FC236}">
                <a16:creationId xmlns:a16="http://schemas.microsoft.com/office/drawing/2014/main" id="{67DC452B-4045-790C-9808-422B27C71A9C}"/>
              </a:ext>
            </a:extLst>
          </p:cNvPr>
          <p:cNvSpPr>
            <a:spLocks noGrp="1"/>
          </p:cNvSpPr>
          <p:nvPr>
            <p:ph type="title"/>
          </p:nvPr>
        </p:nvSpPr>
        <p:spPr/>
        <p:txBody>
          <a:bodyPr/>
          <a:lstStyle/>
          <a:p>
            <a:r>
              <a:rPr lang="es-MX"/>
              <a:t> </a:t>
            </a:r>
            <a:endParaRPr lang="es-PE"/>
          </a:p>
        </p:txBody>
      </p:sp>
      <p:sp>
        <p:nvSpPr>
          <p:cNvPr id="6" name="Title 5">
            <a:extLst>
              <a:ext uri="{FF2B5EF4-FFF2-40B4-BE49-F238E27FC236}">
                <a16:creationId xmlns:a16="http://schemas.microsoft.com/office/drawing/2014/main" id="{487B2923-9090-49FE-7241-14F5259D8E81}"/>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15.2. 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a:solidFill>
                  <a:srgbClr val="203864"/>
                </a:solidFill>
                <a:latin typeface="Santander Headline" panose="020B0504020201020104" pitchFamily="34" charset="0"/>
              </a:rPr>
              <a:t>PRUEBAS INTEGRACIÓN</a:t>
            </a:r>
            <a:endParaRPr lang="es-MX">
              <a:solidFill>
                <a:srgbClr val="203864"/>
              </a:solidFill>
            </a:endParaRPr>
          </a:p>
        </p:txBody>
      </p:sp>
      <p:sp>
        <p:nvSpPr>
          <p:cNvPr id="2" name="Rectángulo 1">
            <a:extLst>
              <a:ext uri="{FF2B5EF4-FFF2-40B4-BE49-F238E27FC236}">
                <a16:creationId xmlns:a16="http://schemas.microsoft.com/office/drawing/2014/main" id="{2261E86A-4BCB-3618-F803-009F75A430A5}"/>
              </a:ext>
            </a:extLst>
          </p:cNvPr>
          <p:cNvSpPr/>
          <p:nvPr/>
        </p:nvSpPr>
        <p:spPr>
          <a:xfrm>
            <a:off x="838200" y="1354667"/>
            <a:ext cx="10337800" cy="2554545"/>
          </a:xfrm>
          <a:prstGeom prst="rect">
            <a:avLst/>
          </a:prstGeom>
        </p:spPr>
        <p:txBody>
          <a:bodyPr wrap="square">
            <a:spAutoFit/>
          </a:bodyPr>
          <a:lstStyle/>
          <a:p>
            <a:pPr algn="just"/>
            <a:r>
              <a:rPr lang="es-ES" sz="2000">
                <a:solidFill>
                  <a:schemeClr val="accent5"/>
                </a:solidFill>
              </a:rPr>
              <a:t>Una prueba de integración es aquella que permite comprobar la integración entre varios componentes o módulos de nuestro software o sistemas terceros.</a:t>
            </a:r>
          </a:p>
          <a:p>
            <a:pPr algn="just"/>
            <a:endParaRPr lang="es-AR" sz="2000">
              <a:solidFill>
                <a:schemeClr val="accent5"/>
              </a:solidFill>
            </a:endParaRPr>
          </a:p>
          <a:p>
            <a:pPr algn="just"/>
            <a:r>
              <a:rPr lang="es-AR" sz="2000">
                <a:solidFill>
                  <a:schemeClr val="accent5"/>
                </a:solidFill>
              </a:rPr>
              <a:t>Nos permite verificar que las diferentes interfaces en uso a lo largo del sistema procesan e intercambian datos en forma correcta.</a:t>
            </a:r>
          </a:p>
          <a:p>
            <a:pPr algn="just"/>
            <a:endParaRPr lang="es-ES" sz="2000"/>
          </a:p>
          <a:p>
            <a:pPr algn="just"/>
            <a:endParaRPr lang="es-ES" sz="2000"/>
          </a:p>
          <a:p>
            <a:pPr algn="just"/>
            <a:endParaRPr lang="es-ES" sz="2000"/>
          </a:p>
        </p:txBody>
      </p:sp>
      <p:pic>
        <p:nvPicPr>
          <p:cNvPr id="4" name="Imagen 3">
            <a:extLst>
              <a:ext uri="{FF2B5EF4-FFF2-40B4-BE49-F238E27FC236}">
                <a16:creationId xmlns:a16="http://schemas.microsoft.com/office/drawing/2014/main" id="{99C77402-6ECB-5B48-0D60-F001A5171FF7}"/>
              </a:ext>
            </a:extLst>
          </p:cNvPr>
          <p:cNvPicPr>
            <a:picLocks noChangeAspect="1"/>
          </p:cNvPicPr>
          <p:nvPr/>
        </p:nvPicPr>
        <p:blipFill>
          <a:blip r:embed="rId3"/>
          <a:stretch>
            <a:fillRect/>
          </a:stretch>
        </p:blipFill>
        <p:spPr>
          <a:xfrm>
            <a:off x="838200" y="4082580"/>
            <a:ext cx="10104420" cy="1539286"/>
          </a:xfrm>
          <a:prstGeom prst="rect">
            <a:avLst/>
          </a:prstGeom>
        </p:spPr>
      </p:pic>
    </p:spTree>
    <p:extLst>
      <p:ext uri="{BB962C8B-B14F-4D97-AF65-F5344CB8AC3E}">
        <p14:creationId xmlns:p14="http://schemas.microsoft.com/office/powerpoint/2010/main" val="11225086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AACD9D-1BF1-1CFB-5D45-04C934AC82C4}"/>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450E41C6-3BD1-A150-940B-20CBD62822B6}"/>
              </a:ext>
            </a:extLst>
          </p:cNvPr>
          <p:cNvSpPr>
            <a:spLocks noGrp="1"/>
          </p:cNvSpPr>
          <p:nvPr>
            <p:ph type="body" sz="quarter" idx="14"/>
          </p:nvPr>
        </p:nvSpPr>
        <p:spPr/>
        <p:txBody>
          <a:bodyPr/>
          <a:lstStyle/>
          <a:p>
            <a:endParaRPr lang="es-PE"/>
          </a:p>
        </p:txBody>
      </p:sp>
      <p:sp>
        <p:nvSpPr>
          <p:cNvPr id="3" name="Título 2">
            <a:extLst>
              <a:ext uri="{FF2B5EF4-FFF2-40B4-BE49-F238E27FC236}">
                <a16:creationId xmlns:a16="http://schemas.microsoft.com/office/drawing/2014/main" id="{1861B7EB-03C9-14CB-2057-38C3FA3C23DF}"/>
              </a:ext>
            </a:extLst>
          </p:cNvPr>
          <p:cNvSpPr>
            <a:spLocks noGrp="1"/>
          </p:cNvSpPr>
          <p:nvPr>
            <p:ph type="title"/>
          </p:nvPr>
        </p:nvSpPr>
        <p:spPr/>
        <p:txBody>
          <a:bodyPr/>
          <a:lstStyle/>
          <a:p>
            <a:r>
              <a:rPr lang="es-MX"/>
              <a:t> </a:t>
            </a:r>
            <a:endParaRPr lang="es-PE"/>
          </a:p>
        </p:txBody>
      </p:sp>
      <p:sp>
        <p:nvSpPr>
          <p:cNvPr id="6" name="Title 5">
            <a:extLst>
              <a:ext uri="{FF2B5EF4-FFF2-40B4-BE49-F238E27FC236}">
                <a16:creationId xmlns:a16="http://schemas.microsoft.com/office/drawing/2014/main" id="{4FB703CE-1E7B-66F8-D9D2-44C2A868B56A}"/>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15.3. 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a:solidFill>
                  <a:srgbClr val="203864"/>
                </a:solidFill>
                <a:latin typeface="Santander Headline" panose="020B0504020201020104" pitchFamily="34" charset="0"/>
              </a:rPr>
              <a:t>PRUEBAS DE INSTALACIÓN Y ROLLBACK</a:t>
            </a:r>
            <a:endParaRPr lang="es-MX">
              <a:solidFill>
                <a:srgbClr val="203864"/>
              </a:solidFill>
            </a:endParaRPr>
          </a:p>
        </p:txBody>
      </p:sp>
      <p:sp>
        <p:nvSpPr>
          <p:cNvPr id="2" name="Rectángulo 1">
            <a:extLst>
              <a:ext uri="{FF2B5EF4-FFF2-40B4-BE49-F238E27FC236}">
                <a16:creationId xmlns:a16="http://schemas.microsoft.com/office/drawing/2014/main" id="{091B2E4F-B58D-E623-3045-D42326796C2C}"/>
              </a:ext>
            </a:extLst>
          </p:cNvPr>
          <p:cNvSpPr/>
          <p:nvPr/>
        </p:nvSpPr>
        <p:spPr>
          <a:xfrm>
            <a:off x="838200" y="1354667"/>
            <a:ext cx="10337800" cy="1938992"/>
          </a:xfrm>
          <a:prstGeom prst="rect">
            <a:avLst/>
          </a:prstGeom>
        </p:spPr>
        <p:txBody>
          <a:bodyPr wrap="square">
            <a:spAutoFit/>
          </a:bodyPr>
          <a:lstStyle/>
          <a:p>
            <a:r>
              <a:rPr lang="es-MX" sz="2000">
                <a:solidFill>
                  <a:schemeClr val="accent5"/>
                </a:solidFill>
              </a:rPr>
              <a:t>Las pruebas de Instalación y Rollback verifican que el software pueda instalarse correctamente en el entorno objetivo y que, ante una falla o necesidad de reversión, el sistema pueda restaurarse a su estado anterior sin dejar residuos ni afectar la operatividad.</a:t>
            </a:r>
          </a:p>
          <a:p>
            <a:pPr algn="just"/>
            <a:endParaRPr lang="es-ES" sz="2000"/>
          </a:p>
          <a:p>
            <a:pPr algn="just"/>
            <a:endParaRPr lang="es-ES" sz="2000"/>
          </a:p>
          <a:p>
            <a:pPr algn="just"/>
            <a:endParaRPr lang="es-ES" sz="2000"/>
          </a:p>
        </p:txBody>
      </p:sp>
      <p:sp>
        <p:nvSpPr>
          <p:cNvPr id="5" name="Rectángulo 4">
            <a:extLst>
              <a:ext uri="{FF2B5EF4-FFF2-40B4-BE49-F238E27FC236}">
                <a16:creationId xmlns:a16="http://schemas.microsoft.com/office/drawing/2014/main" id="{E21A1F98-947B-A00B-DA94-157DB1071F99}"/>
              </a:ext>
            </a:extLst>
          </p:cNvPr>
          <p:cNvSpPr/>
          <p:nvPr/>
        </p:nvSpPr>
        <p:spPr>
          <a:xfrm>
            <a:off x="2093976" y="3778778"/>
            <a:ext cx="2093976" cy="78638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Ambiente DEV</a:t>
            </a:r>
            <a:endParaRPr lang="es-PE"/>
          </a:p>
        </p:txBody>
      </p:sp>
      <p:sp>
        <p:nvSpPr>
          <p:cNvPr id="7" name="Rectángulo 6">
            <a:extLst>
              <a:ext uri="{FF2B5EF4-FFF2-40B4-BE49-F238E27FC236}">
                <a16:creationId xmlns:a16="http://schemas.microsoft.com/office/drawing/2014/main" id="{65C04FE8-6240-93D3-E5B5-3EC900396C25}"/>
              </a:ext>
            </a:extLst>
          </p:cNvPr>
          <p:cNvSpPr/>
          <p:nvPr/>
        </p:nvSpPr>
        <p:spPr>
          <a:xfrm>
            <a:off x="4943856" y="3778778"/>
            <a:ext cx="2093976" cy="786384"/>
          </a:xfrm>
          <a:prstGeom prst="rect">
            <a:avLst/>
          </a:prstGeom>
          <a:solidFill>
            <a:srgbClr val="203864"/>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Ambiente QA</a:t>
            </a:r>
            <a:endParaRPr lang="es-PE"/>
          </a:p>
        </p:txBody>
      </p:sp>
      <p:sp>
        <p:nvSpPr>
          <p:cNvPr id="17" name="Flecha: circular 16">
            <a:extLst>
              <a:ext uri="{FF2B5EF4-FFF2-40B4-BE49-F238E27FC236}">
                <a16:creationId xmlns:a16="http://schemas.microsoft.com/office/drawing/2014/main" id="{5DEDBCFB-8141-2DDC-9D72-43CB8E94FC41}"/>
              </a:ext>
            </a:extLst>
          </p:cNvPr>
          <p:cNvSpPr/>
          <p:nvPr/>
        </p:nvSpPr>
        <p:spPr>
          <a:xfrm>
            <a:off x="3697224" y="2576342"/>
            <a:ext cx="1737360" cy="2112264"/>
          </a:xfrm>
          <a:prstGeom prst="circularArrow">
            <a:avLst/>
          </a:prstGeom>
          <a:solidFill>
            <a:schemeClr val="accent5"/>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sp>
        <p:nvSpPr>
          <p:cNvPr id="21" name="Flecha: circular 20">
            <a:extLst>
              <a:ext uri="{FF2B5EF4-FFF2-40B4-BE49-F238E27FC236}">
                <a16:creationId xmlns:a16="http://schemas.microsoft.com/office/drawing/2014/main" id="{07BE006F-0F6F-8CBB-528C-738C4347DA94}"/>
              </a:ext>
            </a:extLst>
          </p:cNvPr>
          <p:cNvSpPr/>
          <p:nvPr/>
        </p:nvSpPr>
        <p:spPr>
          <a:xfrm flipH="1" flipV="1">
            <a:off x="3697224" y="3917462"/>
            <a:ext cx="1755648" cy="1916410"/>
          </a:xfrm>
          <a:prstGeom prst="circularArrow">
            <a:avLst/>
          </a:prstGeom>
          <a:solidFill>
            <a:schemeClr val="accent5"/>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cxnSp>
        <p:nvCxnSpPr>
          <p:cNvPr id="23" name="Conector recto de flecha 22">
            <a:extLst>
              <a:ext uri="{FF2B5EF4-FFF2-40B4-BE49-F238E27FC236}">
                <a16:creationId xmlns:a16="http://schemas.microsoft.com/office/drawing/2014/main" id="{6B78C589-94C1-DA09-6BAE-81CC7844F866}"/>
              </a:ext>
            </a:extLst>
          </p:cNvPr>
          <p:cNvCxnSpPr/>
          <p:nvPr/>
        </p:nvCxnSpPr>
        <p:spPr>
          <a:xfrm>
            <a:off x="5367528" y="2816352"/>
            <a:ext cx="2852928"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Conector recto de flecha 23">
            <a:extLst>
              <a:ext uri="{FF2B5EF4-FFF2-40B4-BE49-F238E27FC236}">
                <a16:creationId xmlns:a16="http://schemas.microsoft.com/office/drawing/2014/main" id="{C9DC6E71-49A0-1EF4-0D51-1DC500674AAB}"/>
              </a:ext>
            </a:extLst>
          </p:cNvPr>
          <p:cNvCxnSpPr/>
          <p:nvPr/>
        </p:nvCxnSpPr>
        <p:spPr>
          <a:xfrm>
            <a:off x="5367528" y="5638800"/>
            <a:ext cx="2852928"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Rectángulo 24">
            <a:extLst>
              <a:ext uri="{FF2B5EF4-FFF2-40B4-BE49-F238E27FC236}">
                <a16:creationId xmlns:a16="http://schemas.microsoft.com/office/drawing/2014/main" id="{7D6F34DE-DDA9-DF70-6AD1-E4F3888CCB99}"/>
              </a:ext>
            </a:extLst>
          </p:cNvPr>
          <p:cNvSpPr/>
          <p:nvPr/>
        </p:nvSpPr>
        <p:spPr>
          <a:xfrm>
            <a:off x="8397240" y="2423160"/>
            <a:ext cx="2093976" cy="786384"/>
          </a:xfrm>
          <a:prstGeom prst="rect">
            <a:avLst/>
          </a:prstGeom>
          <a:solidFill>
            <a:srgbClr val="203864"/>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Pruebas de Instalación</a:t>
            </a:r>
            <a:endParaRPr lang="es-PE"/>
          </a:p>
        </p:txBody>
      </p:sp>
      <p:sp>
        <p:nvSpPr>
          <p:cNvPr id="26" name="Rectángulo 25">
            <a:extLst>
              <a:ext uri="{FF2B5EF4-FFF2-40B4-BE49-F238E27FC236}">
                <a16:creationId xmlns:a16="http://schemas.microsoft.com/office/drawing/2014/main" id="{ABF6D3B5-621E-A0ED-92CE-93D8CF81CD4C}"/>
              </a:ext>
            </a:extLst>
          </p:cNvPr>
          <p:cNvSpPr/>
          <p:nvPr/>
        </p:nvSpPr>
        <p:spPr>
          <a:xfrm>
            <a:off x="8397240" y="5201581"/>
            <a:ext cx="2093976" cy="78638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Pruebas de</a:t>
            </a:r>
          </a:p>
          <a:p>
            <a:pPr algn="ctr"/>
            <a:r>
              <a:rPr lang="es-MX"/>
              <a:t>Rollback</a:t>
            </a:r>
            <a:endParaRPr lang="es-PE"/>
          </a:p>
        </p:txBody>
      </p:sp>
    </p:spTree>
    <p:extLst>
      <p:ext uri="{BB962C8B-B14F-4D97-AF65-F5344CB8AC3E}">
        <p14:creationId xmlns:p14="http://schemas.microsoft.com/office/powerpoint/2010/main" val="32958769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8D76D-D32B-168D-B4FC-836FA3BE17D5}"/>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7976B79A-C68E-5C16-A5C8-CA4AA9A75964}"/>
              </a:ext>
            </a:extLst>
          </p:cNvPr>
          <p:cNvSpPr>
            <a:spLocks noGrp="1"/>
          </p:cNvSpPr>
          <p:nvPr>
            <p:ph type="body" sz="quarter" idx="14"/>
          </p:nvPr>
        </p:nvSpPr>
        <p:spPr/>
        <p:txBody>
          <a:bodyPr/>
          <a:lstStyle/>
          <a:p>
            <a:endParaRPr lang="es-PE"/>
          </a:p>
        </p:txBody>
      </p:sp>
      <p:sp>
        <p:nvSpPr>
          <p:cNvPr id="3" name="Título 2">
            <a:extLst>
              <a:ext uri="{FF2B5EF4-FFF2-40B4-BE49-F238E27FC236}">
                <a16:creationId xmlns:a16="http://schemas.microsoft.com/office/drawing/2014/main" id="{1198524D-59E1-347E-5298-B7DAAE08EEA6}"/>
              </a:ext>
            </a:extLst>
          </p:cNvPr>
          <p:cNvSpPr>
            <a:spLocks noGrp="1"/>
          </p:cNvSpPr>
          <p:nvPr>
            <p:ph type="title"/>
          </p:nvPr>
        </p:nvSpPr>
        <p:spPr/>
        <p:txBody>
          <a:bodyPr/>
          <a:lstStyle/>
          <a:p>
            <a:r>
              <a:rPr lang="es-MX"/>
              <a:t> </a:t>
            </a:r>
            <a:endParaRPr lang="es-PE"/>
          </a:p>
        </p:txBody>
      </p:sp>
      <p:sp>
        <p:nvSpPr>
          <p:cNvPr id="6" name="Title 5">
            <a:extLst>
              <a:ext uri="{FF2B5EF4-FFF2-40B4-BE49-F238E27FC236}">
                <a16:creationId xmlns:a16="http://schemas.microsoft.com/office/drawing/2014/main" id="{150C7335-59FE-4FD5-7656-E27A6FD5740E}"/>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15.4. 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a:solidFill>
                  <a:srgbClr val="203864"/>
                </a:solidFill>
                <a:latin typeface="Santander Headline" panose="020B0504020201020104" pitchFamily="34" charset="0"/>
              </a:rPr>
              <a:t>PRUEBAS DE CONTRATO</a:t>
            </a:r>
            <a:endParaRPr lang="es-MX">
              <a:solidFill>
                <a:srgbClr val="203864"/>
              </a:solidFill>
            </a:endParaRPr>
          </a:p>
        </p:txBody>
      </p:sp>
      <p:sp>
        <p:nvSpPr>
          <p:cNvPr id="2" name="Rectángulo 1">
            <a:extLst>
              <a:ext uri="{FF2B5EF4-FFF2-40B4-BE49-F238E27FC236}">
                <a16:creationId xmlns:a16="http://schemas.microsoft.com/office/drawing/2014/main" id="{72835F01-A4F2-7A66-9BDB-603E9F83A085}"/>
              </a:ext>
            </a:extLst>
          </p:cNvPr>
          <p:cNvSpPr/>
          <p:nvPr/>
        </p:nvSpPr>
        <p:spPr>
          <a:xfrm>
            <a:off x="838200" y="1354667"/>
            <a:ext cx="10337800" cy="1323439"/>
          </a:xfrm>
          <a:prstGeom prst="rect">
            <a:avLst/>
          </a:prstGeom>
        </p:spPr>
        <p:txBody>
          <a:bodyPr wrap="square">
            <a:spAutoFit/>
          </a:bodyPr>
          <a:lstStyle/>
          <a:p>
            <a:r>
              <a:rPr lang="es-MX" sz="2000">
                <a:solidFill>
                  <a:schemeClr val="accent5"/>
                </a:solidFill>
              </a:rPr>
              <a:t>Las pruebas de contrato verifican que la comunicación entre servicios, componentes o </a:t>
            </a:r>
            <a:r>
              <a:rPr lang="es-MX" sz="2000" err="1">
                <a:solidFill>
                  <a:schemeClr val="accent5"/>
                </a:solidFill>
              </a:rPr>
              <a:t>APIs</a:t>
            </a:r>
            <a:r>
              <a:rPr lang="es-MX" sz="2000">
                <a:solidFill>
                  <a:schemeClr val="accent5"/>
                </a:solidFill>
              </a:rPr>
              <a:t> cumplan con los acuerdos establecidos en sus contratos (por ejemplo, el formato de los datos, los tipos de respuesta y los mensajes esperados). </a:t>
            </a:r>
            <a:endParaRPr lang="es-ES" sz="2000"/>
          </a:p>
          <a:p>
            <a:pPr algn="just"/>
            <a:endParaRPr lang="es-ES" sz="2000"/>
          </a:p>
        </p:txBody>
      </p:sp>
      <p:pic>
        <p:nvPicPr>
          <p:cNvPr id="2050" name="Picture 2" descr="Open API (Swagger) Integration | Atlassian Marketplace">
            <a:extLst>
              <a:ext uri="{FF2B5EF4-FFF2-40B4-BE49-F238E27FC236}">
                <a16:creationId xmlns:a16="http://schemas.microsoft.com/office/drawing/2014/main" id="{521C1901-4C69-AC70-5625-2B5247A4D8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99901" y="2678106"/>
            <a:ext cx="6066372" cy="34575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77748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E753CD-9D49-978C-F38D-EADB6A791D4F}"/>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7DEA702A-3423-DA8B-3155-BDB147DC565F}"/>
              </a:ext>
            </a:extLst>
          </p:cNvPr>
          <p:cNvSpPr>
            <a:spLocks noGrp="1"/>
          </p:cNvSpPr>
          <p:nvPr>
            <p:ph type="body" sz="quarter" idx="14"/>
          </p:nvPr>
        </p:nvSpPr>
        <p:spPr/>
        <p:txBody>
          <a:bodyPr/>
          <a:lstStyle/>
          <a:p>
            <a:endParaRPr lang="es-PE"/>
          </a:p>
        </p:txBody>
      </p:sp>
      <p:sp>
        <p:nvSpPr>
          <p:cNvPr id="6" name="Rectángulo 5">
            <a:extLst>
              <a:ext uri="{FF2B5EF4-FFF2-40B4-BE49-F238E27FC236}">
                <a16:creationId xmlns:a16="http://schemas.microsoft.com/office/drawing/2014/main" id="{2F7258A6-BB8B-4AD4-C000-01CA48744956}"/>
              </a:ext>
            </a:extLst>
          </p:cNvPr>
          <p:cNvSpPr/>
          <p:nvPr/>
        </p:nvSpPr>
        <p:spPr>
          <a:xfrm>
            <a:off x="550864" y="1073947"/>
            <a:ext cx="11204986" cy="646331"/>
          </a:xfrm>
          <a:prstGeom prst="rect">
            <a:avLst/>
          </a:prstGeom>
        </p:spPr>
        <p:txBody>
          <a:bodyPr wrap="square">
            <a:spAutoFit/>
          </a:bodyPr>
          <a:lstStyle/>
          <a:p>
            <a:r>
              <a:rPr lang="es-MX">
                <a:solidFill>
                  <a:schemeClr val="accent5"/>
                </a:solidFill>
              </a:rPr>
              <a:t>Establecer un proceso de aseguramiento de calidad, permite integrar actividades de QA en paralelo a cada etapa clave del desarrollo.</a:t>
            </a:r>
            <a:endParaRPr kumimoji="0" lang="es-MX" i="0" u="none" strike="noStrike" kern="1200" cap="none" spc="0" normalizeH="0" baseline="0" noProof="0">
              <a:ln>
                <a:noFill/>
              </a:ln>
              <a:solidFill>
                <a:schemeClr val="accent5"/>
              </a:solidFill>
              <a:effectLst/>
              <a:uLnTx/>
              <a:uFillTx/>
              <a:latin typeface="Santander Headline"/>
              <a:ea typeface="+mn-ea"/>
              <a:cs typeface="+mn-cs"/>
            </a:endParaRPr>
          </a:p>
        </p:txBody>
      </p:sp>
      <p:sp>
        <p:nvSpPr>
          <p:cNvPr id="2" name="Rectángulo 1">
            <a:extLst>
              <a:ext uri="{FF2B5EF4-FFF2-40B4-BE49-F238E27FC236}">
                <a16:creationId xmlns:a16="http://schemas.microsoft.com/office/drawing/2014/main" id="{AE375866-18E1-E0F5-1E30-E00E40D390BA}"/>
              </a:ext>
            </a:extLst>
          </p:cNvPr>
          <p:cNvSpPr/>
          <p:nvPr/>
        </p:nvSpPr>
        <p:spPr>
          <a:xfrm>
            <a:off x="704088" y="1915531"/>
            <a:ext cx="4041648" cy="4366397"/>
          </a:xfrm>
          <a:prstGeom prst="rect">
            <a:avLst/>
          </a:prstGeom>
          <a:solidFill>
            <a:srgbClr val="DEED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3" name="CuadroTexto 22">
            <a:extLst>
              <a:ext uri="{FF2B5EF4-FFF2-40B4-BE49-F238E27FC236}">
                <a16:creationId xmlns:a16="http://schemas.microsoft.com/office/drawing/2014/main" id="{FD4D7D34-95C6-9D4D-F18E-02A268008392}"/>
              </a:ext>
            </a:extLst>
          </p:cNvPr>
          <p:cNvSpPr txBox="1"/>
          <p:nvPr/>
        </p:nvSpPr>
        <p:spPr>
          <a:xfrm>
            <a:off x="1724157" y="1927903"/>
            <a:ext cx="6789420" cy="369332"/>
          </a:xfrm>
          <a:prstGeom prst="rect">
            <a:avLst/>
          </a:prstGeom>
          <a:noFill/>
        </p:spPr>
        <p:txBody>
          <a:bodyPr wrap="square">
            <a:spAutoFit/>
          </a:bodyPr>
          <a:lstStyle/>
          <a:p>
            <a:r>
              <a:rPr lang="es-PE" b="1">
                <a:solidFill>
                  <a:schemeClr val="tx2"/>
                </a:solidFill>
              </a:rPr>
              <a:t>BUILDING BLOCKS</a:t>
            </a:r>
          </a:p>
        </p:txBody>
      </p:sp>
      <p:grpSp>
        <p:nvGrpSpPr>
          <p:cNvPr id="98" name="Grupo 97">
            <a:extLst>
              <a:ext uri="{FF2B5EF4-FFF2-40B4-BE49-F238E27FC236}">
                <a16:creationId xmlns:a16="http://schemas.microsoft.com/office/drawing/2014/main" id="{53A1993A-3ADC-917A-CD33-7557AEE51CCF}"/>
              </a:ext>
            </a:extLst>
          </p:cNvPr>
          <p:cNvGrpSpPr/>
          <p:nvPr/>
        </p:nvGrpSpPr>
        <p:grpSpPr>
          <a:xfrm>
            <a:off x="769815" y="2405455"/>
            <a:ext cx="4349052" cy="922899"/>
            <a:chOff x="975360" y="2368296"/>
            <a:chExt cx="4349052" cy="922899"/>
          </a:xfrm>
        </p:grpSpPr>
        <p:pic>
          <p:nvPicPr>
            <p:cNvPr id="5" name="Gráfico 4" descr="Usuario con relleno sólido">
              <a:extLst>
                <a:ext uri="{FF2B5EF4-FFF2-40B4-BE49-F238E27FC236}">
                  <a16:creationId xmlns:a16="http://schemas.microsoft.com/office/drawing/2014/main" id="{A9A7C89E-C3BF-BC7B-1FA3-D8BD33F1C0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5360" y="2368296"/>
              <a:ext cx="540000" cy="540000"/>
            </a:xfrm>
            <a:prstGeom prst="rect">
              <a:avLst/>
            </a:prstGeom>
          </p:spPr>
        </p:pic>
        <p:pic>
          <p:nvPicPr>
            <p:cNvPr id="7" name="Gráfico 6" descr="Usuario con relleno sólido">
              <a:extLst>
                <a:ext uri="{FF2B5EF4-FFF2-40B4-BE49-F238E27FC236}">
                  <a16:creationId xmlns:a16="http://schemas.microsoft.com/office/drawing/2014/main" id="{DB1AB2E7-A75B-01E5-67CD-147F7B5433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16372" y="2368296"/>
              <a:ext cx="540000" cy="540000"/>
            </a:xfrm>
            <a:prstGeom prst="rect">
              <a:avLst/>
            </a:prstGeom>
          </p:spPr>
        </p:pic>
        <p:pic>
          <p:nvPicPr>
            <p:cNvPr id="9" name="Gráfico 8" descr="Usuario con relleno sólido">
              <a:extLst>
                <a:ext uri="{FF2B5EF4-FFF2-40B4-BE49-F238E27FC236}">
                  <a16:creationId xmlns:a16="http://schemas.microsoft.com/office/drawing/2014/main" id="{678F1243-6C23-EDF8-D34C-860313BF34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57384" y="2368296"/>
              <a:ext cx="540000" cy="540000"/>
            </a:xfrm>
            <a:prstGeom prst="rect">
              <a:avLst/>
            </a:prstGeom>
          </p:spPr>
        </p:pic>
        <p:pic>
          <p:nvPicPr>
            <p:cNvPr id="10" name="Gráfico 9" descr="Usuario con relleno sólido">
              <a:extLst>
                <a:ext uri="{FF2B5EF4-FFF2-40B4-BE49-F238E27FC236}">
                  <a16:creationId xmlns:a16="http://schemas.microsoft.com/office/drawing/2014/main" id="{7394389E-1056-112A-B071-8D668EE4BD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79904" y="2368296"/>
              <a:ext cx="540000" cy="540000"/>
            </a:xfrm>
            <a:prstGeom prst="rect">
              <a:avLst/>
            </a:prstGeom>
          </p:spPr>
        </p:pic>
        <p:pic>
          <p:nvPicPr>
            <p:cNvPr id="11" name="Gráfico 10" descr="Usuario con relleno sólido">
              <a:extLst>
                <a:ext uri="{FF2B5EF4-FFF2-40B4-BE49-F238E27FC236}">
                  <a16:creationId xmlns:a16="http://schemas.microsoft.com/office/drawing/2014/main" id="{E9038C83-4FCD-A36A-C24E-E4B248143A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20916" y="2368296"/>
              <a:ext cx="540000" cy="540000"/>
            </a:xfrm>
            <a:prstGeom prst="rect">
              <a:avLst/>
            </a:prstGeom>
          </p:spPr>
        </p:pic>
        <p:pic>
          <p:nvPicPr>
            <p:cNvPr id="12" name="Gráfico 11" descr="Usuario con relleno sólido">
              <a:extLst>
                <a:ext uri="{FF2B5EF4-FFF2-40B4-BE49-F238E27FC236}">
                  <a16:creationId xmlns:a16="http://schemas.microsoft.com/office/drawing/2014/main" id="{BF0743F5-E9BF-02D7-2495-BAD24C6E59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61928" y="2368296"/>
              <a:ext cx="540000" cy="540000"/>
            </a:xfrm>
            <a:prstGeom prst="rect">
              <a:avLst/>
            </a:prstGeom>
          </p:spPr>
        </p:pic>
        <p:pic>
          <p:nvPicPr>
            <p:cNvPr id="20" name="Gráfico 19" descr="Usuario con relleno sólido">
              <a:extLst>
                <a:ext uri="{FF2B5EF4-FFF2-40B4-BE49-F238E27FC236}">
                  <a16:creationId xmlns:a16="http://schemas.microsoft.com/office/drawing/2014/main" id="{BFD3A1D8-7283-3130-9658-B4479ED720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84448" y="2368296"/>
              <a:ext cx="540000" cy="540000"/>
            </a:xfrm>
            <a:prstGeom prst="rect">
              <a:avLst/>
            </a:prstGeom>
          </p:spPr>
        </p:pic>
        <p:pic>
          <p:nvPicPr>
            <p:cNvPr id="21" name="Gráfico 20" descr="Usuario con relleno sólido">
              <a:extLst>
                <a:ext uri="{FF2B5EF4-FFF2-40B4-BE49-F238E27FC236}">
                  <a16:creationId xmlns:a16="http://schemas.microsoft.com/office/drawing/2014/main" id="{CAE913E2-3218-E815-A281-284D64A2648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25460" y="2368296"/>
              <a:ext cx="540000" cy="540000"/>
            </a:xfrm>
            <a:prstGeom prst="rect">
              <a:avLst/>
            </a:prstGeom>
          </p:spPr>
        </p:pic>
        <p:sp>
          <p:nvSpPr>
            <p:cNvPr id="24" name="CuadroTexto 23">
              <a:extLst>
                <a:ext uri="{FF2B5EF4-FFF2-40B4-BE49-F238E27FC236}">
                  <a16:creationId xmlns:a16="http://schemas.microsoft.com/office/drawing/2014/main" id="{DB87A5D2-3211-C7FE-7BE9-3FAB815E2BA1}"/>
                </a:ext>
              </a:extLst>
            </p:cNvPr>
            <p:cNvSpPr txBox="1"/>
            <p:nvPr/>
          </p:nvSpPr>
          <p:spPr>
            <a:xfrm>
              <a:off x="1055184" y="2732642"/>
              <a:ext cx="1517904" cy="540000"/>
            </a:xfrm>
            <a:prstGeom prst="rect">
              <a:avLst/>
            </a:prstGeom>
          </p:spPr>
          <p:txBody>
            <a:bodyPr vert="horz" wrap="square" lIns="0" tIns="180000" rIns="0" bIns="0" rtlCol="0" anchor="ctr">
              <a:noAutofit/>
            </a:bodyPr>
            <a:lstStyle/>
            <a:p>
              <a:pPr>
                <a:spcBef>
                  <a:spcPts val="1200"/>
                </a:spcBef>
                <a:spcAft>
                  <a:spcPts val="1200"/>
                </a:spcAft>
                <a:buClr>
                  <a:schemeClr val="accent4"/>
                </a:buClr>
              </a:pPr>
              <a:r>
                <a:rPr lang="es-MX" sz="1600" b="1">
                  <a:solidFill>
                    <a:srgbClr val="0070C0"/>
                  </a:solidFill>
                </a:rPr>
                <a:t>Tribe</a:t>
              </a:r>
              <a:br>
                <a:rPr lang="es-MX" sz="1600" b="1">
                  <a:solidFill>
                    <a:srgbClr val="0070C0"/>
                  </a:solidFill>
                </a:rPr>
              </a:br>
              <a:r>
                <a:rPr lang="es-MX" sz="1600" b="1">
                  <a:solidFill>
                    <a:srgbClr val="0070C0"/>
                  </a:solidFill>
                </a:rPr>
                <a:t>Lead</a:t>
              </a:r>
              <a:endParaRPr lang="es-PE" sz="1600" b="1">
                <a:solidFill>
                  <a:srgbClr val="0070C0"/>
                </a:solidFill>
              </a:endParaRPr>
            </a:p>
          </p:txBody>
        </p:sp>
        <p:sp>
          <p:nvSpPr>
            <p:cNvPr id="25" name="CuadroTexto 24">
              <a:extLst>
                <a:ext uri="{FF2B5EF4-FFF2-40B4-BE49-F238E27FC236}">
                  <a16:creationId xmlns:a16="http://schemas.microsoft.com/office/drawing/2014/main" id="{6D68F0C8-5956-4A44-B180-5A649AC8DA88}"/>
                </a:ext>
              </a:extLst>
            </p:cNvPr>
            <p:cNvSpPr txBox="1"/>
            <p:nvPr/>
          </p:nvSpPr>
          <p:spPr>
            <a:xfrm>
              <a:off x="3806508" y="2751195"/>
              <a:ext cx="1517904" cy="540000"/>
            </a:xfrm>
            <a:prstGeom prst="rect">
              <a:avLst/>
            </a:prstGeom>
          </p:spPr>
          <p:txBody>
            <a:bodyPr vert="horz" wrap="square" lIns="0" tIns="180000" rIns="0" bIns="0" rtlCol="0" anchor="ctr">
              <a:noAutofit/>
            </a:bodyPr>
            <a:lstStyle/>
            <a:p>
              <a:pPr marL="285750" indent="-285750">
                <a:spcBef>
                  <a:spcPts val="1200"/>
                </a:spcBef>
                <a:spcAft>
                  <a:spcPts val="1200"/>
                </a:spcAft>
                <a:buClr>
                  <a:schemeClr val="accent4"/>
                </a:buClr>
                <a:buFont typeface="Wingdings 3" panose="05040102010807070707" pitchFamily="18" charset="2"/>
                <a:buChar char="}"/>
              </a:pPr>
              <a:r>
                <a:rPr lang="es-MX" sz="1600" b="1">
                  <a:solidFill>
                    <a:schemeClr val="tx2"/>
                  </a:solidFill>
                </a:rPr>
                <a:t>Quality</a:t>
              </a:r>
              <a:br>
                <a:rPr lang="es-MX" sz="1600" b="1">
                  <a:solidFill>
                    <a:schemeClr val="tx2"/>
                  </a:solidFill>
                </a:rPr>
              </a:br>
              <a:r>
                <a:rPr lang="es-MX" sz="1600" b="1">
                  <a:solidFill>
                    <a:schemeClr val="tx2"/>
                  </a:solidFill>
                </a:rPr>
                <a:t>Lead</a:t>
              </a:r>
              <a:endParaRPr lang="es-PE" sz="1600" b="1">
                <a:solidFill>
                  <a:schemeClr val="tx2"/>
                </a:solidFill>
              </a:endParaRPr>
            </a:p>
          </p:txBody>
        </p:sp>
      </p:grpSp>
      <p:grpSp>
        <p:nvGrpSpPr>
          <p:cNvPr id="34" name="Grupo 33">
            <a:extLst>
              <a:ext uri="{FF2B5EF4-FFF2-40B4-BE49-F238E27FC236}">
                <a16:creationId xmlns:a16="http://schemas.microsoft.com/office/drawing/2014/main" id="{B57EAEEE-1152-942B-C2DC-8A8D9A01A62F}"/>
              </a:ext>
            </a:extLst>
          </p:cNvPr>
          <p:cNvGrpSpPr/>
          <p:nvPr/>
        </p:nvGrpSpPr>
        <p:grpSpPr>
          <a:xfrm>
            <a:off x="838080" y="3698847"/>
            <a:ext cx="1289304" cy="1140192"/>
            <a:chOff x="7406640" y="2368296"/>
            <a:chExt cx="2480706" cy="2193804"/>
          </a:xfrm>
        </p:grpSpPr>
        <p:sp>
          <p:nvSpPr>
            <p:cNvPr id="26" name="Elipse 25">
              <a:extLst>
                <a:ext uri="{FF2B5EF4-FFF2-40B4-BE49-F238E27FC236}">
                  <a16:creationId xmlns:a16="http://schemas.microsoft.com/office/drawing/2014/main" id="{2A23E64C-5F86-1A0C-B038-0CC2A206509D}"/>
                </a:ext>
              </a:extLst>
            </p:cNvPr>
            <p:cNvSpPr/>
            <p:nvPr/>
          </p:nvSpPr>
          <p:spPr>
            <a:xfrm>
              <a:off x="7406640" y="2368296"/>
              <a:ext cx="2193804" cy="2193804"/>
            </a:xfrm>
            <a:prstGeom prst="ellipse">
              <a:avLst/>
            </a:prstGeom>
            <a:solidFill>
              <a:srgbClr val="DEEDF1"/>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pic>
          <p:nvPicPr>
            <p:cNvPr id="27" name="Gráfico 26" descr="Usuario con relleno sólido">
              <a:extLst>
                <a:ext uri="{FF2B5EF4-FFF2-40B4-BE49-F238E27FC236}">
                  <a16:creationId xmlns:a16="http://schemas.microsoft.com/office/drawing/2014/main" id="{0C35CEC5-DC96-E225-2E1A-0024A5ACE5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33542" y="2376982"/>
              <a:ext cx="540000" cy="540000"/>
            </a:xfrm>
            <a:prstGeom prst="rect">
              <a:avLst/>
            </a:prstGeom>
          </p:spPr>
        </p:pic>
        <p:pic>
          <p:nvPicPr>
            <p:cNvPr id="28" name="Gráfico 27" descr="Usuario con relleno sólido">
              <a:extLst>
                <a:ext uri="{FF2B5EF4-FFF2-40B4-BE49-F238E27FC236}">
                  <a16:creationId xmlns:a16="http://schemas.microsoft.com/office/drawing/2014/main" id="{D8135288-0D1A-D026-A1BC-18F427B9189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33542" y="3592936"/>
              <a:ext cx="540000" cy="540000"/>
            </a:xfrm>
            <a:prstGeom prst="rect">
              <a:avLst/>
            </a:prstGeom>
          </p:spPr>
        </p:pic>
        <p:pic>
          <p:nvPicPr>
            <p:cNvPr id="29" name="Gráfico 28" descr="Usuario con relleno sólido">
              <a:extLst>
                <a:ext uri="{FF2B5EF4-FFF2-40B4-BE49-F238E27FC236}">
                  <a16:creationId xmlns:a16="http://schemas.microsoft.com/office/drawing/2014/main" id="{7F484ABC-109F-0877-5757-056B9943FA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06640" y="3159000"/>
              <a:ext cx="540000" cy="540000"/>
            </a:xfrm>
            <a:prstGeom prst="rect">
              <a:avLst/>
            </a:prstGeom>
          </p:spPr>
        </p:pic>
        <p:pic>
          <p:nvPicPr>
            <p:cNvPr id="30" name="Gráfico 29" descr="Usuario con relleno sólido">
              <a:extLst>
                <a:ext uri="{FF2B5EF4-FFF2-40B4-BE49-F238E27FC236}">
                  <a16:creationId xmlns:a16="http://schemas.microsoft.com/office/drawing/2014/main" id="{0E903D09-C1CB-E27C-E5F2-F09434BB6D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60444" y="3195198"/>
              <a:ext cx="540000" cy="540000"/>
            </a:xfrm>
            <a:prstGeom prst="rect">
              <a:avLst/>
            </a:prstGeom>
          </p:spPr>
        </p:pic>
        <p:pic>
          <p:nvPicPr>
            <p:cNvPr id="31" name="Gráfico 30" descr="Usuario con relleno sólido">
              <a:extLst>
                <a:ext uri="{FF2B5EF4-FFF2-40B4-BE49-F238E27FC236}">
                  <a16:creationId xmlns:a16="http://schemas.microsoft.com/office/drawing/2014/main" id="{3AA98793-CEAE-C1AA-A5F9-605F2805C9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76640" y="2638296"/>
              <a:ext cx="540000" cy="540000"/>
            </a:xfrm>
            <a:prstGeom prst="rect">
              <a:avLst/>
            </a:prstGeom>
          </p:spPr>
        </p:pic>
        <p:pic>
          <p:nvPicPr>
            <p:cNvPr id="32" name="Gráfico 31" descr="Usuario con relleno sólido">
              <a:extLst>
                <a:ext uri="{FF2B5EF4-FFF2-40B4-BE49-F238E27FC236}">
                  <a16:creationId xmlns:a16="http://schemas.microsoft.com/office/drawing/2014/main" id="{761E20C3-3D46-C46B-6A13-5898210E00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90444" y="2619000"/>
              <a:ext cx="540000" cy="540000"/>
            </a:xfrm>
            <a:prstGeom prst="rect">
              <a:avLst/>
            </a:prstGeom>
          </p:spPr>
        </p:pic>
        <p:sp>
          <p:nvSpPr>
            <p:cNvPr id="33" name="CuadroTexto 32">
              <a:extLst>
                <a:ext uri="{FF2B5EF4-FFF2-40B4-BE49-F238E27FC236}">
                  <a16:creationId xmlns:a16="http://schemas.microsoft.com/office/drawing/2014/main" id="{93BEE48E-60C4-F4C6-2CED-12FA5E7A5891}"/>
                </a:ext>
              </a:extLst>
            </p:cNvPr>
            <p:cNvSpPr txBox="1"/>
            <p:nvPr/>
          </p:nvSpPr>
          <p:spPr>
            <a:xfrm>
              <a:off x="8369442" y="3843216"/>
              <a:ext cx="1517904" cy="540000"/>
            </a:xfrm>
            <a:prstGeom prst="rect">
              <a:avLst/>
            </a:prstGeom>
          </p:spPr>
          <p:txBody>
            <a:bodyPr vert="horz" wrap="square" lIns="0" tIns="180000" rIns="0" bIns="0" rtlCol="0" anchor="ctr">
              <a:noAutofit/>
            </a:bodyPr>
            <a:lstStyle/>
            <a:p>
              <a:pPr>
                <a:spcBef>
                  <a:spcPts val="1200"/>
                </a:spcBef>
                <a:spcAft>
                  <a:spcPts val="1200"/>
                </a:spcAft>
                <a:buClr>
                  <a:schemeClr val="accent4"/>
                </a:buClr>
              </a:pPr>
              <a:r>
                <a:rPr lang="es-MX" sz="1600" b="1">
                  <a:solidFill>
                    <a:schemeClr val="tx2"/>
                  </a:solidFill>
                </a:rPr>
                <a:t>QE</a:t>
              </a:r>
              <a:endParaRPr lang="es-PE" sz="1600" b="1">
                <a:solidFill>
                  <a:schemeClr val="tx2"/>
                </a:solidFill>
              </a:endParaRPr>
            </a:p>
          </p:txBody>
        </p:sp>
      </p:grpSp>
      <p:grpSp>
        <p:nvGrpSpPr>
          <p:cNvPr id="35" name="Grupo 34">
            <a:extLst>
              <a:ext uri="{FF2B5EF4-FFF2-40B4-BE49-F238E27FC236}">
                <a16:creationId xmlns:a16="http://schemas.microsoft.com/office/drawing/2014/main" id="{2E66ECDB-7D47-7891-4462-292AD857433F}"/>
              </a:ext>
            </a:extLst>
          </p:cNvPr>
          <p:cNvGrpSpPr/>
          <p:nvPr/>
        </p:nvGrpSpPr>
        <p:grpSpPr>
          <a:xfrm>
            <a:off x="2100072" y="3730037"/>
            <a:ext cx="1289304" cy="1140192"/>
            <a:chOff x="7406640" y="2368296"/>
            <a:chExt cx="2480706" cy="2193804"/>
          </a:xfrm>
        </p:grpSpPr>
        <p:sp>
          <p:nvSpPr>
            <p:cNvPr id="36" name="Elipse 35">
              <a:extLst>
                <a:ext uri="{FF2B5EF4-FFF2-40B4-BE49-F238E27FC236}">
                  <a16:creationId xmlns:a16="http://schemas.microsoft.com/office/drawing/2014/main" id="{9D9FC166-AA58-6A21-F204-353BBF4D6D1A}"/>
                </a:ext>
              </a:extLst>
            </p:cNvPr>
            <p:cNvSpPr/>
            <p:nvPr/>
          </p:nvSpPr>
          <p:spPr>
            <a:xfrm>
              <a:off x="7406640" y="2368296"/>
              <a:ext cx="2193804" cy="2193804"/>
            </a:xfrm>
            <a:prstGeom prst="ellipse">
              <a:avLst/>
            </a:prstGeom>
            <a:solidFill>
              <a:srgbClr val="DEEDF1"/>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pic>
          <p:nvPicPr>
            <p:cNvPr id="37" name="Gráfico 36" descr="Usuario con relleno sólido">
              <a:extLst>
                <a:ext uri="{FF2B5EF4-FFF2-40B4-BE49-F238E27FC236}">
                  <a16:creationId xmlns:a16="http://schemas.microsoft.com/office/drawing/2014/main" id="{EFEB24E5-B282-51E5-2F31-880749C706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33542" y="2376982"/>
              <a:ext cx="540000" cy="540000"/>
            </a:xfrm>
            <a:prstGeom prst="rect">
              <a:avLst/>
            </a:prstGeom>
          </p:spPr>
        </p:pic>
        <p:pic>
          <p:nvPicPr>
            <p:cNvPr id="38" name="Gráfico 37" descr="Usuario con relleno sólido">
              <a:extLst>
                <a:ext uri="{FF2B5EF4-FFF2-40B4-BE49-F238E27FC236}">
                  <a16:creationId xmlns:a16="http://schemas.microsoft.com/office/drawing/2014/main" id="{758F55CC-3E58-0D74-B5A6-297D341908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33542" y="3592936"/>
              <a:ext cx="540000" cy="540000"/>
            </a:xfrm>
            <a:prstGeom prst="rect">
              <a:avLst/>
            </a:prstGeom>
          </p:spPr>
        </p:pic>
        <p:pic>
          <p:nvPicPr>
            <p:cNvPr id="39" name="Gráfico 38" descr="Usuario con relleno sólido">
              <a:extLst>
                <a:ext uri="{FF2B5EF4-FFF2-40B4-BE49-F238E27FC236}">
                  <a16:creationId xmlns:a16="http://schemas.microsoft.com/office/drawing/2014/main" id="{E59C1801-26EC-88DF-34F2-CFB418E1DD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06640" y="3159000"/>
              <a:ext cx="540000" cy="540000"/>
            </a:xfrm>
            <a:prstGeom prst="rect">
              <a:avLst/>
            </a:prstGeom>
          </p:spPr>
        </p:pic>
        <p:pic>
          <p:nvPicPr>
            <p:cNvPr id="40" name="Gráfico 39" descr="Usuario con relleno sólido">
              <a:extLst>
                <a:ext uri="{FF2B5EF4-FFF2-40B4-BE49-F238E27FC236}">
                  <a16:creationId xmlns:a16="http://schemas.microsoft.com/office/drawing/2014/main" id="{861889C0-B768-B13D-D7C4-E0CAF66F11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60444" y="3195198"/>
              <a:ext cx="540000" cy="540000"/>
            </a:xfrm>
            <a:prstGeom prst="rect">
              <a:avLst/>
            </a:prstGeom>
          </p:spPr>
        </p:pic>
        <p:pic>
          <p:nvPicPr>
            <p:cNvPr id="41" name="Gráfico 40" descr="Usuario con relleno sólido">
              <a:extLst>
                <a:ext uri="{FF2B5EF4-FFF2-40B4-BE49-F238E27FC236}">
                  <a16:creationId xmlns:a16="http://schemas.microsoft.com/office/drawing/2014/main" id="{BFF08E6A-244E-0623-C376-898891C82D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76640" y="2638296"/>
              <a:ext cx="540000" cy="540000"/>
            </a:xfrm>
            <a:prstGeom prst="rect">
              <a:avLst/>
            </a:prstGeom>
          </p:spPr>
        </p:pic>
        <p:pic>
          <p:nvPicPr>
            <p:cNvPr id="42" name="Gráfico 41" descr="Usuario con relleno sólido">
              <a:extLst>
                <a:ext uri="{FF2B5EF4-FFF2-40B4-BE49-F238E27FC236}">
                  <a16:creationId xmlns:a16="http://schemas.microsoft.com/office/drawing/2014/main" id="{472F3A0A-5E34-2A51-334E-1E3876F74A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90444" y="2619000"/>
              <a:ext cx="540000" cy="540000"/>
            </a:xfrm>
            <a:prstGeom prst="rect">
              <a:avLst/>
            </a:prstGeom>
          </p:spPr>
        </p:pic>
        <p:sp>
          <p:nvSpPr>
            <p:cNvPr id="43" name="CuadroTexto 42">
              <a:extLst>
                <a:ext uri="{FF2B5EF4-FFF2-40B4-BE49-F238E27FC236}">
                  <a16:creationId xmlns:a16="http://schemas.microsoft.com/office/drawing/2014/main" id="{6E299C33-7CF1-67D7-3F2D-59D76DAEFBBC}"/>
                </a:ext>
              </a:extLst>
            </p:cNvPr>
            <p:cNvSpPr txBox="1"/>
            <p:nvPr/>
          </p:nvSpPr>
          <p:spPr>
            <a:xfrm>
              <a:off x="8369442" y="3843216"/>
              <a:ext cx="1517904" cy="540000"/>
            </a:xfrm>
            <a:prstGeom prst="rect">
              <a:avLst/>
            </a:prstGeom>
          </p:spPr>
          <p:txBody>
            <a:bodyPr vert="horz" wrap="square" lIns="0" tIns="180000" rIns="0" bIns="0" rtlCol="0" anchor="ctr">
              <a:noAutofit/>
            </a:bodyPr>
            <a:lstStyle/>
            <a:p>
              <a:pPr>
                <a:spcBef>
                  <a:spcPts val="1200"/>
                </a:spcBef>
                <a:spcAft>
                  <a:spcPts val="1200"/>
                </a:spcAft>
                <a:buClr>
                  <a:schemeClr val="accent4"/>
                </a:buClr>
              </a:pPr>
              <a:r>
                <a:rPr lang="es-MX" sz="1600" b="1">
                  <a:solidFill>
                    <a:schemeClr val="tx2"/>
                  </a:solidFill>
                </a:rPr>
                <a:t>QE</a:t>
              </a:r>
              <a:endParaRPr lang="es-PE" sz="1600" b="1">
                <a:solidFill>
                  <a:schemeClr val="tx2"/>
                </a:solidFill>
              </a:endParaRPr>
            </a:p>
          </p:txBody>
        </p:sp>
      </p:grpSp>
      <p:grpSp>
        <p:nvGrpSpPr>
          <p:cNvPr id="44" name="Grupo 43">
            <a:extLst>
              <a:ext uri="{FF2B5EF4-FFF2-40B4-BE49-F238E27FC236}">
                <a16:creationId xmlns:a16="http://schemas.microsoft.com/office/drawing/2014/main" id="{76A3FC94-0D42-9BB3-BCA3-72BCB8D69942}"/>
              </a:ext>
            </a:extLst>
          </p:cNvPr>
          <p:cNvGrpSpPr/>
          <p:nvPr/>
        </p:nvGrpSpPr>
        <p:grpSpPr>
          <a:xfrm>
            <a:off x="3362064" y="3730037"/>
            <a:ext cx="1289304" cy="1140192"/>
            <a:chOff x="7406640" y="2368296"/>
            <a:chExt cx="2480706" cy="2193804"/>
          </a:xfrm>
        </p:grpSpPr>
        <p:sp>
          <p:nvSpPr>
            <p:cNvPr id="45" name="Elipse 44">
              <a:extLst>
                <a:ext uri="{FF2B5EF4-FFF2-40B4-BE49-F238E27FC236}">
                  <a16:creationId xmlns:a16="http://schemas.microsoft.com/office/drawing/2014/main" id="{59E7DDF9-414C-C319-C590-13FEF5F013FD}"/>
                </a:ext>
              </a:extLst>
            </p:cNvPr>
            <p:cNvSpPr/>
            <p:nvPr/>
          </p:nvSpPr>
          <p:spPr>
            <a:xfrm>
              <a:off x="7406640" y="2368296"/>
              <a:ext cx="2193804" cy="2193804"/>
            </a:xfrm>
            <a:prstGeom prst="ellipse">
              <a:avLst/>
            </a:prstGeom>
            <a:solidFill>
              <a:srgbClr val="DEEDF1"/>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pic>
          <p:nvPicPr>
            <p:cNvPr id="46" name="Gráfico 45" descr="Usuario con relleno sólido">
              <a:extLst>
                <a:ext uri="{FF2B5EF4-FFF2-40B4-BE49-F238E27FC236}">
                  <a16:creationId xmlns:a16="http://schemas.microsoft.com/office/drawing/2014/main" id="{52FD2F07-5CFD-3592-132B-4D08C19227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33542" y="2376982"/>
              <a:ext cx="540000" cy="540000"/>
            </a:xfrm>
            <a:prstGeom prst="rect">
              <a:avLst/>
            </a:prstGeom>
          </p:spPr>
        </p:pic>
        <p:pic>
          <p:nvPicPr>
            <p:cNvPr id="47" name="Gráfico 46" descr="Usuario con relleno sólido">
              <a:extLst>
                <a:ext uri="{FF2B5EF4-FFF2-40B4-BE49-F238E27FC236}">
                  <a16:creationId xmlns:a16="http://schemas.microsoft.com/office/drawing/2014/main" id="{97CA5F6E-708C-3999-69E9-700140E9D7E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33542" y="3592936"/>
              <a:ext cx="540000" cy="540000"/>
            </a:xfrm>
            <a:prstGeom prst="rect">
              <a:avLst/>
            </a:prstGeom>
          </p:spPr>
        </p:pic>
        <p:pic>
          <p:nvPicPr>
            <p:cNvPr id="48" name="Gráfico 47" descr="Usuario con relleno sólido">
              <a:extLst>
                <a:ext uri="{FF2B5EF4-FFF2-40B4-BE49-F238E27FC236}">
                  <a16:creationId xmlns:a16="http://schemas.microsoft.com/office/drawing/2014/main" id="{64C16D1B-9120-F648-49D4-B9EAD9D3B3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06640" y="3159000"/>
              <a:ext cx="540000" cy="540000"/>
            </a:xfrm>
            <a:prstGeom prst="rect">
              <a:avLst/>
            </a:prstGeom>
          </p:spPr>
        </p:pic>
        <p:pic>
          <p:nvPicPr>
            <p:cNvPr id="49" name="Gráfico 48" descr="Usuario con relleno sólido">
              <a:extLst>
                <a:ext uri="{FF2B5EF4-FFF2-40B4-BE49-F238E27FC236}">
                  <a16:creationId xmlns:a16="http://schemas.microsoft.com/office/drawing/2014/main" id="{126C11CF-9315-06EF-F4AF-BD5E403892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60444" y="3195198"/>
              <a:ext cx="540000" cy="540000"/>
            </a:xfrm>
            <a:prstGeom prst="rect">
              <a:avLst/>
            </a:prstGeom>
          </p:spPr>
        </p:pic>
        <p:pic>
          <p:nvPicPr>
            <p:cNvPr id="50" name="Gráfico 49" descr="Usuario con relleno sólido">
              <a:extLst>
                <a:ext uri="{FF2B5EF4-FFF2-40B4-BE49-F238E27FC236}">
                  <a16:creationId xmlns:a16="http://schemas.microsoft.com/office/drawing/2014/main" id="{0A95ECF3-9B7C-D6BE-D2DD-5FC43DCE18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76640" y="2638296"/>
              <a:ext cx="540000" cy="540000"/>
            </a:xfrm>
            <a:prstGeom prst="rect">
              <a:avLst/>
            </a:prstGeom>
          </p:spPr>
        </p:pic>
        <p:pic>
          <p:nvPicPr>
            <p:cNvPr id="51" name="Gráfico 50" descr="Usuario con relleno sólido">
              <a:extLst>
                <a:ext uri="{FF2B5EF4-FFF2-40B4-BE49-F238E27FC236}">
                  <a16:creationId xmlns:a16="http://schemas.microsoft.com/office/drawing/2014/main" id="{58C01A22-1D14-BFC1-5B3B-44E8DF7379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90444" y="2619000"/>
              <a:ext cx="540000" cy="540000"/>
            </a:xfrm>
            <a:prstGeom prst="rect">
              <a:avLst/>
            </a:prstGeom>
          </p:spPr>
        </p:pic>
        <p:sp>
          <p:nvSpPr>
            <p:cNvPr id="52" name="CuadroTexto 51">
              <a:extLst>
                <a:ext uri="{FF2B5EF4-FFF2-40B4-BE49-F238E27FC236}">
                  <a16:creationId xmlns:a16="http://schemas.microsoft.com/office/drawing/2014/main" id="{8B6CC152-91C0-9AC1-C596-2D9F310874E6}"/>
                </a:ext>
              </a:extLst>
            </p:cNvPr>
            <p:cNvSpPr txBox="1"/>
            <p:nvPr/>
          </p:nvSpPr>
          <p:spPr>
            <a:xfrm>
              <a:off x="8369442" y="3843216"/>
              <a:ext cx="1517904" cy="540000"/>
            </a:xfrm>
            <a:prstGeom prst="rect">
              <a:avLst/>
            </a:prstGeom>
          </p:spPr>
          <p:txBody>
            <a:bodyPr vert="horz" wrap="square" lIns="0" tIns="180000" rIns="0" bIns="0" rtlCol="0" anchor="ctr">
              <a:noAutofit/>
            </a:bodyPr>
            <a:lstStyle/>
            <a:p>
              <a:pPr>
                <a:spcBef>
                  <a:spcPts val="1200"/>
                </a:spcBef>
                <a:spcAft>
                  <a:spcPts val="1200"/>
                </a:spcAft>
                <a:buClr>
                  <a:schemeClr val="accent4"/>
                </a:buClr>
              </a:pPr>
              <a:r>
                <a:rPr lang="es-MX" sz="1600" b="1">
                  <a:solidFill>
                    <a:schemeClr val="tx2"/>
                  </a:solidFill>
                </a:rPr>
                <a:t>QE</a:t>
              </a:r>
              <a:endParaRPr lang="es-PE" sz="1600" b="1">
                <a:solidFill>
                  <a:schemeClr val="tx2"/>
                </a:solidFill>
              </a:endParaRPr>
            </a:p>
          </p:txBody>
        </p:sp>
      </p:grpSp>
      <p:grpSp>
        <p:nvGrpSpPr>
          <p:cNvPr id="62" name="Grupo 61">
            <a:extLst>
              <a:ext uri="{FF2B5EF4-FFF2-40B4-BE49-F238E27FC236}">
                <a16:creationId xmlns:a16="http://schemas.microsoft.com/office/drawing/2014/main" id="{4488C691-C1AD-559B-A298-777B2F5F6881}"/>
              </a:ext>
            </a:extLst>
          </p:cNvPr>
          <p:cNvGrpSpPr/>
          <p:nvPr/>
        </p:nvGrpSpPr>
        <p:grpSpPr>
          <a:xfrm>
            <a:off x="838080" y="4921855"/>
            <a:ext cx="1289304" cy="1140192"/>
            <a:chOff x="7406640" y="2368296"/>
            <a:chExt cx="2480706" cy="2193804"/>
          </a:xfrm>
        </p:grpSpPr>
        <p:sp>
          <p:nvSpPr>
            <p:cNvPr id="63" name="Elipse 62">
              <a:extLst>
                <a:ext uri="{FF2B5EF4-FFF2-40B4-BE49-F238E27FC236}">
                  <a16:creationId xmlns:a16="http://schemas.microsoft.com/office/drawing/2014/main" id="{20E7FCA5-BC2E-08F9-8B6A-043A03AC94B5}"/>
                </a:ext>
              </a:extLst>
            </p:cNvPr>
            <p:cNvSpPr/>
            <p:nvPr/>
          </p:nvSpPr>
          <p:spPr>
            <a:xfrm>
              <a:off x="7406640" y="2368296"/>
              <a:ext cx="2193804" cy="2193804"/>
            </a:xfrm>
            <a:prstGeom prst="ellipse">
              <a:avLst/>
            </a:prstGeom>
            <a:solidFill>
              <a:srgbClr val="DEEDF1"/>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pic>
          <p:nvPicPr>
            <p:cNvPr id="64" name="Gráfico 63" descr="Usuario con relleno sólido">
              <a:extLst>
                <a:ext uri="{FF2B5EF4-FFF2-40B4-BE49-F238E27FC236}">
                  <a16:creationId xmlns:a16="http://schemas.microsoft.com/office/drawing/2014/main" id="{617E725B-CEEE-CA8B-BD1D-82A43795A8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33542" y="2376982"/>
              <a:ext cx="540000" cy="540000"/>
            </a:xfrm>
            <a:prstGeom prst="rect">
              <a:avLst/>
            </a:prstGeom>
          </p:spPr>
        </p:pic>
        <p:pic>
          <p:nvPicPr>
            <p:cNvPr id="65" name="Gráfico 64" descr="Usuario con relleno sólido">
              <a:extLst>
                <a:ext uri="{FF2B5EF4-FFF2-40B4-BE49-F238E27FC236}">
                  <a16:creationId xmlns:a16="http://schemas.microsoft.com/office/drawing/2014/main" id="{17B5096F-192D-32C4-8A8D-EB8167B338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33542" y="3592936"/>
              <a:ext cx="540000" cy="540000"/>
            </a:xfrm>
            <a:prstGeom prst="rect">
              <a:avLst/>
            </a:prstGeom>
          </p:spPr>
        </p:pic>
        <p:pic>
          <p:nvPicPr>
            <p:cNvPr id="66" name="Gráfico 65" descr="Usuario con relleno sólido">
              <a:extLst>
                <a:ext uri="{FF2B5EF4-FFF2-40B4-BE49-F238E27FC236}">
                  <a16:creationId xmlns:a16="http://schemas.microsoft.com/office/drawing/2014/main" id="{6E467829-C7B4-1192-4613-E3280F29F6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06640" y="3159000"/>
              <a:ext cx="540000" cy="540000"/>
            </a:xfrm>
            <a:prstGeom prst="rect">
              <a:avLst/>
            </a:prstGeom>
          </p:spPr>
        </p:pic>
        <p:pic>
          <p:nvPicPr>
            <p:cNvPr id="67" name="Gráfico 66" descr="Usuario con relleno sólido">
              <a:extLst>
                <a:ext uri="{FF2B5EF4-FFF2-40B4-BE49-F238E27FC236}">
                  <a16:creationId xmlns:a16="http://schemas.microsoft.com/office/drawing/2014/main" id="{1FD43A2E-43FB-D254-D31E-6860DF524C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60444" y="3195198"/>
              <a:ext cx="540000" cy="540000"/>
            </a:xfrm>
            <a:prstGeom prst="rect">
              <a:avLst/>
            </a:prstGeom>
          </p:spPr>
        </p:pic>
        <p:pic>
          <p:nvPicPr>
            <p:cNvPr id="68" name="Gráfico 67" descr="Usuario con relleno sólido">
              <a:extLst>
                <a:ext uri="{FF2B5EF4-FFF2-40B4-BE49-F238E27FC236}">
                  <a16:creationId xmlns:a16="http://schemas.microsoft.com/office/drawing/2014/main" id="{91F0EDAE-6F8F-0B51-1664-C4DAEF7745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76640" y="2638296"/>
              <a:ext cx="540000" cy="540000"/>
            </a:xfrm>
            <a:prstGeom prst="rect">
              <a:avLst/>
            </a:prstGeom>
          </p:spPr>
        </p:pic>
        <p:pic>
          <p:nvPicPr>
            <p:cNvPr id="69" name="Gráfico 68" descr="Usuario con relleno sólido">
              <a:extLst>
                <a:ext uri="{FF2B5EF4-FFF2-40B4-BE49-F238E27FC236}">
                  <a16:creationId xmlns:a16="http://schemas.microsoft.com/office/drawing/2014/main" id="{4F63207E-F243-1765-CE0C-C724E1F9EF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90444" y="2619000"/>
              <a:ext cx="540000" cy="540000"/>
            </a:xfrm>
            <a:prstGeom prst="rect">
              <a:avLst/>
            </a:prstGeom>
          </p:spPr>
        </p:pic>
        <p:sp>
          <p:nvSpPr>
            <p:cNvPr id="70" name="CuadroTexto 69">
              <a:extLst>
                <a:ext uri="{FF2B5EF4-FFF2-40B4-BE49-F238E27FC236}">
                  <a16:creationId xmlns:a16="http://schemas.microsoft.com/office/drawing/2014/main" id="{4B060556-77D4-869A-C2E8-6206E4950072}"/>
                </a:ext>
              </a:extLst>
            </p:cNvPr>
            <p:cNvSpPr txBox="1"/>
            <p:nvPr/>
          </p:nvSpPr>
          <p:spPr>
            <a:xfrm>
              <a:off x="8369442" y="3843216"/>
              <a:ext cx="1517904" cy="540000"/>
            </a:xfrm>
            <a:prstGeom prst="rect">
              <a:avLst/>
            </a:prstGeom>
          </p:spPr>
          <p:txBody>
            <a:bodyPr vert="horz" wrap="square" lIns="0" tIns="180000" rIns="0" bIns="0" rtlCol="0" anchor="ctr">
              <a:noAutofit/>
            </a:bodyPr>
            <a:lstStyle/>
            <a:p>
              <a:pPr>
                <a:spcBef>
                  <a:spcPts val="1200"/>
                </a:spcBef>
                <a:spcAft>
                  <a:spcPts val="1200"/>
                </a:spcAft>
                <a:buClr>
                  <a:schemeClr val="accent4"/>
                </a:buClr>
              </a:pPr>
              <a:r>
                <a:rPr lang="es-MX" sz="1600" b="1">
                  <a:solidFill>
                    <a:schemeClr val="tx2"/>
                  </a:solidFill>
                </a:rPr>
                <a:t>QE</a:t>
              </a:r>
              <a:endParaRPr lang="es-PE" sz="1600" b="1">
                <a:solidFill>
                  <a:schemeClr val="tx2"/>
                </a:solidFill>
              </a:endParaRPr>
            </a:p>
          </p:txBody>
        </p:sp>
      </p:grpSp>
      <p:grpSp>
        <p:nvGrpSpPr>
          <p:cNvPr id="71" name="Grupo 70">
            <a:extLst>
              <a:ext uri="{FF2B5EF4-FFF2-40B4-BE49-F238E27FC236}">
                <a16:creationId xmlns:a16="http://schemas.microsoft.com/office/drawing/2014/main" id="{D9434C5E-4624-7D45-A807-FF77C7E7A123}"/>
              </a:ext>
            </a:extLst>
          </p:cNvPr>
          <p:cNvGrpSpPr/>
          <p:nvPr/>
        </p:nvGrpSpPr>
        <p:grpSpPr>
          <a:xfrm>
            <a:off x="2100072" y="4953045"/>
            <a:ext cx="1289304" cy="1140192"/>
            <a:chOff x="7406640" y="2368296"/>
            <a:chExt cx="2480706" cy="2193804"/>
          </a:xfrm>
        </p:grpSpPr>
        <p:sp>
          <p:nvSpPr>
            <p:cNvPr id="72" name="Elipse 71">
              <a:extLst>
                <a:ext uri="{FF2B5EF4-FFF2-40B4-BE49-F238E27FC236}">
                  <a16:creationId xmlns:a16="http://schemas.microsoft.com/office/drawing/2014/main" id="{0A14CE72-0E50-F036-EF2A-EB63C0006A32}"/>
                </a:ext>
              </a:extLst>
            </p:cNvPr>
            <p:cNvSpPr/>
            <p:nvPr/>
          </p:nvSpPr>
          <p:spPr>
            <a:xfrm>
              <a:off x="7406640" y="2368296"/>
              <a:ext cx="2193804" cy="2193804"/>
            </a:xfrm>
            <a:prstGeom prst="ellipse">
              <a:avLst/>
            </a:prstGeom>
            <a:solidFill>
              <a:srgbClr val="DEEDF1"/>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pic>
          <p:nvPicPr>
            <p:cNvPr id="73" name="Gráfico 72" descr="Usuario con relleno sólido">
              <a:extLst>
                <a:ext uri="{FF2B5EF4-FFF2-40B4-BE49-F238E27FC236}">
                  <a16:creationId xmlns:a16="http://schemas.microsoft.com/office/drawing/2014/main" id="{2ACD6AA6-46FE-831A-FF41-E66FDF9082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33542" y="2376982"/>
              <a:ext cx="540000" cy="540000"/>
            </a:xfrm>
            <a:prstGeom prst="rect">
              <a:avLst/>
            </a:prstGeom>
          </p:spPr>
        </p:pic>
        <p:pic>
          <p:nvPicPr>
            <p:cNvPr id="74" name="Gráfico 73" descr="Usuario con relleno sólido">
              <a:extLst>
                <a:ext uri="{FF2B5EF4-FFF2-40B4-BE49-F238E27FC236}">
                  <a16:creationId xmlns:a16="http://schemas.microsoft.com/office/drawing/2014/main" id="{95085C81-4A99-C0AA-187E-09A47358EFC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33542" y="3592936"/>
              <a:ext cx="540000" cy="540000"/>
            </a:xfrm>
            <a:prstGeom prst="rect">
              <a:avLst/>
            </a:prstGeom>
          </p:spPr>
        </p:pic>
        <p:pic>
          <p:nvPicPr>
            <p:cNvPr id="75" name="Gráfico 74" descr="Usuario con relleno sólido">
              <a:extLst>
                <a:ext uri="{FF2B5EF4-FFF2-40B4-BE49-F238E27FC236}">
                  <a16:creationId xmlns:a16="http://schemas.microsoft.com/office/drawing/2014/main" id="{AD3C856F-A3C0-5850-5FBD-BB31E560B3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06640" y="3159000"/>
              <a:ext cx="540000" cy="540000"/>
            </a:xfrm>
            <a:prstGeom prst="rect">
              <a:avLst/>
            </a:prstGeom>
          </p:spPr>
        </p:pic>
        <p:pic>
          <p:nvPicPr>
            <p:cNvPr id="76" name="Gráfico 75" descr="Usuario con relleno sólido">
              <a:extLst>
                <a:ext uri="{FF2B5EF4-FFF2-40B4-BE49-F238E27FC236}">
                  <a16:creationId xmlns:a16="http://schemas.microsoft.com/office/drawing/2014/main" id="{5E35C7F1-7E0B-35E4-97F9-DEB3F8D22A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60444" y="3195198"/>
              <a:ext cx="540000" cy="540000"/>
            </a:xfrm>
            <a:prstGeom prst="rect">
              <a:avLst/>
            </a:prstGeom>
          </p:spPr>
        </p:pic>
        <p:pic>
          <p:nvPicPr>
            <p:cNvPr id="77" name="Gráfico 76" descr="Usuario con relleno sólido">
              <a:extLst>
                <a:ext uri="{FF2B5EF4-FFF2-40B4-BE49-F238E27FC236}">
                  <a16:creationId xmlns:a16="http://schemas.microsoft.com/office/drawing/2014/main" id="{6DBD13E1-D992-C981-CADF-0460045750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76640" y="2638296"/>
              <a:ext cx="540000" cy="540000"/>
            </a:xfrm>
            <a:prstGeom prst="rect">
              <a:avLst/>
            </a:prstGeom>
          </p:spPr>
        </p:pic>
        <p:pic>
          <p:nvPicPr>
            <p:cNvPr id="78" name="Gráfico 77" descr="Usuario con relleno sólido">
              <a:extLst>
                <a:ext uri="{FF2B5EF4-FFF2-40B4-BE49-F238E27FC236}">
                  <a16:creationId xmlns:a16="http://schemas.microsoft.com/office/drawing/2014/main" id="{27C2E190-1817-B0F7-D5C8-39FAF67836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90444" y="2619000"/>
              <a:ext cx="540000" cy="540000"/>
            </a:xfrm>
            <a:prstGeom prst="rect">
              <a:avLst/>
            </a:prstGeom>
          </p:spPr>
        </p:pic>
        <p:sp>
          <p:nvSpPr>
            <p:cNvPr id="79" name="CuadroTexto 78">
              <a:extLst>
                <a:ext uri="{FF2B5EF4-FFF2-40B4-BE49-F238E27FC236}">
                  <a16:creationId xmlns:a16="http://schemas.microsoft.com/office/drawing/2014/main" id="{BE42620A-85C3-3483-1EBC-DE5F6FBB7725}"/>
                </a:ext>
              </a:extLst>
            </p:cNvPr>
            <p:cNvSpPr txBox="1"/>
            <p:nvPr/>
          </p:nvSpPr>
          <p:spPr>
            <a:xfrm>
              <a:off x="8369442" y="3843216"/>
              <a:ext cx="1517904" cy="540000"/>
            </a:xfrm>
            <a:prstGeom prst="rect">
              <a:avLst/>
            </a:prstGeom>
          </p:spPr>
          <p:txBody>
            <a:bodyPr vert="horz" wrap="square" lIns="0" tIns="180000" rIns="0" bIns="0" rtlCol="0" anchor="ctr">
              <a:noAutofit/>
            </a:bodyPr>
            <a:lstStyle/>
            <a:p>
              <a:pPr>
                <a:spcBef>
                  <a:spcPts val="1200"/>
                </a:spcBef>
                <a:spcAft>
                  <a:spcPts val="1200"/>
                </a:spcAft>
                <a:buClr>
                  <a:schemeClr val="accent4"/>
                </a:buClr>
              </a:pPr>
              <a:r>
                <a:rPr lang="es-MX" sz="1600" b="1">
                  <a:solidFill>
                    <a:schemeClr val="tx2"/>
                  </a:solidFill>
                </a:rPr>
                <a:t>QE</a:t>
              </a:r>
              <a:endParaRPr lang="es-PE" sz="1600" b="1">
                <a:solidFill>
                  <a:schemeClr val="tx2"/>
                </a:solidFill>
              </a:endParaRPr>
            </a:p>
          </p:txBody>
        </p:sp>
      </p:grpSp>
      <p:grpSp>
        <p:nvGrpSpPr>
          <p:cNvPr id="80" name="Grupo 79">
            <a:extLst>
              <a:ext uri="{FF2B5EF4-FFF2-40B4-BE49-F238E27FC236}">
                <a16:creationId xmlns:a16="http://schemas.microsoft.com/office/drawing/2014/main" id="{9535BCB5-3174-6069-37F0-E40B4B34AB4A}"/>
              </a:ext>
            </a:extLst>
          </p:cNvPr>
          <p:cNvGrpSpPr/>
          <p:nvPr/>
        </p:nvGrpSpPr>
        <p:grpSpPr>
          <a:xfrm>
            <a:off x="3362064" y="4953045"/>
            <a:ext cx="1289304" cy="1140192"/>
            <a:chOff x="7406640" y="2368296"/>
            <a:chExt cx="2480706" cy="2193804"/>
          </a:xfrm>
        </p:grpSpPr>
        <p:sp>
          <p:nvSpPr>
            <p:cNvPr id="81" name="Elipse 80">
              <a:extLst>
                <a:ext uri="{FF2B5EF4-FFF2-40B4-BE49-F238E27FC236}">
                  <a16:creationId xmlns:a16="http://schemas.microsoft.com/office/drawing/2014/main" id="{E880D525-980F-8424-1C4C-21C5683D9148}"/>
                </a:ext>
              </a:extLst>
            </p:cNvPr>
            <p:cNvSpPr/>
            <p:nvPr/>
          </p:nvSpPr>
          <p:spPr>
            <a:xfrm>
              <a:off x="7406640" y="2368296"/>
              <a:ext cx="2193804" cy="2193804"/>
            </a:xfrm>
            <a:prstGeom prst="ellipse">
              <a:avLst/>
            </a:prstGeom>
            <a:solidFill>
              <a:srgbClr val="DEEDF1"/>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pic>
          <p:nvPicPr>
            <p:cNvPr id="82" name="Gráfico 81" descr="Usuario con relleno sólido">
              <a:extLst>
                <a:ext uri="{FF2B5EF4-FFF2-40B4-BE49-F238E27FC236}">
                  <a16:creationId xmlns:a16="http://schemas.microsoft.com/office/drawing/2014/main" id="{2BE0BC96-1C03-2A77-CA69-B1999D02E0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33542" y="2376982"/>
              <a:ext cx="540000" cy="540000"/>
            </a:xfrm>
            <a:prstGeom prst="rect">
              <a:avLst/>
            </a:prstGeom>
          </p:spPr>
        </p:pic>
        <p:pic>
          <p:nvPicPr>
            <p:cNvPr id="83" name="Gráfico 82" descr="Usuario con relleno sólido">
              <a:extLst>
                <a:ext uri="{FF2B5EF4-FFF2-40B4-BE49-F238E27FC236}">
                  <a16:creationId xmlns:a16="http://schemas.microsoft.com/office/drawing/2014/main" id="{9DE2FECA-481A-14A3-B6B7-D6D70CC3837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33542" y="3592936"/>
              <a:ext cx="540000" cy="540000"/>
            </a:xfrm>
            <a:prstGeom prst="rect">
              <a:avLst/>
            </a:prstGeom>
          </p:spPr>
        </p:pic>
        <p:pic>
          <p:nvPicPr>
            <p:cNvPr id="84" name="Gráfico 83" descr="Usuario con relleno sólido">
              <a:extLst>
                <a:ext uri="{FF2B5EF4-FFF2-40B4-BE49-F238E27FC236}">
                  <a16:creationId xmlns:a16="http://schemas.microsoft.com/office/drawing/2014/main" id="{B9D69508-A4C9-DECE-D040-D18A2B29CE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06640" y="3159000"/>
              <a:ext cx="540000" cy="540000"/>
            </a:xfrm>
            <a:prstGeom prst="rect">
              <a:avLst/>
            </a:prstGeom>
          </p:spPr>
        </p:pic>
        <p:pic>
          <p:nvPicPr>
            <p:cNvPr id="85" name="Gráfico 84" descr="Usuario con relleno sólido">
              <a:extLst>
                <a:ext uri="{FF2B5EF4-FFF2-40B4-BE49-F238E27FC236}">
                  <a16:creationId xmlns:a16="http://schemas.microsoft.com/office/drawing/2014/main" id="{23F3E06B-683C-5339-F8DD-803F742301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60444" y="3195198"/>
              <a:ext cx="540000" cy="540000"/>
            </a:xfrm>
            <a:prstGeom prst="rect">
              <a:avLst/>
            </a:prstGeom>
          </p:spPr>
        </p:pic>
        <p:pic>
          <p:nvPicPr>
            <p:cNvPr id="86" name="Gráfico 85" descr="Usuario con relleno sólido">
              <a:extLst>
                <a:ext uri="{FF2B5EF4-FFF2-40B4-BE49-F238E27FC236}">
                  <a16:creationId xmlns:a16="http://schemas.microsoft.com/office/drawing/2014/main" id="{3DA8DE77-77AB-8C03-F67E-CABCDF5C1B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76640" y="2638296"/>
              <a:ext cx="540000" cy="540000"/>
            </a:xfrm>
            <a:prstGeom prst="rect">
              <a:avLst/>
            </a:prstGeom>
          </p:spPr>
        </p:pic>
        <p:pic>
          <p:nvPicPr>
            <p:cNvPr id="87" name="Gráfico 86" descr="Usuario con relleno sólido">
              <a:extLst>
                <a:ext uri="{FF2B5EF4-FFF2-40B4-BE49-F238E27FC236}">
                  <a16:creationId xmlns:a16="http://schemas.microsoft.com/office/drawing/2014/main" id="{77E69B7C-C817-42EE-59E7-E5EB76D8D2D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90444" y="2619000"/>
              <a:ext cx="540000" cy="540000"/>
            </a:xfrm>
            <a:prstGeom prst="rect">
              <a:avLst/>
            </a:prstGeom>
          </p:spPr>
        </p:pic>
        <p:sp>
          <p:nvSpPr>
            <p:cNvPr id="88" name="CuadroTexto 87">
              <a:extLst>
                <a:ext uri="{FF2B5EF4-FFF2-40B4-BE49-F238E27FC236}">
                  <a16:creationId xmlns:a16="http://schemas.microsoft.com/office/drawing/2014/main" id="{FCB23AE9-35D9-B76B-991A-39875FBB923F}"/>
                </a:ext>
              </a:extLst>
            </p:cNvPr>
            <p:cNvSpPr txBox="1"/>
            <p:nvPr/>
          </p:nvSpPr>
          <p:spPr>
            <a:xfrm>
              <a:off x="8369442" y="3843216"/>
              <a:ext cx="1517904" cy="540000"/>
            </a:xfrm>
            <a:prstGeom prst="rect">
              <a:avLst/>
            </a:prstGeom>
          </p:spPr>
          <p:txBody>
            <a:bodyPr vert="horz" wrap="square" lIns="0" tIns="180000" rIns="0" bIns="0" rtlCol="0" anchor="ctr">
              <a:noAutofit/>
            </a:bodyPr>
            <a:lstStyle/>
            <a:p>
              <a:pPr>
                <a:spcBef>
                  <a:spcPts val="1200"/>
                </a:spcBef>
                <a:spcAft>
                  <a:spcPts val="1200"/>
                </a:spcAft>
                <a:buClr>
                  <a:schemeClr val="accent4"/>
                </a:buClr>
              </a:pPr>
              <a:r>
                <a:rPr lang="es-MX" sz="1600" b="1">
                  <a:solidFill>
                    <a:schemeClr val="tx2"/>
                  </a:solidFill>
                </a:rPr>
                <a:t>QE</a:t>
              </a:r>
              <a:endParaRPr lang="es-PE" sz="1600" b="1">
                <a:solidFill>
                  <a:schemeClr val="tx2"/>
                </a:solidFill>
              </a:endParaRPr>
            </a:p>
          </p:txBody>
        </p:sp>
      </p:grpSp>
      <p:sp>
        <p:nvSpPr>
          <p:cNvPr id="99" name="Rectángulo 98">
            <a:extLst>
              <a:ext uri="{FF2B5EF4-FFF2-40B4-BE49-F238E27FC236}">
                <a16:creationId xmlns:a16="http://schemas.microsoft.com/office/drawing/2014/main" id="{F0C3C34F-4410-1930-E27D-C7D07C7B4B89}"/>
              </a:ext>
            </a:extLst>
          </p:cNvPr>
          <p:cNvSpPr/>
          <p:nvPr/>
        </p:nvSpPr>
        <p:spPr>
          <a:xfrm>
            <a:off x="4904712" y="1915530"/>
            <a:ext cx="6736426" cy="4366397"/>
          </a:xfrm>
          <a:prstGeom prst="rect">
            <a:avLst/>
          </a:prstGeom>
          <a:solidFill>
            <a:srgbClr val="DEED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0" name="Rectángulo 99">
            <a:extLst>
              <a:ext uri="{FF2B5EF4-FFF2-40B4-BE49-F238E27FC236}">
                <a16:creationId xmlns:a16="http://schemas.microsoft.com/office/drawing/2014/main" id="{7A1BD1E4-2995-B42F-7592-A3FACAF17976}"/>
              </a:ext>
            </a:extLst>
          </p:cNvPr>
          <p:cNvSpPr/>
          <p:nvPr/>
        </p:nvSpPr>
        <p:spPr>
          <a:xfrm>
            <a:off x="4964688" y="2063505"/>
            <a:ext cx="6457497" cy="3416320"/>
          </a:xfrm>
          <a:prstGeom prst="rect">
            <a:avLst/>
          </a:prstGeom>
        </p:spPr>
        <p:txBody>
          <a:bodyPr wrap="square">
            <a:spAutoFit/>
          </a:bodyPr>
          <a:lstStyle/>
          <a:p>
            <a:endParaRPr lang="es-MX">
              <a:solidFill>
                <a:schemeClr val="accent5"/>
              </a:solidFill>
              <a:latin typeface="Santander Headline"/>
            </a:endParaRPr>
          </a:p>
          <a:p>
            <a:r>
              <a:rPr lang="es-MX">
                <a:solidFill>
                  <a:schemeClr val="accent5"/>
                </a:solidFill>
                <a:latin typeface="Santander Headline"/>
              </a:rPr>
              <a:t>El </a:t>
            </a:r>
            <a:r>
              <a:rPr lang="es-MX" b="1">
                <a:solidFill>
                  <a:srgbClr val="4E96BF"/>
                </a:solidFill>
                <a:latin typeface="Santander Headline"/>
              </a:rPr>
              <a:t>Modelo de Aseguramiento de Calidad </a:t>
            </a:r>
            <a:r>
              <a:rPr lang="es-MX">
                <a:solidFill>
                  <a:schemeClr val="accent5"/>
                </a:solidFill>
                <a:latin typeface="Santander Headline"/>
              </a:rPr>
              <a:t>contempla los siguientes roles:</a:t>
            </a:r>
          </a:p>
          <a:p>
            <a:pPr marL="742950" lvl="1" indent="-285750">
              <a:buFont typeface="Arial" panose="020B0604020202020204" pitchFamily="34" charset="0"/>
              <a:buChar char="•"/>
            </a:pPr>
            <a:r>
              <a:rPr kumimoji="0" lang="es-MX" b="1" i="0" u="none" strike="noStrike" kern="1200" cap="none" spc="0" normalizeH="0" baseline="0" noProof="0">
                <a:ln>
                  <a:noFill/>
                </a:ln>
                <a:solidFill>
                  <a:srgbClr val="4E96BF"/>
                </a:solidFill>
                <a:effectLst/>
                <a:uLnTx/>
                <a:uFillTx/>
                <a:latin typeface="Santander Headline"/>
                <a:ea typeface="+mn-ea"/>
                <a:cs typeface="+mn-cs"/>
              </a:rPr>
              <a:t>QA Analyst: </a:t>
            </a:r>
            <a:r>
              <a:rPr kumimoji="0" lang="es-MX" i="0" u="none" strike="noStrike" kern="1200" cap="none" spc="0" normalizeH="0" baseline="0" noProof="0">
                <a:ln>
                  <a:noFill/>
                </a:ln>
                <a:solidFill>
                  <a:schemeClr val="accent5"/>
                </a:solidFill>
                <a:effectLst/>
                <a:uLnTx/>
                <a:uFillTx/>
                <a:latin typeface="Santander Headline"/>
                <a:ea typeface="+mn-ea"/>
                <a:cs typeface="+mn-cs"/>
              </a:rPr>
              <a:t>Pruebas Manuales </a:t>
            </a:r>
          </a:p>
          <a:p>
            <a:pPr marL="742950" lvl="1" indent="-285750">
              <a:buFont typeface="Arial" panose="020B0604020202020204" pitchFamily="34" charset="0"/>
              <a:buChar char="•"/>
            </a:pPr>
            <a:r>
              <a:rPr lang="es-MX" b="1">
                <a:solidFill>
                  <a:srgbClr val="4E96BF"/>
                </a:solidFill>
                <a:latin typeface="Santander Headline"/>
              </a:rPr>
              <a:t>QE Automation: </a:t>
            </a:r>
            <a:r>
              <a:rPr lang="es-MX">
                <a:solidFill>
                  <a:schemeClr val="accent5"/>
                </a:solidFill>
                <a:latin typeface="Santander Headline"/>
              </a:rPr>
              <a:t>Pruebas Funcionales Automatización</a:t>
            </a:r>
          </a:p>
          <a:p>
            <a:pPr marL="742950" lvl="1" indent="-285750">
              <a:buFont typeface="Arial" panose="020B0604020202020204" pitchFamily="34" charset="0"/>
              <a:buChar char="•"/>
            </a:pPr>
            <a:r>
              <a:rPr kumimoji="0" lang="es-MX" b="1" i="0" u="none" strike="noStrike" kern="1200" cap="none" spc="0" normalizeH="0" baseline="0" noProof="0">
                <a:ln>
                  <a:noFill/>
                </a:ln>
                <a:solidFill>
                  <a:srgbClr val="4E96BF"/>
                </a:solidFill>
                <a:effectLst/>
                <a:uLnTx/>
                <a:uFillTx/>
                <a:latin typeface="Santander Headline"/>
                <a:ea typeface="+mn-ea"/>
                <a:cs typeface="+mn-cs"/>
              </a:rPr>
              <a:t>QE Performance: </a:t>
            </a:r>
            <a:r>
              <a:rPr kumimoji="0" lang="es-MX" i="0" u="none" strike="noStrike" kern="1200" cap="none" spc="0" normalizeH="0" baseline="0" noProof="0">
                <a:ln>
                  <a:noFill/>
                </a:ln>
                <a:solidFill>
                  <a:schemeClr val="accent5"/>
                </a:solidFill>
                <a:effectLst/>
                <a:uLnTx/>
                <a:uFillTx/>
                <a:latin typeface="Santander Headline"/>
                <a:ea typeface="+mn-ea"/>
                <a:cs typeface="+mn-cs"/>
              </a:rPr>
              <a:t>Pruebas No Funcionales</a:t>
            </a:r>
          </a:p>
          <a:p>
            <a:pPr marL="742950" lvl="1" indent="-285750">
              <a:buFont typeface="Arial" panose="020B0604020202020204" pitchFamily="34" charset="0"/>
              <a:buChar char="•"/>
            </a:pPr>
            <a:r>
              <a:rPr lang="es-MX" b="1">
                <a:solidFill>
                  <a:srgbClr val="4E96BF"/>
                </a:solidFill>
                <a:latin typeface="Santander Headline"/>
              </a:rPr>
              <a:t>QA Lead: </a:t>
            </a:r>
            <a:r>
              <a:rPr lang="es-MX">
                <a:solidFill>
                  <a:schemeClr val="accent5"/>
                </a:solidFill>
                <a:latin typeface="Santander Headline"/>
              </a:rPr>
              <a:t>Brinda apoyo y seguimiento a los roles anteriores, con el fin de cumplir en todos los proyectos 3 principales ejes:</a:t>
            </a:r>
          </a:p>
          <a:p>
            <a:pPr marL="1657350" lvl="3" indent="-285750">
              <a:buFont typeface="Arial" panose="020B0604020202020204" pitchFamily="34" charset="0"/>
              <a:buChar char="•"/>
            </a:pPr>
            <a:r>
              <a:rPr kumimoji="0" lang="es-MX" i="0" u="none" strike="noStrike" kern="1200" cap="none" spc="0" normalizeH="0" baseline="0" noProof="0">
                <a:ln>
                  <a:noFill/>
                </a:ln>
                <a:solidFill>
                  <a:schemeClr val="accent5"/>
                </a:solidFill>
                <a:effectLst/>
                <a:uLnTx/>
                <a:uFillTx/>
                <a:latin typeface="Santander Headline"/>
                <a:ea typeface="+mn-ea"/>
                <a:cs typeface="+mn-cs"/>
              </a:rPr>
              <a:t>Herramientas</a:t>
            </a:r>
          </a:p>
          <a:p>
            <a:pPr marL="1657350" lvl="3" indent="-285750">
              <a:buFont typeface="Arial" panose="020B0604020202020204" pitchFamily="34" charset="0"/>
              <a:buChar char="•"/>
            </a:pPr>
            <a:r>
              <a:rPr lang="es-MX">
                <a:solidFill>
                  <a:schemeClr val="accent5"/>
                </a:solidFill>
                <a:latin typeface="Santander Headline"/>
              </a:rPr>
              <a:t>Modelo</a:t>
            </a:r>
          </a:p>
          <a:p>
            <a:pPr marL="1657350" lvl="3" indent="-285750">
              <a:buFont typeface="Arial" panose="020B0604020202020204" pitchFamily="34" charset="0"/>
              <a:buChar char="•"/>
            </a:pPr>
            <a:r>
              <a:rPr kumimoji="0" lang="es-MX" i="0" u="none" strike="noStrike" kern="1200" cap="none" spc="0" normalizeH="0" baseline="0" noProof="0">
                <a:ln>
                  <a:noFill/>
                </a:ln>
                <a:solidFill>
                  <a:schemeClr val="accent5"/>
                </a:solidFill>
                <a:effectLst/>
                <a:uLnTx/>
                <a:uFillTx/>
                <a:latin typeface="Santander Headline"/>
                <a:ea typeface="+mn-ea"/>
                <a:cs typeface="+mn-cs"/>
              </a:rPr>
              <a:t>Compliance</a:t>
            </a:r>
          </a:p>
        </p:txBody>
      </p:sp>
      <p:sp>
        <p:nvSpPr>
          <p:cNvPr id="14" name="Título 13">
            <a:extLst>
              <a:ext uri="{FF2B5EF4-FFF2-40B4-BE49-F238E27FC236}">
                <a16:creationId xmlns:a16="http://schemas.microsoft.com/office/drawing/2014/main" id="{57942F6E-2B65-C484-EADD-0064D141000C}"/>
              </a:ext>
            </a:extLst>
          </p:cNvPr>
          <p:cNvSpPr>
            <a:spLocks noGrp="1"/>
          </p:cNvSpPr>
          <p:nvPr>
            <p:ph type="title"/>
          </p:nvPr>
        </p:nvSpPr>
        <p:spPr/>
        <p:txBody>
          <a:bodyPr/>
          <a:lstStyle/>
          <a:p>
            <a:r>
              <a:rPr lang="es-MX"/>
              <a:t> </a:t>
            </a:r>
            <a:endParaRPr lang="es-PE"/>
          </a:p>
        </p:txBody>
      </p:sp>
      <p:sp>
        <p:nvSpPr>
          <p:cNvPr id="15" name="Title 5">
            <a:extLst>
              <a:ext uri="{FF2B5EF4-FFF2-40B4-BE49-F238E27FC236}">
                <a16:creationId xmlns:a16="http://schemas.microsoft.com/office/drawing/2014/main" id="{9B1D6ACF-692E-F018-8FCF-7C2AF5C927B5}"/>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 </a:t>
            </a:r>
            <a:r>
              <a:rPr lang="en-GB" b="0" err="1">
                <a:solidFill>
                  <a:srgbClr val="203864"/>
                </a:solidFill>
                <a:latin typeface="Santander Headline" panose="020B0504020201020104" pitchFamily="34" charset="0"/>
              </a:rPr>
              <a:t>Modelo</a:t>
            </a:r>
            <a:r>
              <a:rPr lang="en-GB" b="0">
                <a:solidFill>
                  <a:srgbClr val="203864"/>
                </a:solidFill>
                <a:latin typeface="Santander Headline" panose="020B0504020201020104" pitchFamily="34" charset="0"/>
              </a:rPr>
              <a:t> </a:t>
            </a:r>
            <a:r>
              <a:rPr lang="en-GB" b="0" err="1">
                <a:solidFill>
                  <a:srgbClr val="203864"/>
                </a:solidFill>
                <a:latin typeface="Santander Headline" panose="020B0504020201020104" pitchFamily="34" charset="0"/>
              </a:rPr>
              <a:t>Operativo</a:t>
            </a:r>
            <a:r>
              <a:rPr lang="en-GB" b="0">
                <a:solidFill>
                  <a:srgbClr val="203864"/>
                </a:solidFill>
                <a:latin typeface="Santander Headline" panose="020B0504020201020104" pitchFamily="34" charset="0"/>
              </a:rPr>
              <a:t> de Calidad </a:t>
            </a:r>
            <a:r>
              <a:rPr lang="en-GB" b="0" err="1">
                <a:solidFill>
                  <a:srgbClr val="203864"/>
                </a:solidFill>
                <a:latin typeface="Santander Headline" panose="020B0504020201020104" pitchFamily="34" charset="0"/>
              </a:rPr>
              <a:t>Ágil</a:t>
            </a:r>
            <a:endParaRPr lang="es-MX">
              <a:solidFill>
                <a:srgbClr val="203864"/>
              </a:solidFill>
            </a:endParaRPr>
          </a:p>
        </p:txBody>
      </p:sp>
    </p:spTree>
    <p:extLst>
      <p:ext uri="{BB962C8B-B14F-4D97-AF65-F5344CB8AC3E}">
        <p14:creationId xmlns:p14="http://schemas.microsoft.com/office/powerpoint/2010/main" val="7902309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4F758-C4BF-B54F-89AF-09F7252F7487}"/>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EBBF07B7-68EC-2A9B-A92A-BB8AF93BC99C}"/>
              </a:ext>
            </a:extLst>
          </p:cNvPr>
          <p:cNvSpPr>
            <a:spLocks noGrp="1"/>
          </p:cNvSpPr>
          <p:nvPr>
            <p:ph type="body" sz="quarter" idx="14"/>
          </p:nvPr>
        </p:nvSpPr>
        <p:spPr/>
        <p:txBody>
          <a:bodyPr/>
          <a:lstStyle/>
          <a:p>
            <a:endParaRPr lang="es-PE"/>
          </a:p>
        </p:txBody>
      </p:sp>
      <p:sp>
        <p:nvSpPr>
          <p:cNvPr id="3" name="Título 2">
            <a:extLst>
              <a:ext uri="{FF2B5EF4-FFF2-40B4-BE49-F238E27FC236}">
                <a16:creationId xmlns:a16="http://schemas.microsoft.com/office/drawing/2014/main" id="{D579C6B1-B201-AC66-7E0D-58BDC27E5B1D}"/>
              </a:ext>
            </a:extLst>
          </p:cNvPr>
          <p:cNvSpPr>
            <a:spLocks noGrp="1"/>
          </p:cNvSpPr>
          <p:nvPr>
            <p:ph type="title"/>
          </p:nvPr>
        </p:nvSpPr>
        <p:spPr/>
        <p:txBody>
          <a:bodyPr/>
          <a:lstStyle/>
          <a:p>
            <a:r>
              <a:rPr lang="es-MX"/>
              <a:t> </a:t>
            </a:r>
            <a:endParaRPr lang="es-PE"/>
          </a:p>
        </p:txBody>
      </p:sp>
      <p:sp>
        <p:nvSpPr>
          <p:cNvPr id="6" name="Title 5">
            <a:extLst>
              <a:ext uri="{FF2B5EF4-FFF2-40B4-BE49-F238E27FC236}">
                <a16:creationId xmlns:a16="http://schemas.microsoft.com/office/drawing/2014/main" id="{32062027-63C1-D965-FD3B-151D8DD3B732}"/>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15.5. 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a:solidFill>
                  <a:srgbClr val="203864"/>
                </a:solidFill>
                <a:latin typeface="Santander Headline" panose="020B0504020201020104" pitchFamily="34" charset="0"/>
              </a:rPr>
              <a:t>PRUEBAS DE HUMO</a:t>
            </a:r>
            <a:endParaRPr lang="es-MX">
              <a:solidFill>
                <a:srgbClr val="203864"/>
              </a:solidFill>
            </a:endParaRPr>
          </a:p>
        </p:txBody>
      </p:sp>
      <p:pic>
        <p:nvPicPr>
          <p:cNvPr id="1026" name="Picture 2" descr="Smoke Test In Software Testing: What It Is And Why It Matters">
            <a:extLst>
              <a:ext uri="{FF2B5EF4-FFF2-40B4-BE49-F238E27FC236}">
                <a16:creationId xmlns:a16="http://schemas.microsoft.com/office/drawing/2014/main" id="{E8F489BC-B886-7610-D7A2-6CF16C6410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2322" y="3429000"/>
            <a:ext cx="3859441" cy="2574217"/>
          </a:xfrm>
          <a:prstGeom prst="rect">
            <a:avLst/>
          </a:prstGeom>
          <a:noFill/>
          <a:extLst>
            <a:ext uri="{909E8E84-426E-40DD-AFC4-6F175D3DCCD1}">
              <a14:hiddenFill xmlns:a14="http://schemas.microsoft.com/office/drawing/2010/main">
                <a:solidFill>
                  <a:srgbClr val="FFFFFF"/>
                </a:solidFill>
              </a14:hiddenFill>
            </a:ext>
          </a:extLst>
        </p:spPr>
      </p:pic>
      <p:sp>
        <p:nvSpPr>
          <p:cNvPr id="4" name="Rectángulo 3">
            <a:extLst>
              <a:ext uri="{FF2B5EF4-FFF2-40B4-BE49-F238E27FC236}">
                <a16:creationId xmlns:a16="http://schemas.microsoft.com/office/drawing/2014/main" id="{9AE03A25-2ECE-87BB-2688-576EC8F140F6}"/>
              </a:ext>
            </a:extLst>
          </p:cNvPr>
          <p:cNvSpPr/>
          <p:nvPr/>
        </p:nvSpPr>
        <p:spPr>
          <a:xfrm>
            <a:off x="838200" y="1534469"/>
            <a:ext cx="9618441" cy="707886"/>
          </a:xfrm>
          <a:prstGeom prst="rect">
            <a:avLst/>
          </a:prstGeom>
        </p:spPr>
        <p:txBody>
          <a:bodyPr wrap="square">
            <a:spAutoFit/>
          </a:bodyPr>
          <a:lstStyle/>
          <a:p>
            <a:r>
              <a:rPr lang="es-AR" sz="2000">
                <a:solidFill>
                  <a:schemeClr val="accent5"/>
                </a:solidFill>
              </a:rPr>
              <a:t>Se realizan pruebas mínimas, que permiten asegurar que las funcionalidades críticas y sus principales características no presentan inconvenientes mayores .</a:t>
            </a:r>
          </a:p>
        </p:txBody>
      </p:sp>
      <p:sp>
        <p:nvSpPr>
          <p:cNvPr id="5" name="Rectángulo 4">
            <a:extLst>
              <a:ext uri="{FF2B5EF4-FFF2-40B4-BE49-F238E27FC236}">
                <a16:creationId xmlns:a16="http://schemas.microsoft.com/office/drawing/2014/main" id="{9C61D371-C7E2-095C-913D-D05632258445}"/>
              </a:ext>
            </a:extLst>
          </p:cNvPr>
          <p:cNvSpPr/>
          <p:nvPr/>
        </p:nvSpPr>
        <p:spPr>
          <a:xfrm>
            <a:off x="838201" y="2670144"/>
            <a:ext cx="9618440" cy="707886"/>
          </a:xfrm>
          <a:prstGeom prst="rect">
            <a:avLst/>
          </a:prstGeom>
        </p:spPr>
        <p:txBody>
          <a:bodyPr wrap="square">
            <a:spAutoFit/>
          </a:bodyPr>
          <a:lstStyle/>
          <a:p>
            <a:r>
              <a:rPr lang="es-AR" sz="2000">
                <a:solidFill>
                  <a:schemeClr val="accent5"/>
                </a:solidFill>
              </a:rPr>
              <a:t>Si las pruebas fallan, el fix/versión deberá retornar a Desarrollo pues no está listo para ser testeado por el equipo de Testing</a:t>
            </a:r>
          </a:p>
        </p:txBody>
      </p:sp>
    </p:spTree>
    <p:extLst>
      <p:ext uri="{BB962C8B-B14F-4D97-AF65-F5344CB8AC3E}">
        <p14:creationId xmlns:p14="http://schemas.microsoft.com/office/powerpoint/2010/main" val="28031394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2FFC25-724D-B1A1-F7CA-B63864F37458}"/>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F727CBA5-B7D9-7DF1-5C16-2EEBDD694FF6}"/>
              </a:ext>
            </a:extLst>
          </p:cNvPr>
          <p:cNvSpPr>
            <a:spLocks noGrp="1"/>
          </p:cNvSpPr>
          <p:nvPr>
            <p:ph type="body" sz="quarter" idx="14"/>
          </p:nvPr>
        </p:nvSpPr>
        <p:spPr/>
        <p:txBody>
          <a:bodyPr/>
          <a:lstStyle/>
          <a:p>
            <a:endParaRPr lang="es-PE"/>
          </a:p>
        </p:txBody>
      </p:sp>
      <p:sp>
        <p:nvSpPr>
          <p:cNvPr id="3" name="Título 2">
            <a:extLst>
              <a:ext uri="{FF2B5EF4-FFF2-40B4-BE49-F238E27FC236}">
                <a16:creationId xmlns:a16="http://schemas.microsoft.com/office/drawing/2014/main" id="{61BF2AAA-075D-A367-2611-EEEB1FC8AD36}"/>
              </a:ext>
            </a:extLst>
          </p:cNvPr>
          <p:cNvSpPr>
            <a:spLocks noGrp="1"/>
          </p:cNvSpPr>
          <p:nvPr>
            <p:ph type="title"/>
          </p:nvPr>
        </p:nvSpPr>
        <p:spPr/>
        <p:txBody>
          <a:bodyPr/>
          <a:lstStyle/>
          <a:p>
            <a:r>
              <a:rPr lang="es-MX"/>
              <a:t> </a:t>
            </a:r>
            <a:endParaRPr lang="es-PE"/>
          </a:p>
        </p:txBody>
      </p:sp>
      <p:sp>
        <p:nvSpPr>
          <p:cNvPr id="6" name="Title 5">
            <a:extLst>
              <a:ext uri="{FF2B5EF4-FFF2-40B4-BE49-F238E27FC236}">
                <a16:creationId xmlns:a16="http://schemas.microsoft.com/office/drawing/2014/main" id="{68F10817-82A4-194C-6360-A824664B2C36}"/>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15.6. 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a:solidFill>
                  <a:srgbClr val="203864"/>
                </a:solidFill>
                <a:latin typeface="Santander Headline" panose="020B0504020201020104" pitchFamily="34" charset="0"/>
              </a:rPr>
              <a:t>PRUEBAS FUNCIONALES</a:t>
            </a:r>
            <a:endParaRPr lang="es-MX">
              <a:solidFill>
                <a:srgbClr val="203864"/>
              </a:solidFill>
            </a:endParaRPr>
          </a:p>
        </p:txBody>
      </p:sp>
      <p:sp>
        <p:nvSpPr>
          <p:cNvPr id="2" name="Rectángulo 1">
            <a:extLst>
              <a:ext uri="{FF2B5EF4-FFF2-40B4-BE49-F238E27FC236}">
                <a16:creationId xmlns:a16="http://schemas.microsoft.com/office/drawing/2014/main" id="{E62DC90A-F586-111F-4FB3-6477BB6FE558}"/>
              </a:ext>
            </a:extLst>
          </p:cNvPr>
          <p:cNvSpPr/>
          <p:nvPr/>
        </p:nvSpPr>
        <p:spPr>
          <a:xfrm>
            <a:off x="838199" y="1443335"/>
            <a:ext cx="10320867" cy="2246769"/>
          </a:xfrm>
          <a:prstGeom prst="rect">
            <a:avLst/>
          </a:prstGeom>
        </p:spPr>
        <p:txBody>
          <a:bodyPr wrap="square">
            <a:spAutoFit/>
          </a:bodyPr>
          <a:lstStyle/>
          <a:p>
            <a:pPr algn="just"/>
            <a:r>
              <a:rPr lang="es-ES" sz="2000">
                <a:solidFill>
                  <a:schemeClr val="accent5"/>
                </a:solidFill>
              </a:rPr>
              <a:t>Una prueba funcional es una prueba de tipo caja negra basada en la ejecución, revisión y retroalimentación de las funcionalidades previamente diseñadas para el software.</a:t>
            </a:r>
          </a:p>
          <a:p>
            <a:pPr algn="just"/>
            <a:endParaRPr lang="es-ES" sz="2000">
              <a:solidFill>
                <a:schemeClr val="accent5"/>
              </a:solidFill>
            </a:endParaRPr>
          </a:p>
          <a:p>
            <a:pPr algn="just"/>
            <a:endParaRPr lang="es-ES" sz="2000">
              <a:solidFill>
                <a:schemeClr val="accent5"/>
              </a:solidFill>
            </a:endParaRPr>
          </a:p>
          <a:p>
            <a:pPr marL="0" lvl="1" algn="just"/>
            <a:r>
              <a:rPr lang="es-AR" sz="2000">
                <a:solidFill>
                  <a:schemeClr val="accent5"/>
                </a:solidFill>
              </a:rPr>
              <a:t>No se requiere conocer la estructura interna del sistema/componente bajo prueba, sino que éste se ve como una “caja negra”, que ante ciertas entradas genera ciertas salidas.</a:t>
            </a:r>
          </a:p>
          <a:p>
            <a:pPr algn="just"/>
            <a:endParaRPr lang="es-PE" sz="2000"/>
          </a:p>
        </p:txBody>
      </p:sp>
      <p:pic>
        <p:nvPicPr>
          <p:cNvPr id="7" name="Picture 2" descr="https://qubeshub.org/app/site/groups/1210/uploads/uk-0406-349751-front.jpg">
            <a:extLst>
              <a:ext uri="{FF2B5EF4-FFF2-40B4-BE49-F238E27FC236}">
                <a16:creationId xmlns:a16="http://schemas.microsoft.com/office/drawing/2014/main" id="{A20BB745-2890-7B5F-7DBB-CFBC40E86DF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914" t="4324" r="20568" b="6216"/>
          <a:stretch/>
        </p:blipFill>
        <p:spPr bwMode="auto">
          <a:xfrm>
            <a:off x="7594159" y="3628549"/>
            <a:ext cx="2213046" cy="2223535"/>
          </a:xfrm>
          <a:prstGeom prst="rect">
            <a:avLst/>
          </a:prstGeom>
          <a:noFill/>
          <a:extLst>
            <a:ext uri="{909E8E84-426E-40DD-AFC4-6F175D3DCCD1}">
              <a14:hiddenFill xmlns:a14="http://schemas.microsoft.com/office/drawing/2010/main">
                <a:solidFill>
                  <a:srgbClr val="FFFFFF"/>
                </a:solidFill>
              </a14:hiddenFill>
            </a:ext>
          </a:extLst>
        </p:spPr>
      </p:pic>
      <p:sp>
        <p:nvSpPr>
          <p:cNvPr id="9" name="Flecha derecha 13">
            <a:extLst>
              <a:ext uri="{FF2B5EF4-FFF2-40B4-BE49-F238E27FC236}">
                <a16:creationId xmlns:a16="http://schemas.microsoft.com/office/drawing/2014/main" id="{CDDA1164-AD39-0987-B382-1759E4BC5D32}"/>
              </a:ext>
            </a:extLst>
          </p:cNvPr>
          <p:cNvSpPr/>
          <p:nvPr/>
        </p:nvSpPr>
        <p:spPr>
          <a:xfrm>
            <a:off x="6733335" y="4520791"/>
            <a:ext cx="957809" cy="424365"/>
          </a:xfrm>
          <a:prstGeom prst="rightArrow">
            <a:avLst/>
          </a:prstGeom>
          <a:solidFill>
            <a:srgbClr val="0E66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10" name="Flecha derecha 14">
            <a:extLst>
              <a:ext uri="{FF2B5EF4-FFF2-40B4-BE49-F238E27FC236}">
                <a16:creationId xmlns:a16="http://schemas.microsoft.com/office/drawing/2014/main" id="{E5280A22-4607-D6A8-63FD-5B9082A7615A}"/>
              </a:ext>
            </a:extLst>
          </p:cNvPr>
          <p:cNvSpPr/>
          <p:nvPr/>
        </p:nvSpPr>
        <p:spPr>
          <a:xfrm>
            <a:off x="9725924" y="4504789"/>
            <a:ext cx="866649" cy="424365"/>
          </a:xfrm>
          <a:prstGeom prst="rightArrow">
            <a:avLst/>
          </a:prstGeom>
          <a:solidFill>
            <a:srgbClr val="0E66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11" name="Rectángulo 10">
            <a:extLst>
              <a:ext uri="{FF2B5EF4-FFF2-40B4-BE49-F238E27FC236}">
                <a16:creationId xmlns:a16="http://schemas.microsoft.com/office/drawing/2014/main" id="{8BA13855-DE0F-7D1B-699A-6214FE79E79D}"/>
              </a:ext>
            </a:extLst>
          </p:cNvPr>
          <p:cNvSpPr/>
          <p:nvPr/>
        </p:nvSpPr>
        <p:spPr>
          <a:xfrm>
            <a:off x="6663544" y="4361468"/>
            <a:ext cx="1026276" cy="338554"/>
          </a:xfrm>
          <a:prstGeom prst="rect">
            <a:avLst/>
          </a:prstGeom>
        </p:spPr>
        <p:txBody>
          <a:bodyPr wrap="square">
            <a:spAutoFit/>
          </a:bodyPr>
          <a:lstStyle/>
          <a:p>
            <a:pPr marL="0" lvl="1"/>
            <a:r>
              <a:rPr lang="es-AR" sz="1600" b="1">
                <a:solidFill>
                  <a:schemeClr val="accent5"/>
                </a:solidFill>
              </a:rPr>
              <a:t>Entrada</a:t>
            </a:r>
            <a:endParaRPr lang="es-AR" sz="1600" u="sng">
              <a:solidFill>
                <a:schemeClr val="accent5"/>
              </a:solidFill>
              <a:latin typeface="Arial" pitchFamily="34" charset="0"/>
              <a:cs typeface="Arial" pitchFamily="34" charset="0"/>
            </a:endParaRPr>
          </a:p>
        </p:txBody>
      </p:sp>
      <p:sp>
        <p:nvSpPr>
          <p:cNvPr id="12" name="Rectángulo 11">
            <a:extLst>
              <a:ext uri="{FF2B5EF4-FFF2-40B4-BE49-F238E27FC236}">
                <a16:creationId xmlns:a16="http://schemas.microsoft.com/office/drawing/2014/main" id="{25078FE3-1411-C3A8-994B-E96BCB7795ED}"/>
              </a:ext>
            </a:extLst>
          </p:cNvPr>
          <p:cNvSpPr/>
          <p:nvPr/>
        </p:nvSpPr>
        <p:spPr>
          <a:xfrm>
            <a:off x="9686751" y="4335512"/>
            <a:ext cx="1026276" cy="338554"/>
          </a:xfrm>
          <a:prstGeom prst="rect">
            <a:avLst/>
          </a:prstGeom>
        </p:spPr>
        <p:txBody>
          <a:bodyPr wrap="square">
            <a:spAutoFit/>
          </a:bodyPr>
          <a:lstStyle/>
          <a:p>
            <a:pPr marL="0" lvl="1"/>
            <a:r>
              <a:rPr lang="es-AR" sz="1600" b="1">
                <a:solidFill>
                  <a:schemeClr val="accent5"/>
                </a:solidFill>
              </a:rPr>
              <a:t>Salida</a:t>
            </a:r>
            <a:endParaRPr lang="es-AR" sz="1600" u="sng">
              <a:solidFill>
                <a:schemeClr val="accent5"/>
              </a:solidFill>
              <a:latin typeface="Arial" pitchFamily="34" charset="0"/>
              <a:cs typeface="Arial" pitchFamily="34" charset="0"/>
            </a:endParaRPr>
          </a:p>
        </p:txBody>
      </p:sp>
    </p:spTree>
    <p:extLst>
      <p:ext uri="{BB962C8B-B14F-4D97-AF65-F5344CB8AC3E}">
        <p14:creationId xmlns:p14="http://schemas.microsoft.com/office/powerpoint/2010/main" val="26057932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60AC94-4EFF-CBE5-9600-9516635F47FF}"/>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AAFEFCB0-5503-7232-599E-351AD0EAD444}"/>
              </a:ext>
            </a:extLst>
          </p:cNvPr>
          <p:cNvSpPr>
            <a:spLocks noGrp="1"/>
          </p:cNvSpPr>
          <p:nvPr>
            <p:ph type="body" sz="quarter" idx="14"/>
          </p:nvPr>
        </p:nvSpPr>
        <p:spPr/>
        <p:txBody>
          <a:bodyPr/>
          <a:lstStyle/>
          <a:p>
            <a:endParaRPr lang="es-PE"/>
          </a:p>
        </p:txBody>
      </p:sp>
      <p:sp>
        <p:nvSpPr>
          <p:cNvPr id="3" name="Título 2">
            <a:extLst>
              <a:ext uri="{FF2B5EF4-FFF2-40B4-BE49-F238E27FC236}">
                <a16:creationId xmlns:a16="http://schemas.microsoft.com/office/drawing/2014/main" id="{155652E0-38BC-392B-F1E5-E390B534C9C3}"/>
              </a:ext>
            </a:extLst>
          </p:cNvPr>
          <p:cNvSpPr>
            <a:spLocks noGrp="1"/>
          </p:cNvSpPr>
          <p:nvPr>
            <p:ph type="title"/>
          </p:nvPr>
        </p:nvSpPr>
        <p:spPr/>
        <p:txBody>
          <a:bodyPr/>
          <a:lstStyle/>
          <a:p>
            <a:r>
              <a:rPr lang="es-MX"/>
              <a:t> </a:t>
            </a:r>
            <a:endParaRPr lang="es-PE"/>
          </a:p>
        </p:txBody>
      </p:sp>
      <p:sp>
        <p:nvSpPr>
          <p:cNvPr id="6" name="Title 5">
            <a:extLst>
              <a:ext uri="{FF2B5EF4-FFF2-40B4-BE49-F238E27FC236}">
                <a16:creationId xmlns:a16="http://schemas.microsoft.com/office/drawing/2014/main" id="{369988FD-1CC4-AEAC-79DF-A4EAA03AD22D}"/>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15.7. 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a:solidFill>
                  <a:srgbClr val="203864"/>
                </a:solidFill>
                <a:latin typeface="Santander Headline" panose="020B0504020201020104" pitchFamily="34" charset="0"/>
              </a:rPr>
              <a:t>PRUEBAS DE COMPATIBILIDAD</a:t>
            </a:r>
            <a:endParaRPr lang="es-MX">
              <a:solidFill>
                <a:srgbClr val="203864"/>
              </a:solidFill>
            </a:endParaRPr>
          </a:p>
        </p:txBody>
      </p:sp>
      <p:sp>
        <p:nvSpPr>
          <p:cNvPr id="2" name="Rectángulo 1">
            <a:extLst>
              <a:ext uri="{FF2B5EF4-FFF2-40B4-BE49-F238E27FC236}">
                <a16:creationId xmlns:a16="http://schemas.microsoft.com/office/drawing/2014/main" id="{EE0012BF-E1FD-5924-F85B-9731C5A7D56F}"/>
              </a:ext>
            </a:extLst>
          </p:cNvPr>
          <p:cNvSpPr/>
          <p:nvPr/>
        </p:nvSpPr>
        <p:spPr>
          <a:xfrm>
            <a:off x="838199" y="1443335"/>
            <a:ext cx="10320867" cy="2554545"/>
          </a:xfrm>
          <a:prstGeom prst="rect">
            <a:avLst/>
          </a:prstGeom>
        </p:spPr>
        <p:txBody>
          <a:bodyPr wrap="square">
            <a:spAutoFit/>
          </a:bodyPr>
          <a:lstStyle/>
          <a:p>
            <a:pPr algn="just"/>
            <a:r>
              <a:rPr lang="es-MX" sz="2000">
                <a:solidFill>
                  <a:schemeClr val="accent5"/>
                </a:solidFill>
              </a:rPr>
              <a:t>Las pruebas de compatibilidad son un tipo de prueba de software que tienen como objetivo verificar que una aplicación o sistema funcione correctamente en diferentes entornos, plataformas, dispositivos, navegadores, sistemas operativos, configuraciones de hardware o versiones de software.</a:t>
            </a:r>
            <a:endParaRPr lang="es-ES" sz="2000">
              <a:solidFill>
                <a:schemeClr val="accent5"/>
              </a:solidFill>
            </a:endParaRPr>
          </a:p>
          <a:p>
            <a:pPr algn="just"/>
            <a:endParaRPr lang="es-ES" sz="2000">
              <a:solidFill>
                <a:schemeClr val="accent5"/>
              </a:solidFill>
            </a:endParaRPr>
          </a:p>
          <a:p>
            <a:pPr marL="0" lvl="1" algn="just"/>
            <a:r>
              <a:rPr lang="es-MX" sz="2000">
                <a:solidFill>
                  <a:schemeClr val="accent5"/>
                </a:solidFill>
              </a:rPr>
              <a:t>Estas pruebas permiten identificar posibles fallos o inconsistencias que puedan surgir debido a las diferencias en el entorno donde se ejecuta la aplicación, asegurando así una experiencia de usuario consistente y sin errores, independientemente de la plataforma utilizada.</a:t>
            </a:r>
            <a:endParaRPr lang="es-PE" sz="2000">
              <a:solidFill>
                <a:schemeClr val="accent5"/>
              </a:solidFill>
            </a:endParaRPr>
          </a:p>
        </p:txBody>
      </p:sp>
      <p:pic>
        <p:nvPicPr>
          <p:cNvPr id="4" name="Imagen 3">
            <a:extLst>
              <a:ext uri="{FF2B5EF4-FFF2-40B4-BE49-F238E27FC236}">
                <a16:creationId xmlns:a16="http://schemas.microsoft.com/office/drawing/2014/main" id="{C39A80CE-66F1-05B9-8A3A-92E1C30CE0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9194" y="3997880"/>
            <a:ext cx="2117407" cy="2422896"/>
          </a:xfrm>
          <a:prstGeom prst="rect">
            <a:avLst/>
          </a:prstGeom>
        </p:spPr>
      </p:pic>
    </p:spTree>
    <p:extLst>
      <p:ext uri="{BB962C8B-B14F-4D97-AF65-F5344CB8AC3E}">
        <p14:creationId xmlns:p14="http://schemas.microsoft.com/office/powerpoint/2010/main" val="17502259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7EB88E-CBAC-7013-79F4-D08145FD46D8}"/>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6C63DEED-8C67-3E82-E470-9F0485B4BEE8}"/>
              </a:ext>
            </a:extLst>
          </p:cNvPr>
          <p:cNvSpPr>
            <a:spLocks noGrp="1"/>
          </p:cNvSpPr>
          <p:nvPr>
            <p:ph type="body" sz="quarter" idx="14"/>
          </p:nvPr>
        </p:nvSpPr>
        <p:spPr/>
        <p:txBody>
          <a:bodyPr/>
          <a:lstStyle/>
          <a:p>
            <a:endParaRPr lang="es-PE"/>
          </a:p>
        </p:txBody>
      </p:sp>
      <p:sp>
        <p:nvSpPr>
          <p:cNvPr id="3" name="Título 2">
            <a:extLst>
              <a:ext uri="{FF2B5EF4-FFF2-40B4-BE49-F238E27FC236}">
                <a16:creationId xmlns:a16="http://schemas.microsoft.com/office/drawing/2014/main" id="{04374F77-2B06-0D36-3385-250DB3CC45AE}"/>
              </a:ext>
            </a:extLst>
          </p:cNvPr>
          <p:cNvSpPr>
            <a:spLocks noGrp="1"/>
          </p:cNvSpPr>
          <p:nvPr>
            <p:ph type="title"/>
          </p:nvPr>
        </p:nvSpPr>
        <p:spPr/>
        <p:txBody>
          <a:bodyPr/>
          <a:lstStyle/>
          <a:p>
            <a:r>
              <a:rPr lang="es-MX"/>
              <a:t> </a:t>
            </a:r>
            <a:endParaRPr lang="es-PE"/>
          </a:p>
        </p:txBody>
      </p:sp>
      <p:sp>
        <p:nvSpPr>
          <p:cNvPr id="6" name="Title 5">
            <a:extLst>
              <a:ext uri="{FF2B5EF4-FFF2-40B4-BE49-F238E27FC236}">
                <a16:creationId xmlns:a16="http://schemas.microsoft.com/office/drawing/2014/main" id="{22907952-E64F-EE10-270D-F70F8F5DA928}"/>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15.8. 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a:solidFill>
                  <a:srgbClr val="203864"/>
                </a:solidFill>
                <a:latin typeface="Santander Headline" panose="020B0504020201020104" pitchFamily="34" charset="0"/>
              </a:rPr>
              <a:t>PRUEBAS DE REGRESIÓN</a:t>
            </a:r>
            <a:endParaRPr lang="es-MX">
              <a:solidFill>
                <a:srgbClr val="203864"/>
              </a:solidFill>
            </a:endParaRPr>
          </a:p>
        </p:txBody>
      </p:sp>
      <p:sp>
        <p:nvSpPr>
          <p:cNvPr id="5" name="Rectángulo 4">
            <a:extLst>
              <a:ext uri="{FF2B5EF4-FFF2-40B4-BE49-F238E27FC236}">
                <a16:creationId xmlns:a16="http://schemas.microsoft.com/office/drawing/2014/main" id="{56657FD6-ABEE-9D72-5E09-690DF1A7C868}"/>
              </a:ext>
            </a:extLst>
          </p:cNvPr>
          <p:cNvSpPr/>
          <p:nvPr/>
        </p:nvSpPr>
        <p:spPr>
          <a:xfrm>
            <a:off x="838200" y="1525925"/>
            <a:ext cx="10061189" cy="2246769"/>
          </a:xfrm>
          <a:prstGeom prst="rect">
            <a:avLst/>
          </a:prstGeom>
        </p:spPr>
        <p:txBody>
          <a:bodyPr wrap="square">
            <a:spAutoFit/>
          </a:bodyPr>
          <a:lstStyle/>
          <a:p>
            <a:r>
              <a:rPr lang="es-AR" sz="2000">
                <a:solidFill>
                  <a:schemeClr val="accent5"/>
                </a:solidFill>
              </a:rPr>
              <a:t>Involucra re-ejecutar pruebas luego de la corrección de defectos o modificación de un sistema o su ambiente.</a:t>
            </a:r>
          </a:p>
          <a:p>
            <a:endParaRPr lang="es-AR" sz="2000"/>
          </a:p>
          <a:p>
            <a:r>
              <a:rPr lang="es-AR" sz="2000">
                <a:solidFill>
                  <a:schemeClr val="accent5"/>
                </a:solidFill>
              </a:rPr>
              <a:t>Su objetivo es comprobar que los cambios realizados no introdujeron  defectos o efectos colaterales en las funcionalidades que no fueron modificadas.</a:t>
            </a:r>
          </a:p>
          <a:p>
            <a:endParaRPr lang="es-AR" sz="2000"/>
          </a:p>
          <a:p>
            <a:endParaRPr lang="es-AR" sz="2000"/>
          </a:p>
        </p:txBody>
      </p:sp>
      <p:grpSp>
        <p:nvGrpSpPr>
          <p:cNvPr id="7" name="Grupo 6">
            <a:extLst>
              <a:ext uri="{FF2B5EF4-FFF2-40B4-BE49-F238E27FC236}">
                <a16:creationId xmlns:a16="http://schemas.microsoft.com/office/drawing/2014/main" id="{59938039-7BE4-5D3E-FC5C-9E9123AB12D0}"/>
              </a:ext>
            </a:extLst>
          </p:cNvPr>
          <p:cNvGrpSpPr/>
          <p:nvPr/>
        </p:nvGrpSpPr>
        <p:grpSpPr>
          <a:xfrm>
            <a:off x="8459948" y="3451848"/>
            <a:ext cx="2182777" cy="2459776"/>
            <a:chOff x="7189948" y="2181848"/>
            <a:chExt cx="2182777" cy="2459776"/>
          </a:xfrm>
        </p:grpSpPr>
        <p:pic>
          <p:nvPicPr>
            <p:cNvPr id="9" name="Imagen 8">
              <a:extLst>
                <a:ext uri="{FF2B5EF4-FFF2-40B4-BE49-F238E27FC236}">
                  <a16:creationId xmlns:a16="http://schemas.microsoft.com/office/drawing/2014/main" id="{068FB5B1-5F24-251C-27CC-19BD3038B5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89948" y="2181848"/>
              <a:ext cx="2182777" cy="2182777"/>
            </a:xfrm>
            <a:prstGeom prst="rect">
              <a:avLst/>
            </a:prstGeom>
          </p:spPr>
        </p:pic>
        <p:sp>
          <p:nvSpPr>
            <p:cNvPr id="10" name="Rectángulo 9">
              <a:extLst>
                <a:ext uri="{FF2B5EF4-FFF2-40B4-BE49-F238E27FC236}">
                  <a16:creationId xmlns:a16="http://schemas.microsoft.com/office/drawing/2014/main" id="{F5C2899A-03CE-CF7E-978F-9865CABFC38C}"/>
                </a:ext>
              </a:extLst>
            </p:cNvPr>
            <p:cNvSpPr/>
            <p:nvPr/>
          </p:nvSpPr>
          <p:spPr>
            <a:xfrm>
              <a:off x="7688697" y="4364625"/>
              <a:ext cx="1290931" cy="276999"/>
            </a:xfrm>
            <a:prstGeom prst="rect">
              <a:avLst/>
            </a:prstGeom>
          </p:spPr>
          <p:txBody>
            <a:bodyPr wrap="none">
              <a:spAutoFit/>
            </a:bodyPr>
            <a:lstStyle/>
            <a:p>
              <a:r>
                <a:rPr lang="es-AR" sz="1200" b="1">
                  <a:solidFill>
                    <a:schemeClr val="accent5"/>
                  </a:solidFill>
                </a:rPr>
                <a:t>Developer/Tester</a:t>
              </a:r>
            </a:p>
          </p:txBody>
        </p:sp>
      </p:grpSp>
    </p:spTree>
    <p:extLst>
      <p:ext uri="{BB962C8B-B14F-4D97-AF65-F5344CB8AC3E}">
        <p14:creationId xmlns:p14="http://schemas.microsoft.com/office/powerpoint/2010/main" val="29991752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D876B3-9E66-D071-CA08-41365CA87358}"/>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FB83A287-52E9-EE4E-F025-EB633C491544}"/>
              </a:ext>
            </a:extLst>
          </p:cNvPr>
          <p:cNvSpPr>
            <a:spLocks noGrp="1"/>
          </p:cNvSpPr>
          <p:nvPr>
            <p:ph type="body" sz="quarter" idx="14"/>
          </p:nvPr>
        </p:nvSpPr>
        <p:spPr/>
        <p:txBody>
          <a:bodyPr/>
          <a:lstStyle/>
          <a:p>
            <a:endParaRPr lang="es-PE"/>
          </a:p>
        </p:txBody>
      </p:sp>
      <p:sp>
        <p:nvSpPr>
          <p:cNvPr id="3" name="Título 2">
            <a:extLst>
              <a:ext uri="{FF2B5EF4-FFF2-40B4-BE49-F238E27FC236}">
                <a16:creationId xmlns:a16="http://schemas.microsoft.com/office/drawing/2014/main" id="{B705E15A-DDA9-CB95-7DA4-E168A54F3178}"/>
              </a:ext>
            </a:extLst>
          </p:cNvPr>
          <p:cNvSpPr>
            <a:spLocks noGrp="1"/>
          </p:cNvSpPr>
          <p:nvPr>
            <p:ph type="title"/>
          </p:nvPr>
        </p:nvSpPr>
        <p:spPr/>
        <p:txBody>
          <a:bodyPr/>
          <a:lstStyle/>
          <a:p>
            <a:r>
              <a:rPr lang="es-MX"/>
              <a:t> </a:t>
            </a:r>
            <a:endParaRPr lang="es-PE"/>
          </a:p>
        </p:txBody>
      </p:sp>
      <p:sp>
        <p:nvSpPr>
          <p:cNvPr id="6" name="Title 5">
            <a:extLst>
              <a:ext uri="{FF2B5EF4-FFF2-40B4-BE49-F238E27FC236}">
                <a16:creationId xmlns:a16="http://schemas.microsoft.com/office/drawing/2014/main" id="{D30A53E0-7309-FC10-71AE-1551F21167AE}"/>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15.9. 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a:solidFill>
                  <a:srgbClr val="203864"/>
                </a:solidFill>
                <a:latin typeface="Santander Headline" panose="020B0504020201020104" pitchFamily="34" charset="0"/>
              </a:rPr>
              <a:t>PRUEBAS EXPLORATORIAS</a:t>
            </a:r>
            <a:endParaRPr lang="es-MX">
              <a:solidFill>
                <a:srgbClr val="203864"/>
              </a:solidFill>
            </a:endParaRPr>
          </a:p>
        </p:txBody>
      </p:sp>
      <p:sp>
        <p:nvSpPr>
          <p:cNvPr id="2" name="Rectángulo 1">
            <a:extLst>
              <a:ext uri="{FF2B5EF4-FFF2-40B4-BE49-F238E27FC236}">
                <a16:creationId xmlns:a16="http://schemas.microsoft.com/office/drawing/2014/main" id="{D71997B9-FF1A-F150-E102-106E0797834A}"/>
              </a:ext>
            </a:extLst>
          </p:cNvPr>
          <p:cNvSpPr/>
          <p:nvPr/>
        </p:nvSpPr>
        <p:spPr>
          <a:xfrm>
            <a:off x="838200" y="1354667"/>
            <a:ext cx="10337800" cy="400110"/>
          </a:xfrm>
          <a:prstGeom prst="rect">
            <a:avLst/>
          </a:prstGeom>
        </p:spPr>
        <p:txBody>
          <a:bodyPr wrap="square">
            <a:spAutoFit/>
          </a:bodyPr>
          <a:lstStyle/>
          <a:p>
            <a:endParaRPr lang="es-ES" sz="2000"/>
          </a:p>
        </p:txBody>
      </p:sp>
      <p:sp>
        <p:nvSpPr>
          <p:cNvPr id="4" name="Rectángulo 3">
            <a:extLst>
              <a:ext uri="{FF2B5EF4-FFF2-40B4-BE49-F238E27FC236}">
                <a16:creationId xmlns:a16="http://schemas.microsoft.com/office/drawing/2014/main" id="{D739AADB-09B6-A637-1A4B-AA2ECACE05FC}"/>
              </a:ext>
            </a:extLst>
          </p:cNvPr>
          <p:cNvSpPr/>
          <p:nvPr/>
        </p:nvSpPr>
        <p:spPr>
          <a:xfrm>
            <a:off x="755904" y="1103483"/>
            <a:ext cx="10337800" cy="4093428"/>
          </a:xfrm>
          <a:prstGeom prst="rect">
            <a:avLst/>
          </a:prstGeom>
        </p:spPr>
        <p:txBody>
          <a:bodyPr wrap="square">
            <a:spAutoFit/>
          </a:bodyPr>
          <a:lstStyle/>
          <a:p>
            <a:pPr algn="just"/>
            <a:r>
              <a:rPr lang="es-ES" sz="2000">
                <a:solidFill>
                  <a:schemeClr val="accent5"/>
                </a:solidFill>
              </a:rPr>
              <a:t>Una prueba exploratoria consiste en el diseño y la ejecución de una prueba al mismo tiempo. Son llamadas también las pruebas creativas y críticas.</a:t>
            </a:r>
          </a:p>
          <a:p>
            <a:pPr algn="just"/>
            <a:endParaRPr lang="es-ES" sz="2000">
              <a:solidFill>
                <a:schemeClr val="accent5"/>
              </a:solidFill>
            </a:endParaRPr>
          </a:p>
          <a:p>
            <a:pPr algn="just"/>
            <a:r>
              <a:rPr lang="es-ES" sz="2000">
                <a:solidFill>
                  <a:schemeClr val="accent5"/>
                </a:solidFill>
              </a:rPr>
              <a:t>Las pruebas exploratorias son las que van a darle la inteligencia a nuestras pruebas automatizadas para que cada vez sean más efectivas y validar si cumplen con las expectativas.</a:t>
            </a:r>
          </a:p>
          <a:p>
            <a:pPr algn="just"/>
            <a:endParaRPr lang="es-ES" sz="2000">
              <a:solidFill>
                <a:schemeClr val="accent5"/>
              </a:solidFill>
            </a:endParaRPr>
          </a:p>
          <a:p>
            <a:pPr algn="just"/>
            <a:r>
              <a:rPr lang="es-ES" sz="2000">
                <a:solidFill>
                  <a:schemeClr val="accent5"/>
                </a:solidFill>
              </a:rPr>
              <a:t>Algunas formas de ponerla en práctica para equipos ágiles:</a:t>
            </a:r>
          </a:p>
          <a:p>
            <a:pPr algn="just"/>
            <a:endParaRPr lang="es-ES" sz="2000">
              <a:solidFill>
                <a:schemeClr val="accent5"/>
              </a:solidFill>
            </a:endParaRPr>
          </a:p>
          <a:p>
            <a:pPr marL="342900" indent="-342900" algn="just">
              <a:buFont typeface="Wingdings" panose="05000000000000000000" pitchFamily="2" charset="2"/>
              <a:buChar char="ü"/>
            </a:pPr>
            <a:r>
              <a:rPr lang="es-ES" sz="2000">
                <a:solidFill>
                  <a:schemeClr val="accent5"/>
                </a:solidFill>
              </a:rPr>
              <a:t>Realice pruebas exploratorias ad hoc a medida que se implementa cada historia de usuario.</a:t>
            </a:r>
          </a:p>
          <a:p>
            <a:pPr marL="342900" indent="-342900" algn="just">
              <a:buFont typeface="Wingdings" panose="05000000000000000000" pitchFamily="2" charset="2"/>
              <a:buChar char="ü"/>
            </a:pPr>
            <a:r>
              <a:rPr lang="es-ES" sz="2000">
                <a:solidFill>
                  <a:schemeClr val="accent5"/>
                </a:solidFill>
              </a:rPr>
              <a:t>Alinear sesiones de pruebas exploratorias con pruebas de regresión completa.</a:t>
            </a:r>
          </a:p>
          <a:p>
            <a:pPr marL="342900" indent="-342900" algn="just">
              <a:buFont typeface="Wingdings" panose="05000000000000000000" pitchFamily="2" charset="2"/>
              <a:buChar char="ü"/>
            </a:pPr>
            <a:r>
              <a:rPr lang="es-ES" sz="2000">
                <a:solidFill>
                  <a:schemeClr val="accent5"/>
                </a:solidFill>
              </a:rPr>
              <a:t>Sesiones exploratorias “Host </a:t>
            </a:r>
            <a:r>
              <a:rPr lang="es-ES" sz="2000" err="1">
                <a:solidFill>
                  <a:schemeClr val="accent5"/>
                </a:solidFill>
              </a:rPr>
              <a:t>Blitz</a:t>
            </a:r>
            <a:r>
              <a:rPr lang="es-ES" sz="2000">
                <a:solidFill>
                  <a:schemeClr val="accent5"/>
                </a:solidFill>
              </a:rPr>
              <a:t>” para funcionalidades críticas.</a:t>
            </a:r>
          </a:p>
          <a:p>
            <a:pPr marL="342900" indent="-342900" algn="just">
              <a:buFont typeface="Wingdings" panose="05000000000000000000" pitchFamily="2" charset="2"/>
              <a:buChar char="ü"/>
            </a:pPr>
            <a:endParaRPr lang="es-ES" sz="2000"/>
          </a:p>
          <a:p>
            <a:pPr algn="just"/>
            <a:endParaRPr lang="es-ES" sz="2000"/>
          </a:p>
        </p:txBody>
      </p:sp>
      <p:pic>
        <p:nvPicPr>
          <p:cNvPr id="3074" name="Picture 2" descr="Pruebas exploratorias: qué son, aspectos clave, y por qué quieren ...">
            <a:extLst>
              <a:ext uri="{FF2B5EF4-FFF2-40B4-BE49-F238E27FC236}">
                <a16:creationId xmlns:a16="http://schemas.microsoft.com/office/drawing/2014/main" id="{FD2EDF82-915A-EDCB-0023-C3C076F705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515" r="19740"/>
          <a:stretch>
            <a:fillRect/>
          </a:stretch>
        </p:blipFill>
        <p:spPr bwMode="auto">
          <a:xfrm>
            <a:off x="8229601" y="4231756"/>
            <a:ext cx="2946399" cy="20179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50522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B3048-83DA-6FB1-2587-968830B553A2}"/>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34CB572B-509B-50AF-4095-846787BD66F5}"/>
              </a:ext>
            </a:extLst>
          </p:cNvPr>
          <p:cNvSpPr>
            <a:spLocks noGrp="1"/>
          </p:cNvSpPr>
          <p:nvPr>
            <p:ph type="body" sz="quarter" idx="14"/>
          </p:nvPr>
        </p:nvSpPr>
        <p:spPr/>
        <p:txBody>
          <a:bodyPr/>
          <a:lstStyle/>
          <a:p>
            <a:endParaRPr lang="es-PE"/>
          </a:p>
        </p:txBody>
      </p:sp>
      <p:sp>
        <p:nvSpPr>
          <p:cNvPr id="3" name="Título 2">
            <a:extLst>
              <a:ext uri="{FF2B5EF4-FFF2-40B4-BE49-F238E27FC236}">
                <a16:creationId xmlns:a16="http://schemas.microsoft.com/office/drawing/2014/main" id="{E26624D4-1E77-0A82-1FAD-BF2DEC276C47}"/>
              </a:ext>
            </a:extLst>
          </p:cNvPr>
          <p:cNvSpPr>
            <a:spLocks noGrp="1"/>
          </p:cNvSpPr>
          <p:nvPr>
            <p:ph type="title"/>
          </p:nvPr>
        </p:nvSpPr>
        <p:spPr/>
        <p:txBody>
          <a:bodyPr/>
          <a:lstStyle/>
          <a:p>
            <a:r>
              <a:rPr lang="es-MX"/>
              <a:t> </a:t>
            </a:r>
            <a:endParaRPr lang="es-PE"/>
          </a:p>
        </p:txBody>
      </p:sp>
      <p:sp>
        <p:nvSpPr>
          <p:cNvPr id="6" name="Title 5">
            <a:extLst>
              <a:ext uri="{FF2B5EF4-FFF2-40B4-BE49-F238E27FC236}">
                <a16:creationId xmlns:a16="http://schemas.microsoft.com/office/drawing/2014/main" id="{FEED1C2F-528F-37D0-170A-7E7C1B245BC6}"/>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15.10. 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a:solidFill>
                  <a:srgbClr val="203864"/>
                </a:solidFill>
                <a:latin typeface="Santander Headline" panose="020B0504020201020104" pitchFamily="34" charset="0"/>
              </a:rPr>
              <a:t>PRUEBAS UAT</a:t>
            </a:r>
            <a:endParaRPr lang="es-MX">
              <a:solidFill>
                <a:srgbClr val="203864"/>
              </a:solidFill>
            </a:endParaRPr>
          </a:p>
        </p:txBody>
      </p:sp>
      <p:sp>
        <p:nvSpPr>
          <p:cNvPr id="2" name="Rectángulo 1">
            <a:extLst>
              <a:ext uri="{FF2B5EF4-FFF2-40B4-BE49-F238E27FC236}">
                <a16:creationId xmlns:a16="http://schemas.microsoft.com/office/drawing/2014/main" id="{F5A480F6-3380-48B8-C8CD-5CA9FDC7F59F}"/>
              </a:ext>
            </a:extLst>
          </p:cNvPr>
          <p:cNvSpPr/>
          <p:nvPr/>
        </p:nvSpPr>
        <p:spPr>
          <a:xfrm>
            <a:off x="838200" y="1354667"/>
            <a:ext cx="10337800" cy="400110"/>
          </a:xfrm>
          <a:prstGeom prst="rect">
            <a:avLst/>
          </a:prstGeom>
        </p:spPr>
        <p:txBody>
          <a:bodyPr wrap="square">
            <a:spAutoFit/>
          </a:bodyPr>
          <a:lstStyle/>
          <a:p>
            <a:endParaRPr lang="es-ES" sz="2000"/>
          </a:p>
        </p:txBody>
      </p:sp>
      <p:sp>
        <p:nvSpPr>
          <p:cNvPr id="4" name="Rectángulo 3">
            <a:extLst>
              <a:ext uri="{FF2B5EF4-FFF2-40B4-BE49-F238E27FC236}">
                <a16:creationId xmlns:a16="http://schemas.microsoft.com/office/drawing/2014/main" id="{809466BB-8E31-5881-9DF3-B93DCDA0BD55}"/>
              </a:ext>
            </a:extLst>
          </p:cNvPr>
          <p:cNvSpPr/>
          <p:nvPr/>
        </p:nvSpPr>
        <p:spPr>
          <a:xfrm>
            <a:off x="755904" y="1103483"/>
            <a:ext cx="10337800" cy="3170099"/>
          </a:xfrm>
          <a:prstGeom prst="rect">
            <a:avLst/>
          </a:prstGeom>
        </p:spPr>
        <p:txBody>
          <a:bodyPr wrap="square">
            <a:spAutoFit/>
          </a:bodyPr>
          <a:lstStyle/>
          <a:p>
            <a:pPr algn="just"/>
            <a:r>
              <a:rPr lang="es-MX" sz="2000">
                <a:solidFill>
                  <a:schemeClr val="accent5"/>
                </a:solidFill>
              </a:rPr>
              <a:t>Las pruebas UAT permiten asegurar que la solución desarrollada funciona correctamente desde el punto de vista del usuario, que los procesos y flujos de negocio están implementados como se espera y que el sistema está listo para ser puesto en producción. </a:t>
            </a:r>
          </a:p>
          <a:p>
            <a:pPr algn="just"/>
            <a:endParaRPr lang="es-MX" sz="2000">
              <a:solidFill>
                <a:schemeClr val="accent5"/>
              </a:solidFill>
            </a:endParaRPr>
          </a:p>
          <a:p>
            <a:pPr algn="just"/>
            <a:r>
              <a:rPr lang="es-MX" sz="2000">
                <a:solidFill>
                  <a:schemeClr val="accent5"/>
                </a:solidFill>
              </a:rPr>
              <a:t>Las pruebas UAT se realizan al final del ciclo de desarrollo, después de las pruebas funcionales y técnicas, y antes del paso a producción.</a:t>
            </a:r>
          </a:p>
          <a:p>
            <a:pPr algn="just"/>
            <a:endParaRPr lang="es-MX" sz="2000">
              <a:solidFill>
                <a:schemeClr val="accent5"/>
              </a:solidFill>
            </a:endParaRPr>
          </a:p>
          <a:p>
            <a:pPr algn="just"/>
            <a:r>
              <a:rPr lang="es-MX" sz="2000">
                <a:solidFill>
                  <a:schemeClr val="accent5"/>
                </a:solidFill>
              </a:rPr>
              <a:t>Son la última validación formal antes de la puesta en marcha, y su aprobación es fundamental para garantizar que el producto cumple con las necesidades del negocio y de los usuarios finales.</a:t>
            </a:r>
            <a:endParaRPr lang="es-ES" sz="2000">
              <a:solidFill>
                <a:schemeClr val="accent5"/>
              </a:solidFill>
            </a:endParaRPr>
          </a:p>
          <a:p>
            <a:pPr algn="just"/>
            <a:endParaRPr lang="es-ES" sz="2000"/>
          </a:p>
        </p:txBody>
      </p:sp>
      <p:pic>
        <p:nvPicPr>
          <p:cNvPr id="7170" name="Picture 2" descr="UAT Testing: A Comprehensive Guide">
            <a:extLst>
              <a:ext uri="{FF2B5EF4-FFF2-40B4-BE49-F238E27FC236}">
                <a16:creationId xmlns:a16="http://schemas.microsoft.com/office/drawing/2014/main" id="{90462CF7-1A90-F550-E3A5-CCB110A81EB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8558" b="11779"/>
          <a:stretch>
            <a:fillRect/>
          </a:stretch>
        </p:blipFill>
        <p:spPr bwMode="auto">
          <a:xfrm>
            <a:off x="7668768" y="4087368"/>
            <a:ext cx="2892552" cy="23042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31696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6F93BE-27F1-12C9-3DA5-6E25BE877E67}"/>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944032EE-E948-276B-C19F-46E476745372}"/>
              </a:ext>
            </a:extLst>
          </p:cNvPr>
          <p:cNvSpPr>
            <a:spLocks noGrp="1"/>
          </p:cNvSpPr>
          <p:nvPr>
            <p:ph type="body" sz="quarter" idx="14"/>
          </p:nvPr>
        </p:nvSpPr>
        <p:spPr/>
        <p:txBody>
          <a:bodyPr/>
          <a:lstStyle/>
          <a:p>
            <a:endParaRPr lang="es-PE"/>
          </a:p>
        </p:txBody>
      </p:sp>
      <p:sp>
        <p:nvSpPr>
          <p:cNvPr id="3" name="Título 2">
            <a:extLst>
              <a:ext uri="{FF2B5EF4-FFF2-40B4-BE49-F238E27FC236}">
                <a16:creationId xmlns:a16="http://schemas.microsoft.com/office/drawing/2014/main" id="{69871948-DD15-83F3-D789-A97AFC16C1C1}"/>
              </a:ext>
            </a:extLst>
          </p:cNvPr>
          <p:cNvSpPr>
            <a:spLocks noGrp="1"/>
          </p:cNvSpPr>
          <p:nvPr>
            <p:ph type="title"/>
          </p:nvPr>
        </p:nvSpPr>
        <p:spPr/>
        <p:txBody>
          <a:bodyPr/>
          <a:lstStyle/>
          <a:p>
            <a:r>
              <a:rPr lang="es-MX"/>
              <a:t> </a:t>
            </a:r>
            <a:endParaRPr lang="es-PE"/>
          </a:p>
        </p:txBody>
      </p:sp>
      <p:sp>
        <p:nvSpPr>
          <p:cNvPr id="6" name="Title 5">
            <a:extLst>
              <a:ext uri="{FF2B5EF4-FFF2-40B4-BE49-F238E27FC236}">
                <a16:creationId xmlns:a16="http://schemas.microsoft.com/office/drawing/2014/main" id="{4FD2C1F2-EE6F-92B2-AAB7-3DB736E47BCA}"/>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15.11. 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a:solidFill>
                  <a:srgbClr val="203864"/>
                </a:solidFill>
                <a:latin typeface="Santander Headline" panose="020B0504020201020104" pitchFamily="34" charset="0"/>
              </a:rPr>
              <a:t>PRUEBAS DE PERFORMANCE</a:t>
            </a:r>
            <a:endParaRPr lang="es-MX">
              <a:solidFill>
                <a:srgbClr val="203864"/>
              </a:solidFill>
            </a:endParaRPr>
          </a:p>
        </p:txBody>
      </p:sp>
      <p:sp>
        <p:nvSpPr>
          <p:cNvPr id="5" name="Rectángulo 4">
            <a:extLst>
              <a:ext uri="{FF2B5EF4-FFF2-40B4-BE49-F238E27FC236}">
                <a16:creationId xmlns:a16="http://schemas.microsoft.com/office/drawing/2014/main" id="{229D3910-5C2F-B784-F769-12A1E02BCBE0}"/>
              </a:ext>
            </a:extLst>
          </p:cNvPr>
          <p:cNvSpPr/>
          <p:nvPr/>
        </p:nvSpPr>
        <p:spPr>
          <a:xfrm>
            <a:off x="838200" y="1354667"/>
            <a:ext cx="10337800" cy="3170099"/>
          </a:xfrm>
          <a:prstGeom prst="rect">
            <a:avLst/>
          </a:prstGeom>
        </p:spPr>
        <p:txBody>
          <a:bodyPr wrap="square">
            <a:spAutoFit/>
          </a:bodyPr>
          <a:lstStyle/>
          <a:p>
            <a:pPr algn="just"/>
            <a:r>
              <a:rPr lang="es-ES" sz="2000">
                <a:solidFill>
                  <a:schemeClr val="accent5"/>
                </a:solidFill>
              </a:rPr>
              <a:t>Las pruebas de rendimientos son el estudio del comportamiento de un sistema, cuando se ve sometido a una carga que actúa de manera concurrente (que se ejecuta en el mismo periodo de tiempo.</a:t>
            </a:r>
            <a:endParaRPr lang="es-PE" sz="2000">
              <a:solidFill>
                <a:schemeClr val="accent5"/>
              </a:solidFill>
            </a:endParaRPr>
          </a:p>
          <a:p>
            <a:pPr algn="just"/>
            <a:br>
              <a:rPr lang="es-ES" sz="2000">
                <a:solidFill>
                  <a:schemeClr val="accent5"/>
                </a:solidFill>
              </a:rPr>
            </a:br>
            <a:r>
              <a:rPr lang="es-ES" sz="2000">
                <a:solidFill>
                  <a:schemeClr val="accent5"/>
                </a:solidFill>
              </a:rPr>
              <a:t>Los principales tipos de pruebas de rendimiento que existen son:</a:t>
            </a:r>
          </a:p>
          <a:p>
            <a:pPr algn="just"/>
            <a:endParaRPr lang="es-ES" sz="2000">
              <a:solidFill>
                <a:schemeClr val="accent5"/>
              </a:solidFill>
            </a:endParaRPr>
          </a:p>
          <a:p>
            <a:pPr marL="342900" indent="-342900" algn="just">
              <a:buFont typeface="Wingdings" panose="05000000000000000000" pitchFamily="2" charset="2"/>
              <a:buChar char="ü"/>
            </a:pPr>
            <a:r>
              <a:rPr lang="es-ES" sz="2000">
                <a:solidFill>
                  <a:schemeClr val="accent5"/>
                </a:solidFill>
              </a:rPr>
              <a:t>Pruebas de Carga</a:t>
            </a:r>
          </a:p>
          <a:p>
            <a:pPr marL="342900" indent="-342900" algn="just">
              <a:buFont typeface="Wingdings" panose="05000000000000000000" pitchFamily="2" charset="2"/>
              <a:buChar char="ü"/>
            </a:pPr>
            <a:r>
              <a:rPr lang="es-ES" sz="2000">
                <a:solidFill>
                  <a:schemeClr val="accent5"/>
                </a:solidFill>
              </a:rPr>
              <a:t>Pruebas de Picos</a:t>
            </a:r>
          </a:p>
          <a:p>
            <a:pPr marL="342900" indent="-342900" algn="just">
              <a:buFont typeface="Wingdings" panose="05000000000000000000" pitchFamily="2" charset="2"/>
              <a:buChar char="ü"/>
            </a:pPr>
            <a:r>
              <a:rPr lang="es-ES" sz="2000">
                <a:solidFill>
                  <a:schemeClr val="accent5"/>
                </a:solidFill>
              </a:rPr>
              <a:t>Pruebas de Estrés</a:t>
            </a:r>
          </a:p>
          <a:p>
            <a:pPr marL="342900" indent="-342900" algn="just">
              <a:buFont typeface="Wingdings" panose="05000000000000000000" pitchFamily="2" charset="2"/>
              <a:buChar char="ü"/>
            </a:pPr>
            <a:r>
              <a:rPr lang="es-ES" sz="2000">
                <a:solidFill>
                  <a:schemeClr val="accent5"/>
                </a:solidFill>
              </a:rPr>
              <a:t>Pruebas de Resistencia</a:t>
            </a:r>
          </a:p>
        </p:txBody>
      </p:sp>
      <p:pic>
        <p:nvPicPr>
          <p:cNvPr id="7" name="Imagen 6">
            <a:extLst>
              <a:ext uri="{FF2B5EF4-FFF2-40B4-BE49-F238E27FC236}">
                <a16:creationId xmlns:a16="http://schemas.microsoft.com/office/drawing/2014/main" id="{F9F3B518-278F-6C00-86A8-5AD1F4DE8B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9600" y="3294982"/>
            <a:ext cx="5432702" cy="2716351"/>
          </a:xfrm>
          <a:prstGeom prst="rect">
            <a:avLst/>
          </a:prstGeom>
        </p:spPr>
      </p:pic>
    </p:spTree>
    <p:extLst>
      <p:ext uri="{BB962C8B-B14F-4D97-AF65-F5344CB8AC3E}">
        <p14:creationId xmlns:p14="http://schemas.microsoft.com/office/powerpoint/2010/main" val="8785391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E5E73-F2D8-D48E-9258-4EE7BCED20D2}"/>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DCC054DB-D013-C888-072E-D45EC2355E9F}"/>
              </a:ext>
            </a:extLst>
          </p:cNvPr>
          <p:cNvSpPr>
            <a:spLocks noGrp="1"/>
          </p:cNvSpPr>
          <p:nvPr>
            <p:ph type="body" sz="quarter" idx="14"/>
          </p:nvPr>
        </p:nvSpPr>
        <p:spPr/>
        <p:txBody>
          <a:bodyPr/>
          <a:lstStyle/>
          <a:p>
            <a:endParaRPr lang="es-PE"/>
          </a:p>
        </p:txBody>
      </p:sp>
      <p:sp>
        <p:nvSpPr>
          <p:cNvPr id="3" name="Título 2">
            <a:extLst>
              <a:ext uri="{FF2B5EF4-FFF2-40B4-BE49-F238E27FC236}">
                <a16:creationId xmlns:a16="http://schemas.microsoft.com/office/drawing/2014/main" id="{6EA57475-6D97-5465-0885-D332AD04C48E}"/>
              </a:ext>
            </a:extLst>
          </p:cNvPr>
          <p:cNvSpPr>
            <a:spLocks noGrp="1"/>
          </p:cNvSpPr>
          <p:nvPr>
            <p:ph type="title"/>
          </p:nvPr>
        </p:nvSpPr>
        <p:spPr/>
        <p:txBody>
          <a:bodyPr/>
          <a:lstStyle/>
          <a:p>
            <a:r>
              <a:rPr lang="es-MX"/>
              <a:t> </a:t>
            </a:r>
            <a:endParaRPr lang="es-PE"/>
          </a:p>
        </p:txBody>
      </p:sp>
      <p:sp>
        <p:nvSpPr>
          <p:cNvPr id="6" name="Title 5">
            <a:extLst>
              <a:ext uri="{FF2B5EF4-FFF2-40B4-BE49-F238E27FC236}">
                <a16:creationId xmlns:a16="http://schemas.microsoft.com/office/drawing/2014/main" id="{D4B985BE-FD7C-AA4B-2CFF-C8643BF2DA50}"/>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15. 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err="1">
                <a:solidFill>
                  <a:srgbClr val="203864"/>
                </a:solidFill>
                <a:latin typeface="Santander Headline" panose="020B0504020201020104" pitchFamily="34" charset="0"/>
              </a:rPr>
              <a:t>Tipos</a:t>
            </a:r>
            <a:r>
              <a:rPr lang="en-GB" b="0">
                <a:solidFill>
                  <a:srgbClr val="203864"/>
                </a:solidFill>
                <a:latin typeface="Santander Headline" panose="020B0504020201020104" pitchFamily="34" charset="0"/>
              </a:rPr>
              <a:t> de </a:t>
            </a:r>
            <a:r>
              <a:rPr lang="en-GB" b="0" err="1">
                <a:solidFill>
                  <a:srgbClr val="203864"/>
                </a:solidFill>
                <a:latin typeface="Santander Headline" panose="020B0504020201020104" pitchFamily="34" charset="0"/>
              </a:rPr>
              <a:t>Pruebas</a:t>
            </a:r>
            <a:endParaRPr lang="es-MX">
              <a:solidFill>
                <a:srgbClr val="203864"/>
              </a:solidFill>
            </a:endParaRPr>
          </a:p>
        </p:txBody>
      </p:sp>
      <p:sp>
        <p:nvSpPr>
          <p:cNvPr id="2" name="CuadroTexto 1">
            <a:extLst>
              <a:ext uri="{FF2B5EF4-FFF2-40B4-BE49-F238E27FC236}">
                <a16:creationId xmlns:a16="http://schemas.microsoft.com/office/drawing/2014/main" id="{9DBC8239-F371-02C5-8A0F-D94CAC8836F9}"/>
              </a:ext>
            </a:extLst>
          </p:cNvPr>
          <p:cNvSpPr txBox="1"/>
          <p:nvPr/>
        </p:nvSpPr>
        <p:spPr>
          <a:xfrm>
            <a:off x="838200" y="953038"/>
            <a:ext cx="10440699" cy="5355312"/>
          </a:xfrm>
          <a:prstGeom prst="rect">
            <a:avLst/>
          </a:prstGeom>
          <a:noFill/>
        </p:spPr>
        <p:txBody>
          <a:bodyPr wrap="square" rtlCol="0">
            <a:spAutoFit/>
          </a:bodyPr>
          <a:lstStyle/>
          <a:p>
            <a:pPr marL="285750" indent="-285750">
              <a:lnSpc>
                <a:spcPct val="200000"/>
              </a:lnSpc>
              <a:buFont typeface="Wingdings" panose="05000000000000000000" pitchFamily="2" charset="2"/>
              <a:buChar char="§"/>
            </a:pPr>
            <a:r>
              <a:rPr lang="es-ES">
                <a:solidFill>
                  <a:sysClr val="windowText" lastClr="000000"/>
                </a:solidFill>
                <a:latin typeface="Calibri Light" panose="020F0302020204030204"/>
              </a:rPr>
              <a:t>Los principales tipos de pruebas :</a:t>
            </a:r>
          </a:p>
          <a:p>
            <a:pPr marL="742950" lvl="1" indent="-285750">
              <a:buFont typeface="Wingdings" panose="05000000000000000000" pitchFamily="2" charset="2"/>
              <a:buChar char="ü"/>
            </a:pPr>
            <a:r>
              <a:rPr lang="es-ES">
                <a:solidFill>
                  <a:sysClr val="windowText" lastClr="000000"/>
                </a:solidFill>
                <a:latin typeface="Calibri Light" panose="020F0302020204030204"/>
              </a:rPr>
              <a:t>Pruebas Unitarias(*)</a:t>
            </a:r>
          </a:p>
          <a:p>
            <a:pPr marL="742950" lvl="1" indent="-285750">
              <a:buFont typeface="Wingdings" panose="05000000000000000000" pitchFamily="2" charset="2"/>
              <a:buChar char="ü"/>
            </a:pPr>
            <a:r>
              <a:rPr lang="es-ES">
                <a:solidFill>
                  <a:sysClr val="windowText" lastClr="000000"/>
                </a:solidFill>
                <a:latin typeface="Calibri Light" panose="020F0302020204030204"/>
              </a:rPr>
              <a:t>Pruebas de Integración(*)</a:t>
            </a:r>
          </a:p>
          <a:p>
            <a:pPr marL="742950" lvl="1" indent="-285750">
              <a:buFont typeface="Wingdings" panose="05000000000000000000" pitchFamily="2" charset="2"/>
              <a:buChar char="ü"/>
            </a:pPr>
            <a:r>
              <a:rPr lang="es-ES">
                <a:solidFill>
                  <a:sysClr val="windowText" lastClr="000000"/>
                </a:solidFill>
                <a:latin typeface="Calibri Light" panose="020F0302020204030204"/>
              </a:rPr>
              <a:t>Pruebas de Instalación y Rollback (*)</a:t>
            </a:r>
          </a:p>
          <a:p>
            <a:pPr marL="742950" lvl="1" indent="-285750">
              <a:buFont typeface="Wingdings" panose="05000000000000000000" pitchFamily="2" charset="2"/>
              <a:buChar char="ü"/>
            </a:pPr>
            <a:r>
              <a:rPr lang="es-ES">
                <a:solidFill>
                  <a:sysClr val="windowText" lastClr="000000"/>
                </a:solidFill>
                <a:latin typeface="Calibri Light" panose="020F0302020204030204"/>
              </a:rPr>
              <a:t>Pruebas de Contrato</a:t>
            </a:r>
          </a:p>
          <a:p>
            <a:pPr marL="742950" lvl="1" indent="-285750">
              <a:buFont typeface="Wingdings" panose="05000000000000000000" pitchFamily="2" charset="2"/>
              <a:buChar char="ü"/>
            </a:pPr>
            <a:r>
              <a:rPr lang="es-ES">
                <a:solidFill>
                  <a:sysClr val="windowText" lastClr="000000"/>
                </a:solidFill>
                <a:latin typeface="Calibri Light" panose="020F0302020204030204"/>
              </a:rPr>
              <a:t>Pruebas de Humo</a:t>
            </a:r>
          </a:p>
          <a:p>
            <a:pPr marL="742950" lvl="1" indent="-285750">
              <a:buFont typeface="Wingdings" panose="05000000000000000000" pitchFamily="2" charset="2"/>
              <a:buChar char="ü"/>
            </a:pPr>
            <a:r>
              <a:rPr lang="es-ES">
                <a:solidFill>
                  <a:sysClr val="windowText" lastClr="000000"/>
                </a:solidFill>
                <a:latin typeface="Calibri Light" panose="020F0302020204030204"/>
              </a:rPr>
              <a:t>Pruebas Funcionales (</a:t>
            </a:r>
            <a:r>
              <a:rPr lang="es-ES" err="1">
                <a:solidFill>
                  <a:sysClr val="windowText" lastClr="000000"/>
                </a:solidFill>
                <a:latin typeface="Calibri Light" panose="020F0302020204030204"/>
              </a:rPr>
              <a:t>End</a:t>
            </a:r>
            <a:r>
              <a:rPr lang="es-ES">
                <a:solidFill>
                  <a:sysClr val="windowText" lastClr="000000"/>
                </a:solidFill>
                <a:latin typeface="Calibri Light" panose="020F0302020204030204"/>
              </a:rPr>
              <a:t> </a:t>
            </a:r>
            <a:r>
              <a:rPr lang="es-ES" err="1">
                <a:solidFill>
                  <a:sysClr val="windowText" lastClr="000000"/>
                </a:solidFill>
                <a:latin typeface="Calibri Light" panose="020F0302020204030204"/>
              </a:rPr>
              <a:t>To</a:t>
            </a:r>
            <a:r>
              <a:rPr lang="es-ES">
                <a:solidFill>
                  <a:sysClr val="windowText" lastClr="000000"/>
                </a:solidFill>
                <a:latin typeface="Calibri Light" panose="020F0302020204030204"/>
              </a:rPr>
              <a:t> </a:t>
            </a:r>
            <a:r>
              <a:rPr lang="es-ES" err="1">
                <a:solidFill>
                  <a:sysClr val="windowText" lastClr="000000"/>
                </a:solidFill>
                <a:latin typeface="Calibri Light" panose="020F0302020204030204"/>
              </a:rPr>
              <a:t>End</a:t>
            </a:r>
            <a:r>
              <a:rPr lang="es-ES">
                <a:solidFill>
                  <a:sysClr val="windowText" lastClr="000000"/>
                </a:solidFill>
                <a:latin typeface="Calibri Light" panose="020F0302020204030204"/>
              </a:rPr>
              <a:t>)</a:t>
            </a:r>
          </a:p>
          <a:p>
            <a:pPr marL="742950" lvl="1" indent="-285750">
              <a:buFont typeface="Wingdings" panose="05000000000000000000" pitchFamily="2" charset="2"/>
              <a:buChar char="ü"/>
            </a:pPr>
            <a:r>
              <a:rPr lang="es-ES">
                <a:solidFill>
                  <a:sysClr val="windowText" lastClr="000000"/>
                </a:solidFill>
                <a:latin typeface="Calibri Light" panose="020F0302020204030204"/>
              </a:rPr>
              <a:t>Pruebas de Compatibilidad</a:t>
            </a:r>
          </a:p>
          <a:p>
            <a:pPr marL="742950" lvl="1" indent="-285750">
              <a:buFont typeface="Wingdings" panose="05000000000000000000" pitchFamily="2" charset="2"/>
              <a:buChar char="ü"/>
            </a:pPr>
            <a:r>
              <a:rPr lang="es-ES">
                <a:solidFill>
                  <a:sysClr val="windowText" lastClr="000000"/>
                </a:solidFill>
                <a:latin typeface="Calibri Light" panose="020F0302020204030204"/>
              </a:rPr>
              <a:t>Pruebas de Regresión</a:t>
            </a:r>
          </a:p>
          <a:p>
            <a:pPr marL="742950" lvl="1" indent="-285750">
              <a:buFont typeface="Wingdings" panose="05000000000000000000" pitchFamily="2" charset="2"/>
              <a:buChar char="ü"/>
            </a:pPr>
            <a:r>
              <a:rPr lang="es-ES">
                <a:solidFill>
                  <a:sysClr val="windowText" lastClr="000000"/>
                </a:solidFill>
                <a:latin typeface="Calibri Light" panose="020F0302020204030204"/>
              </a:rPr>
              <a:t>Pruebas Exploratorias</a:t>
            </a:r>
          </a:p>
          <a:p>
            <a:pPr marL="742950" lvl="1" indent="-285750">
              <a:buFont typeface="Wingdings" panose="05000000000000000000" pitchFamily="2" charset="2"/>
              <a:buChar char="ü"/>
            </a:pPr>
            <a:r>
              <a:rPr lang="es-ES">
                <a:solidFill>
                  <a:sysClr val="windowText" lastClr="000000"/>
                </a:solidFill>
                <a:latin typeface="Calibri Light" panose="020F0302020204030204"/>
              </a:rPr>
              <a:t>Pruebas UAT(*)</a:t>
            </a:r>
          </a:p>
          <a:p>
            <a:pPr marL="742950" lvl="1" indent="-285750">
              <a:buFont typeface="Wingdings" panose="05000000000000000000" pitchFamily="2" charset="2"/>
              <a:buChar char="ü"/>
            </a:pPr>
            <a:r>
              <a:rPr lang="es-ES">
                <a:solidFill>
                  <a:sysClr val="windowText" lastClr="000000"/>
                </a:solidFill>
                <a:latin typeface="Calibri Light" panose="020F0302020204030204"/>
              </a:rPr>
              <a:t>Pruebas de Performance</a:t>
            </a:r>
          </a:p>
          <a:p>
            <a:pPr marL="1200150" lvl="2" indent="-285750">
              <a:buFont typeface="Wingdings" panose="05000000000000000000" pitchFamily="2" charset="2"/>
              <a:buChar char="§"/>
            </a:pPr>
            <a:r>
              <a:rPr lang="es-ES">
                <a:solidFill>
                  <a:sysClr val="windowText" lastClr="000000"/>
                </a:solidFill>
                <a:latin typeface="Calibri Light" panose="020F0302020204030204"/>
              </a:rPr>
              <a:t>Carga</a:t>
            </a:r>
          </a:p>
          <a:p>
            <a:pPr marL="1200150" lvl="2" indent="-285750">
              <a:buFont typeface="Wingdings" panose="05000000000000000000" pitchFamily="2" charset="2"/>
              <a:buChar char="§"/>
            </a:pPr>
            <a:r>
              <a:rPr lang="es-ES">
                <a:solidFill>
                  <a:sysClr val="windowText" lastClr="000000"/>
                </a:solidFill>
                <a:latin typeface="Calibri Light" panose="020F0302020204030204"/>
              </a:rPr>
              <a:t>Estrés</a:t>
            </a:r>
          </a:p>
          <a:p>
            <a:pPr marL="1200150" lvl="2" indent="-285750">
              <a:buFont typeface="Wingdings" panose="05000000000000000000" pitchFamily="2" charset="2"/>
              <a:buChar char="§"/>
            </a:pPr>
            <a:r>
              <a:rPr lang="es-ES">
                <a:solidFill>
                  <a:sysClr val="windowText" lastClr="000000"/>
                </a:solidFill>
                <a:latin typeface="Calibri Light" panose="020F0302020204030204"/>
              </a:rPr>
              <a:t>Picos</a:t>
            </a:r>
          </a:p>
          <a:p>
            <a:pPr marL="1200150" lvl="2" indent="-285750">
              <a:buFont typeface="Wingdings" panose="05000000000000000000" pitchFamily="2" charset="2"/>
              <a:buChar char="§"/>
            </a:pPr>
            <a:r>
              <a:rPr lang="es-ES">
                <a:solidFill>
                  <a:sysClr val="windowText" lastClr="000000"/>
                </a:solidFill>
                <a:latin typeface="Calibri Light" panose="020F0302020204030204"/>
              </a:rPr>
              <a:t>Resistencia</a:t>
            </a:r>
          </a:p>
          <a:p>
            <a:pPr marL="742950" lvl="1" indent="-285750">
              <a:buFont typeface="Wingdings" panose="05000000000000000000" pitchFamily="2" charset="2"/>
              <a:buChar char="ü"/>
            </a:pPr>
            <a:r>
              <a:rPr lang="es-ES">
                <a:solidFill>
                  <a:sysClr val="windowText" lastClr="000000"/>
                </a:solidFill>
                <a:latin typeface="Calibri Light" panose="020F0302020204030204"/>
              </a:rPr>
              <a:t>Pruebas de Seguridad(*)</a:t>
            </a:r>
          </a:p>
          <a:p>
            <a:pPr marL="742950" lvl="1" indent="-285750">
              <a:buFont typeface="Wingdings" panose="05000000000000000000" pitchFamily="2" charset="2"/>
              <a:buChar char="ü"/>
            </a:pPr>
            <a:endParaRPr lang="es-ES"/>
          </a:p>
        </p:txBody>
      </p:sp>
      <p:pic>
        <p:nvPicPr>
          <p:cNvPr id="4" name="Imagen 3">
            <a:extLst>
              <a:ext uri="{FF2B5EF4-FFF2-40B4-BE49-F238E27FC236}">
                <a16:creationId xmlns:a16="http://schemas.microsoft.com/office/drawing/2014/main" id="{65C87BCA-0AA2-AEBB-7F41-16829191A09B}"/>
              </a:ext>
            </a:extLst>
          </p:cNvPr>
          <p:cNvPicPr>
            <a:picLocks noChangeAspect="1"/>
          </p:cNvPicPr>
          <p:nvPr/>
        </p:nvPicPr>
        <p:blipFill>
          <a:blip r:embed="rId3"/>
          <a:stretch>
            <a:fillRect/>
          </a:stretch>
        </p:blipFill>
        <p:spPr>
          <a:xfrm>
            <a:off x="7248143" y="1386217"/>
            <a:ext cx="3657599" cy="4236333"/>
          </a:xfrm>
          <a:prstGeom prst="rect">
            <a:avLst/>
          </a:prstGeom>
        </p:spPr>
      </p:pic>
      <p:sp>
        <p:nvSpPr>
          <p:cNvPr id="5" name="CuadroTexto 4">
            <a:extLst>
              <a:ext uri="{FF2B5EF4-FFF2-40B4-BE49-F238E27FC236}">
                <a16:creationId xmlns:a16="http://schemas.microsoft.com/office/drawing/2014/main" id="{C56067DB-CA8B-BD06-35E1-2AB413754942}"/>
              </a:ext>
            </a:extLst>
          </p:cNvPr>
          <p:cNvSpPr txBox="1"/>
          <p:nvPr/>
        </p:nvSpPr>
        <p:spPr>
          <a:xfrm>
            <a:off x="6129526" y="6083161"/>
            <a:ext cx="5894832" cy="307777"/>
          </a:xfrm>
          <a:prstGeom prst="rect">
            <a:avLst/>
          </a:prstGeom>
          <a:noFill/>
        </p:spPr>
        <p:txBody>
          <a:bodyPr wrap="square" rtlCol="0">
            <a:spAutoFit/>
          </a:bodyPr>
          <a:lstStyle/>
          <a:p>
            <a:r>
              <a:rPr lang="es-MX" sz="1400" i="1">
                <a:solidFill>
                  <a:sysClr val="windowText" lastClr="000000"/>
                </a:solidFill>
                <a:latin typeface="Calibri Light" panose="020F0302020204030204"/>
              </a:rPr>
              <a:t>(*)El equipo QA acompañará o sincronizará esfuerzos con equipo responsable.</a:t>
            </a:r>
            <a:endParaRPr lang="es-PE" sz="1400" i="1">
              <a:solidFill>
                <a:sysClr val="windowText" lastClr="000000"/>
              </a:solidFill>
              <a:latin typeface="Calibri Light" panose="020F0302020204030204"/>
            </a:endParaRPr>
          </a:p>
        </p:txBody>
      </p:sp>
    </p:spTree>
    <p:extLst>
      <p:ext uri="{BB962C8B-B14F-4D97-AF65-F5344CB8AC3E}">
        <p14:creationId xmlns:p14="http://schemas.microsoft.com/office/powerpoint/2010/main" val="20503949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AA27B3-9D32-3436-542A-8B7B9F539B14}"/>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8F39F103-A95D-814D-0C1D-BED5A2B07167}"/>
              </a:ext>
            </a:extLst>
          </p:cNvPr>
          <p:cNvSpPr>
            <a:spLocks noGrp="1"/>
          </p:cNvSpPr>
          <p:nvPr>
            <p:ph type="body" sz="quarter" idx="14"/>
          </p:nvPr>
        </p:nvSpPr>
        <p:spPr/>
        <p:txBody>
          <a:bodyPr/>
          <a:lstStyle/>
          <a:p>
            <a:endParaRPr lang="es-PE"/>
          </a:p>
        </p:txBody>
      </p:sp>
      <p:sp>
        <p:nvSpPr>
          <p:cNvPr id="4" name="Título 3">
            <a:extLst>
              <a:ext uri="{FF2B5EF4-FFF2-40B4-BE49-F238E27FC236}">
                <a16:creationId xmlns:a16="http://schemas.microsoft.com/office/drawing/2014/main" id="{B7168677-F0B7-3973-ABCD-AEC710FA5589}"/>
              </a:ext>
            </a:extLst>
          </p:cNvPr>
          <p:cNvSpPr>
            <a:spLocks noGrp="1"/>
          </p:cNvSpPr>
          <p:nvPr>
            <p:ph type="title"/>
          </p:nvPr>
        </p:nvSpPr>
        <p:spPr/>
        <p:txBody>
          <a:bodyPr/>
          <a:lstStyle/>
          <a:p>
            <a:r>
              <a:rPr lang="es-PE"/>
              <a:t>Participación de QA desde el inicio</a:t>
            </a:r>
            <a:endParaRPr lang="es-MX" sz="2400"/>
          </a:p>
        </p:txBody>
      </p:sp>
      <p:grpSp>
        <p:nvGrpSpPr>
          <p:cNvPr id="23" name="Grupo 22">
            <a:extLst>
              <a:ext uri="{FF2B5EF4-FFF2-40B4-BE49-F238E27FC236}">
                <a16:creationId xmlns:a16="http://schemas.microsoft.com/office/drawing/2014/main" id="{F51B3FA4-FB6A-B1A3-33E0-31112194335D}"/>
              </a:ext>
            </a:extLst>
          </p:cNvPr>
          <p:cNvGrpSpPr/>
          <p:nvPr/>
        </p:nvGrpSpPr>
        <p:grpSpPr>
          <a:xfrm>
            <a:off x="386119" y="3283343"/>
            <a:ext cx="13516654" cy="3029484"/>
            <a:chOff x="383932" y="1741335"/>
            <a:chExt cx="13516654" cy="3029484"/>
          </a:xfrm>
        </p:grpSpPr>
        <p:sp>
          <p:nvSpPr>
            <p:cNvPr id="2" name="Rectángulo 1">
              <a:extLst>
                <a:ext uri="{FF2B5EF4-FFF2-40B4-BE49-F238E27FC236}">
                  <a16:creationId xmlns:a16="http://schemas.microsoft.com/office/drawing/2014/main" id="{CEEDCD27-026C-32DA-F23C-E263B2652D2F}"/>
                </a:ext>
              </a:extLst>
            </p:cNvPr>
            <p:cNvSpPr/>
            <p:nvPr/>
          </p:nvSpPr>
          <p:spPr>
            <a:xfrm>
              <a:off x="890546" y="1741336"/>
              <a:ext cx="3093057" cy="61441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b="1"/>
                <a:t>DEV</a:t>
              </a:r>
              <a:endParaRPr lang="es-PE" b="1"/>
            </a:p>
          </p:txBody>
        </p:sp>
        <p:sp>
          <p:nvSpPr>
            <p:cNvPr id="3" name="Rectángulo 2">
              <a:extLst>
                <a:ext uri="{FF2B5EF4-FFF2-40B4-BE49-F238E27FC236}">
                  <a16:creationId xmlns:a16="http://schemas.microsoft.com/office/drawing/2014/main" id="{71135203-FE0E-F4A7-B1E3-95DBE81AA372}"/>
                </a:ext>
              </a:extLst>
            </p:cNvPr>
            <p:cNvSpPr/>
            <p:nvPr/>
          </p:nvSpPr>
          <p:spPr>
            <a:xfrm>
              <a:off x="4549470" y="1741335"/>
              <a:ext cx="3093057" cy="61441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b="1"/>
                <a:t>UAT</a:t>
              </a:r>
              <a:endParaRPr lang="es-PE" b="1"/>
            </a:p>
          </p:txBody>
        </p:sp>
        <p:sp>
          <p:nvSpPr>
            <p:cNvPr id="5" name="Rectángulo 4">
              <a:extLst>
                <a:ext uri="{FF2B5EF4-FFF2-40B4-BE49-F238E27FC236}">
                  <a16:creationId xmlns:a16="http://schemas.microsoft.com/office/drawing/2014/main" id="{1F536615-DB40-40F5-8227-4FDD7E478C69}"/>
                </a:ext>
              </a:extLst>
            </p:cNvPr>
            <p:cNvSpPr/>
            <p:nvPr/>
          </p:nvSpPr>
          <p:spPr>
            <a:xfrm>
              <a:off x="8208394" y="1741335"/>
              <a:ext cx="3093057" cy="61441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b="1"/>
                <a:t>PROD</a:t>
              </a:r>
              <a:endParaRPr lang="es-PE" b="1"/>
            </a:p>
          </p:txBody>
        </p:sp>
        <p:sp>
          <p:nvSpPr>
            <p:cNvPr id="17" name="CuadroTexto 16">
              <a:extLst>
                <a:ext uri="{FF2B5EF4-FFF2-40B4-BE49-F238E27FC236}">
                  <a16:creationId xmlns:a16="http://schemas.microsoft.com/office/drawing/2014/main" id="{81C74288-51AB-AE0F-89CA-94E45502B951}"/>
                </a:ext>
              </a:extLst>
            </p:cNvPr>
            <p:cNvSpPr txBox="1"/>
            <p:nvPr/>
          </p:nvSpPr>
          <p:spPr>
            <a:xfrm>
              <a:off x="383932" y="2677938"/>
              <a:ext cx="6094674" cy="2092881"/>
            </a:xfrm>
            <a:prstGeom prst="rect">
              <a:avLst/>
            </a:prstGeom>
            <a:noFill/>
          </p:spPr>
          <p:txBody>
            <a:bodyPr wrap="square">
              <a:spAutoFit/>
            </a:bodyPr>
            <a:lstStyle/>
            <a:p>
              <a:pPr marL="742950" lvl="1" indent="-285750">
                <a:buFont typeface="Wingdings" panose="05000000000000000000" pitchFamily="2" charset="2"/>
                <a:buChar char="ü"/>
              </a:pPr>
              <a:r>
                <a:rPr lang="es-ES" sz="1400">
                  <a:solidFill>
                    <a:sysClr val="windowText" lastClr="000000"/>
                  </a:solidFill>
                  <a:latin typeface="Calibri Light" panose="020F0302020204030204"/>
                </a:rPr>
                <a:t>Pruebas Unitarias(*)</a:t>
              </a:r>
            </a:p>
            <a:p>
              <a:pPr marL="742950" lvl="1" indent="-285750">
                <a:buFont typeface="Wingdings" panose="05000000000000000000" pitchFamily="2" charset="2"/>
                <a:buChar char="ü"/>
              </a:pPr>
              <a:r>
                <a:rPr lang="es-ES" sz="1400">
                  <a:solidFill>
                    <a:sysClr val="windowText" lastClr="000000"/>
                  </a:solidFill>
                  <a:latin typeface="Calibri Light" panose="020F0302020204030204"/>
                </a:rPr>
                <a:t>Pruebas de Integración(*)</a:t>
              </a:r>
            </a:p>
            <a:p>
              <a:pPr marL="742950" lvl="1" indent="-285750">
                <a:buFont typeface="Wingdings" panose="05000000000000000000" pitchFamily="2" charset="2"/>
                <a:buChar char="ü"/>
              </a:pPr>
              <a:r>
                <a:rPr lang="es-ES" sz="1400">
                  <a:solidFill>
                    <a:sysClr val="windowText" lastClr="000000"/>
                  </a:solidFill>
                  <a:latin typeface="Calibri Light" panose="020F0302020204030204"/>
                </a:rPr>
                <a:t>Pruebas de Instalación y Rollback (*)</a:t>
              </a:r>
            </a:p>
            <a:p>
              <a:pPr marL="742950" lvl="1" indent="-285750">
                <a:buFont typeface="Wingdings" panose="05000000000000000000" pitchFamily="2" charset="2"/>
                <a:buChar char="ü"/>
              </a:pPr>
              <a:r>
                <a:rPr lang="es-ES" sz="1400">
                  <a:solidFill>
                    <a:sysClr val="windowText" lastClr="000000"/>
                  </a:solidFill>
                  <a:latin typeface="Calibri Light" panose="020F0302020204030204"/>
                </a:rPr>
                <a:t>Pruebas de Contrato</a:t>
              </a:r>
            </a:p>
            <a:p>
              <a:pPr marL="742950" lvl="1" indent="-285750">
                <a:buFont typeface="Wingdings" panose="05000000000000000000" pitchFamily="2" charset="2"/>
                <a:buChar char="ü"/>
              </a:pPr>
              <a:r>
                <a:rPr lang="es-ES" sz="1400">
                  <a:solidFill>
                    <a:sysClr val="windowText" lastClr="000000"/>
                  </a:solidFill>
                  <a:latin typeface="Calibri Light" panose="020F0302020204030204"/>
                </a:rPr>
                <a:t>Pruebas de Humo</a:t>
              </a:r>
            </a:p>
            <a:p>
              <a:pPr marL="742950" lvl="1" indent="-285750">
                <a:buFont typeface="Wingdings" panose="05000000000000000000" pitchFamily="2" charset="2"/>
                <a:buChar char="ü"/>
              </a:pPr>
              <a:r>
                <a:rPr lang="es-ES" sz="1400">
                  <a:solidFill>
                    <a:sysClr val="windowText" lastClr="000000"/>
                  </a:solidFill>
                  <a:latin typeface="Calibri Light" panose="020F0302020204030204"/>
                </a:rPr>
                <a:t>Pruebas Funcionales (Modulares)</a:t>
              </a:r>
            </a:p>
            <a:p>
              <a:pPr marL="742950" lvl="1" indent="-285750">
                <a:buFont typeface="Wingdings" panose="05000000000000000000" pitchFamily="2" charset="2"/>
                <a:buChar char="ü"/>
              </a:pPr>
              <a:r>
                <a:rPr lang="es-ES" sz="1400">
                  <a:solidFill>
                    <a:sysClr val="windowText" lastClr="000000"/>
                  </a:solidFill>
                  <a:latin typeface="Calibri Light" panose="020F0302020204030204"/>
                </a:rPr>
                <a:t>Pruebas Exploratorias</a:t>
              </a:r>
            </a:p>
            <a:p>
              <a:pPr marL="742950" lvl="1" indent="-285750">
                <a:buFont typeface="Wingdings" panose="05000000000000000000" pitchFamily="2" charset="2"/>
                <a:buChar char="ü"/>
              </a:pPr>
              <a:endParaRPr lang="es-ES" sz="1400">
                <a:solidFill>
                  <a:sysClr val="windowText" lastClr="000000"/>
                </a:solidFill>
                <a:latin typeface="Calibri Light" panose="020F0302020204030204"/>
              </a:endParaRPr>
            </a:p>
            <a:p>
              <a:pPr lvl="1"/>
              <a:endParaRPr lang="es-ES">
                <a:solidFill>
                  <a:sysClr val="windowText" lastClr="000000"/>
                </a:solidFill>
                <a:latin typeface="Calibri Light" panose="020F0302020204030204"/>
              </a:endParaRPr>
            </a:p>
          </p:txBody>
        </p:sp>
        <p:sp>
          <p:nvSpPr>
            <p:cNvPr id="19" name="CuadroTexto 18">
              <a:extLst>
                <a:ext uri="{FF2B5EF4-FFF2-40B4-BE49-F238E27FC236}">
                  <a16:creationId xmlns:a16="http://schemas.microsoft.com/office/drawing/2014/main" id="{3B668539-86A3-ED78-A757-04463C1A02A1}"/>
                </a:ext>
              </a:extLst>
            </p:cNvPr>
            <p:cNvSpPr txBox="1"/>
            <p:nvPr/>
          </p:nvSpPr>
          <p:spPr>
            <a:xfrm>
              <a:off x="4094922" y="2684288"/>
              <a:ext cx="6094674" cy="1938992"/>
            </a:xfrm>
            <a:prstGeom prst="rect">
              <a:avLst/>
            </a:prstGeom>
            <a:noFill/>
          </p:spPr>
          <p:txBody>
            <a:bodyPr wrap="square">
              <a:spAutoFit/>
            </a:bodyPr>
            <a:lstStyle/>
            <a:p>
              <a:pPr marL="742950" lvl="1" indent="-285750">
                <a:buFont typeface="Wingdings" panose="05000000000000000000" pitchFamily="2" charset="2"/>
                <a:buChar char="ü"/>
              </a:pPr>
              <a:r>
                <a:rPr lang="es-ES" sz="1200">
                  <a:solidFill>
                    <a:sysClr val="windowText" lastClr="000000"/>
                  </a:solidFill>
                  <a:latin typeface="Calibri Light" panose="020F0302020204030204"/>
                </a:rPr>
                <a:t>Pruebas de Seguridad(*)</a:t>
              </a:r>
              <a:endParaRPr lang="es-PE" sz="1200"/>
            </a:p>
            <a:p>
              <a:pPr marL="742950" lvl="1" indent="-285750">
                <a:buFont typeface="Wingdings" panose="05000000000000000000" pitchFamily="2" charset="2"/>
                <a:buChar char="ü"/>
              </a:pPr>
              <a:r>
                <a:rPr lang="es-ES" sz="1200">
                  <a:solidFill>
                    <a:sysClr val="windowText" lastClr="000000"/>
                  </a:solidFill>
                  <a:latin typeface="Calibri Light" panose="020F0302020204030204"/>
                </a:rPr>
                <a:t>Pruebas Funcionales (</a:t>
              </a:r>
              <a:r>
                <a:rPr lang="es-ES" sz="1200" err="1">
                  <a:solidFill>
                    <a:sysClr val="windowText" lastClr="000000"/>
                  </a:solidFill>
                  <a:latin typeface="Calibri Light" panose="020F0302020204030204"/>
                </a:rPr>
                <a:t>End</a:t>
              </a:r>
              <a:r>
                <a:rPr lang="es-ES" sz="1200">
                  <a:solidFill>
                    <a:sysClr val="windowText" lastClr="000000"/>
                  </a:solidFill>
                  <a:latin typeface="Calibri Light" panose="020F0302020204030204"/>
                </a:rPr>
                <a:t> </a:t>
              </a:r>
              <a:r>
                <a:rPr lang="es-ES" sz="1200" err="1">
                  <a:solidFill>
                    <a:sysClr val="windowText" lastClr="000000"/>
                  </a:solidFill>
                  <a:latin typeface="Calibri Light" panose="020F0302020204030204"/>
                </a:rPr>
                <a:t>To</a:t>
              </a:r>
              <a:r>
                <a:rPr lang="es-ES" sz="1200">
                  <a:solidFill>
                    <a:sysClr val="windowText" lastClr="000000"/>
                  </a:solidFill>
                  <a:latin typeface="Calibri Light" panose="020F0302020204030204"/>
                </a:rPr>
                <a:t> </a:t>
              </a:r>
              <a:r>
                <a:rPr lang="es-ES" sz="1200" err="1">
                  <a:solidFill>
                    <a:sysClr val="windowText" lastClr="000000"/>
                  </a:solidFill>
                  <a:latin typeface="Calibri Light" panose="020F0302020204030204"/>
                </a:rPr>
                <a:t>End</a:t>
              </a:r>
              <a:r>
                <a:rPr lang="es-ES" sz="1200">
                  <a:solidFill>
                    <a:sysClr val="windowText" lastClr="000000"/>
                  </a:solidFill>
                  <a:latin typeface="Calibri Light" panose="020F0302020204030204"/>
                </a:rPr>
                <a:t>)</a:t>
              </a:r>
            </a:p>
            <a:p>
              <a:pPr marL="742950" lvl="1" indent="-285750">
                <a:buFont typeface="Wingdings" panose="05000000000000000000" pitchFamily="2" charset="2"/>
                <a:buChar char="ü"/>
              </a:pPr>
              <a:r>
                <a:rPr lang="es-ES" sz="1200">
                  <a:solidFill>
                    <a:sysClr val="windowText" lastClr="000000"/>
                  </a:solidFill>
                  <a:latin typeface="Calibri Light" panose="020F0302020204030204"/>
                </a:rPr>
                <a:t>Pruebas de Compatibilidad</a:t>
              </a:r>
            </a:p>
            <a:p>
              <a:pPr marL="742950" lvl="1" indent="-285750">
                <a:buFont typeface="Wingdings" panose="05000000000000000000" pitchFamily="2" charset="2"/>
                <a:buChar char="ü"/>
              </a:pPr>
              <a:r>
                <a:rPr lang="es-ES" sz="1200">
                  <a:solidFill>
                    <a:sysClr val="windowText" lastClr="000000"/>
                  </a:solidFill>
                  <a:latin typeface="Calibri Light" panose="020F0302020204030204"/>
                </a:rPr>
                <a:t>Pruebas de Regresión</a:t>
              </a:r>
            </a:p>
            <a:p>
              <a:pPr marL="742950" lvl="1" indent="-285750">
                <a:buFont typeface="Wingdings" panose="05000000000000000000" pitchFamily="2" charset="2"/>
                <a:buChar char="ü"/>
              </a:pPr>
              <a:r>
                <a:rPr lang="es-ES" sz="1200">
                  <a:solidFill>
                    <a:sysClr val="windowText" lastClr="000000"/>
                  </a:solidFill>
                  <a:latin typeface="Calibri Light" panose="020F0302020204030204"/>
                </a:rPr>
                <a:t>Pruebas UAT(*)</a:t>
              </a:r>
            </a:p>
            <a:p>
              <a:pPr marL="742950" lvl="1" indent="-285750">
                <a:buFont typeface="Wingdings" panose="05000000000000000000" pitchFamily="2" charset="2"/>
                <a:buChar char="ü"/>
              </a:pPr>
              <a:r>
                <a:rPr lang="es-ES" sz="1200">
                  <a:solidFill>
                    <a:sysClr val="windowText" lastClr="000000"/>
                  </a:solidFill>
                  <a:latin typeface="Calibri Light" panose="020F0302020204030204"/>
                </a:rPr>
                <a:t>Pruebas de Performance</a:t>
              </a:r>
            </a:p>
            <a:p>
              <a:pPr marL="1200150" lvl="2" indent="-285750">
                <a:buFont typeface="Wingdings" panose="05000000000000000000" pitchFamily="2" charset="2"/>
                <a:buChar char="§"/>
              </a:pPr>
              <a:r>
                <a:rPr lang="es-ES" sz="1200">
                  <a:solidFill>
                    <a:sysClr val="windowText" lastClr="000000"/>
                  </a:solidFill>
                  <a:latin typeface="Calibri Light" panose="020F0302020204030204"/>
                </a:rPr>
                <a:t>Carga</a:t>
              </a:r>
            </a:p>
            <a:p>
              <a:pPr marL="1200150" lvl="2" indent="-285750">
                <a:buFont typeface="Wingdings" panose="05000000000000000000" pitchFamily="2" charset="2"/>
                <a:buChar char="§"/>
              </a:pPr>
              <a:r>
                <a:rPr lang="es-ES" sz="1200">
                  <a:solidFill>
                    <a:sysClr val="windowText" lastClr="000000"/>
                  </a:solidFill>
                  <a:latin typeface="Calibri Light" panose="020F0302020204030204"/>
                </a:rPr>
                <a:t>Estrés</a:t>
              </a:r>
            </a:p>
            <a:p>
              <a:pPr marL="1200150" lvl="2" indent="-285750">
                <a:buFont typeface="Wingdings" panose="05000000000000000000" pitchFamily="2" charset="2"/>
                <a:buChar char="§"/>
              </a:pPr>
              <a:r>
                <a:rPr lang="es-ES" sz="1200">
                  <a:solidFill>
                    <a:sysClr val="windowText" lastClr="000000"/>
                  </a:solidFill>
                  <a:latin typeface="Calibri Light" panose="020F0302020204030204"/>
                </a:rPr>
                <a:t>Picos</a:t>
              </a:r>
            </a:p>
            <a:p>
              <a:pPr marL="1200150" lvl="2" indent="-285750">
                <a:buFont typeface="Wingdings" panose="05000000000000000000" pitchFamily="2" charset="2"/>
                <a:buChar char="§"/>
              </a:pPr>
              <a:r>
                <a:rPr lang="es-ES" sz="1200">
                  <a:solidFill>
                    <a:sysClr val="windowText" lastClr="000000"/>
                  </a:solidFill>
                  <a:latin typeface="Calibri Light" panose="020F0302020204030204"/>
                </a:rPr>
                <a:t>Resistencia</a:t>
              </a:r>
            </a:p>
          </p:txBody>
        </p:sp>
        <p:sp>
          <p:nvSpPr>
            <p:cNvPr id="20" name="CuadroTexto 19">
              <a:extLst>
                <a:ext uri="{FF2B5EF4-FFF2-40B4-BE49-F238E27FC236}">
                  <a16:creationId xmlns:a16="http://schemas.microsoft.com/office/drawing/2014/main" id="{34EFF5B9-7690-0D22-06C0-E0060AD1A482}"/>
                </a:ext>
              </a:extLst>
            </p:cNvPr>
            <p:cNvSpPr txBox="1"/>
            <p:nvPr/>
          </p:nvSpPr>
          <p:spPr>
            <a:xfrm>
              <a:off x="7805912" y="2684288"/>
              <a:ext cx="6094674" cy="1015663"/>
            </a:xfrm>
            <a:prstGeom prst="rect">
              <a:avLst/>
            </a:prstGeom>
            <a:noFill/>
          </p:spPr>
          <p:txBody>
            <a:bodyPr wrap="square">
              <a:spAutoFit/>
            </a:bodyPr>
            <a:lstStyle/>
            <a:p>
              <a:pPr marL="742950" lvl="1" indent="-285750">
                <a:buFont typeface="Wingdings" panose="05000000000000000000" pitchFamily="2" charset="2"/>
                <a:buChar char="ü"/>
              </a:pPr>
              <a:r>
                <a:rPr lang="es-ES" sz="1200">
                  <a:solidFill>
                    <a:sysClr val="windowText" lastClr="000000"/>
                  </a:solidFill>
                  <a:latin typeface="Calibri Light" panose="020F0302020204030204"/>
                </a:rPr>
                <a:t>Pruebas Funcionales (</a:t>
              </a:r>
              <a:r>
                <a:rPr lang="es-ES" sz="1200" err="1">
                  <a:solidFill>
                    <a:sysClr val="windowText" lastClr="000000"/>
                  </a:solidFill>
                  <a:latin typeface="Calibri Light" panose="020F0302020204030204"/>
                </a:rPr>
                <a:t>End</a:t>
              </a:r>
              <a:r>
                <a:rPr lang="es-ES" sz="1200">
                  <a:solidFill>
                    <a:sysClr val="windowText" lastClr="000000"/>
                  </a:solidFill>
                  <a:latin typeface="Calibri Light" panose="020F0302020204030204"/>
                </a:rPr>
                <a:t> </a:t>
              </a:r>
              <a:r>
                <a:rPr lang="es-ES" sz="1200" err="1">
                  <a:solidFill>
                    <a:sysClr val="windowText" lastClr="000000"/>
                  </a:solidFill>
                  <a:latin typeface="Calibri Light" panose="020F0302020204030204"/>
                </a:rPr>
                <a:t>To</a:t>
              </a:r>
              <a:r>
                <a:rPr lang="es-ES" sz="1200">
                  <a:solidFill>
                    <a:sysClr val="windowText" lastClr="000000"/>
                  </a:solidFill>
                  <a:latin typeface="Calibri Light" panose="020F0302020204030204"/>
                </a:rPr>
                <a:t> </a:t>
              </a:r>
              <a:r>
                <a:rPr lang="es-ES" sz="1200" err="1">
                  <a:solidFill>
                    <a:sysClr val="windowText" lastClr="000000"/>
                  </a:solidFill>
                  <a:latin typeface="Calibri Light" panose="020F0302020204030204"/>
                </a:rPr>
                <a:t>End</a:t>
              </a:r>
              <a:r>
                <a:rPr lang="es-ES" sz="1200">
                  <a:solidFill>
                    <a:sysClr val="windowText" lastClr="000000"/>
                  </a:solidFill>
                  <a:latin typeface="Calibri Light" panose="020F0302020204030204"/>
                </a:rPr>
                <a:t>)</a:t>
              </a:r>
            </a:p>
            <a:p>
              <a:pPr marL="742950" lvl="1" indent="-285750">
                <a:buFont typeface="Wingdings" panose="05000000000000000000" pitchFamily="2" charset="2"/>
                <a:buChar char="ü"/>
              </a:pPr>
              <a:r>
                <a:rPr lang="es-ES" sz="1200">
                  <a:solidFill>
                    <a:sysClr val="windowText" lastClr="000000"/>
                  </a:solidFill>
                  <a:latin typeface="Calibri Light" panose="020F0302020204030204"/>
                </a:rPr>
                <a:t>Pruebas UAT(*)</a:t>
              </a:r>
            </a:p>
            <a:p>
              <a:pPr marL="742950" lvl="1" indent="-285750">
                <a:buFont typeface="Wingdings" panose="05000000000000000000" pitchFamily="2" charset="2"/>
                <a:buChar char="ü"/>
              </a:pPr>
              <a:r>
                <a:rPr lang="es-ES" sz="1200">
                  <a:solidFill>
                    <a:sysClr val="windowText" lastClr="000000"/>
                  </a:solidFill>
                  <a:latin typeface="Calibri Light" panose="020F0302020204030204"/>
                </a:rPr>
                <a:t>Pruebas de Instalación y Rollback (*)</a:t>
              </a:r>
            </a:p>
            <a:p>
              <a:pPr marL="742950" lvl="1" indent="-285750">
                <a:buFont typeface="Wingdings" panose="05000000000000000000" pitchFamily="2" charset="2"/>
                <a:buChar char="ü"/>
              </a:pPr>
              <a:r>
                <a:rPr lang="es-MX" sz="1200">
                  <a:solidFill>
                    <a:sysClr val="windowText" lastClr="000000"/>
                  </a:solidFill>
                  <a:latin typeface="Calibri Light" panose="020F0302020204030204"/>
                </a:rPr>
                <a:t>Monitoreo de Performance</a:t>
              </a:r>
            </a:p>
            <a:p>
              <a:pPr marL="742950" lvl="1" indent="-285750">
                <a:buFont typeface="Wingdings" panose="05000000000000000000" pitchFamily="2" charset="2"/>
                <a:buChar char="ü"/>
              </a:pPr>
              <a:endParaRPr lang="es-ES" sz="1200">
                <a:solidFill>
                  <a:sysClr val="windowText" lastClr="000000"/>
                </a:solidFill>
                <a:latin typeface="Calibri Light" panose="020F0302020204030204"/>
              </a:endParaRPr>
            </a:p>
          </p:txBody>
        </p:sp>
      </p:grpSp>
      <p:sp>
        <p:nvSpPr>
          <p:cNvPr id="22" name="CuadroTexto 21">
            <a:extLst>
              <a:ext uri="{FF2B5EF4-FFF2-40B4-BE49-F238E27FC236}">
                <a16:creationId xmlns:a16="http://schemas.microsoft.com/office/drawing/2014/main" id="{BB39719B-36D0-7CF8-6AEC-9C5CDEA9B121}"/>
              </a:ext>
            </a:extLst>
          </p:cNvPr>
          <p:cNvSpPr txBox="1"/>
          <p:nvPr/>
        </p:nvSpPr>
        <p:spPr>
          <a:xfrm>
            <a:off x="550861" y="1018619"/>
            <a:ext cx="7872947" cy="1600438"/>
          </a:xfrm>
          <a:prstGeom prst="rect">
            <a:avLst/>
          </a:prstGeom>
          <a:noFill/>
        </p:spPr>
        <p:txBody>
          <a:bodyPr wrap="square">
            <a:spAutoFit/>
          </a:bodyPr>
          <a:lstStyle/>
          <a:p>
            <a:pPr algn="l">
              <a:spcAft>
                <a:spcPts val="1200"/>
              </a:spcAft>
            </a:pPr>
            <a:r>
              <a:rPr lang="es-MX" sz="1400" b="1" i="0">
                <a:solidFill>
                  <a:srgbClr val="1F2328"/>
                </a:solidFill>
                <a:effectLst/>
                <a:latin typeface="Calibri Light" panose="020F0302020204030204" pitchFamily="34" charset="0"/>
                <a:ea typeface="Calibri Light" panose="020F0302020204030204" pitchFamily="34" charset="0"/>
                <a:cs typeface="Calibri Light" panose="020F0302020204030204" pitchFamily="34" charset="0"/>
              </a:rPr>
              <a:t>Antes del desarrollo:</a:t>
            </a:r>
            <a:br>
              <a:rPr lang="es-MX" sz="1400" b="1" i="0">
                <a:solidFill>
                  <a:srgbClr val="1F2328"/>
                </a:solidFill>
                <a:effectLst/>
                <a:latin typeface="Calibri Light" panose="020F0302020204030204" pitchFamily="34" charset="0"/>
                <a:ea typeface="Calibri Light" panose="020F0302020204030204" pitchFamily="34" charset="0"/>
                <a:cs typeface="Calibri Light" panose="020F0302020204030204" pitchFamily="34" charset="0"/>
              </a:rPr>
            </a:br>
            <a:r>
              <a:rPr lang="es-MX" sz="1400" b="0" i="0">
                <a:solidFill>
                  <a:srgbClr val="1F2328"/>
                </a:solidFill>
                <a:effectLst/>
                <a:latin typeface="Calibri Light" panose="020F0302020204030204" pitchFamily="34" charset="0"/>
                <a:ea typeface="Calibri Light" panose="020F0302020204030204" pitchFamily="34" charset="0"/>
                <a:cs typeface="Calibri Light" panose="020F0302020204030204" pitchFamily="34" charset="0"/>
              </a:rPr>
              <a:t>QA colabora en la definición de requerimientos, criterios de aceptación y casos de prueba.</a:t>
            </a:r>
            <a:br>
              <a:rPr lang="es-MX" sz="1400">
                <a:solidFill>
                  <a:srgbClr val="1F2328"/>
                </a:solidFill>
                <a:latin typeface="Calibri Light" panose="020F0302020204030204" pitchFamily="34" charset="0"/>
                <a:ea typeface="Calibri Light" panose="020F0302020204030204" pitchFamily="34" charset="0"/>
                <a:cs typeface="Calibri Light" panose="020F0302020204030204" pitchFamily="34" charset="0"/>
              </a:rPr>
            </a:br>
            <a:r>
              <a:rPr lang="es-MX" sz="1400" b="0" i="0">
                <a:solidFill>
                  <a:srgbClr val="1F2328"/>
                </a:solidFill>
                <a:effectLst/>
                <a:latin typeface="Calibri Light" panose="020F0302020204030204" pitchFamily="34" charset="0"/>
                <a:ea typeface="Calibri Light" panose="020F0302020204030204" pitchFamily="34" charset="0"/>
                <a:cs typeface="Calibri Light" panose="020F0302020204030204" pitchFamily="34" charset="0"/>
              </a:rPr>
              <a:t>Puede preparar datos y ambientes, y participar en revisiones de código y diseño.</a:t>
            </a:r>
            <a:br>
              <a:rPr lang="es-MX" sz="1400" b="0" i="0">
                <a:solidFill>
                  <a:srgbClr val="1F2328"/>
                </a:solidFill>
                <a:effectLst/>
                <a:latin typeface="Calibri Light" panose="020F0302020204030204" pitchFamily="34" charset="0"/>
                <a:ea typeface="Calibri Light" panose="020F0302020204030204" pitchFamily="34" charset="0"/>
                <a:cs typeface="Calibri Light" panose="020F0302020204030204" pitchFamily="34" charset="0"/>
              </a:rPr>
            </a:br>
            <a:r>
              <a:rPr lang="es-MX" sz="1400" b="1" i="0">
                <a:solidFill>
                  <a:srgbClr val="1F2328"/>
                </a:solidFill>
                <a:effectLst/>
                <a:latin typeface="Calibri Light" panose="020F0302020204030204" pitchFamily="34" charset="0"/>
                <a:ea typeface="Calibri Light" panose="020F0302020204030204" pitchFamily="34" charset="0"/>
                <a:cs typeface="Calibri Light" panose="020F0302020204030204" pitchFamily="34" charset="0"/>
              </a:rPr>
              <a:t>Durante el desarrollo:</a:t>
            </a:r>
            <a:br>
              <a:rPr lang="es-MX" sz="1400" b="1" i="0">
                <a:solidFill>
                  <a:srgbClr val="1F2328"/>
                </a:solidFill>
                <a:effectLst/>
                <a:latin typeface="Calibri Light" panose="020F0302020204030204" pitchFamily="34" charset="0"/>
                <a:ea typeface="Calibri Light" panose="020F0302020204030204" pitchFamily="34" charset="0"/>
                <a:cs typeface="Calibri Light" panose="020F0302020204030204" pitchFamily="34" charset="0"/>
              </a:rPr>
            </a:br>
            <a:r>
              <a:rPr lang="es-MX" sz="1400" b="0" i="0">
                <a:solidFill>
                  <a:srgbClr val="1F2328"/>
                </a:solidFill>
                <a:effectLst/>
                <a:latin typeface="Calibri Light" panose="020F0302020204030204" pitchFamily="34" charset="0"/>
                <a:ea typeface="Calibri Light" panose="020F0302020204030204" pitchFamily="34" charset="0"/>
                <a:cs typeface="Calibri Light" panose="020F0302020204030204" pitchFamily="34" charset="0"/>
              </a:rPr>
              <a:t>QA revisa y ejecuta pruebas tempranas</a:t>
            </a:r>
            <a:r>
              <a:rPr lang="es-MX" sz="1400">
                <a:solidFill>
                  <a:srgbClr val="1F2328"/>
                </a:solidFill>
                <a:latin typeface="Calibri Light" panose="020F0302020204030204" pitchFamily="34" charset="0"/>
                <a:ea typeface="Calibri Light" panose="020F0302020204030204" pitchFamily="34" charset="0"/>
                <a:cs typeface="Calibri Light" panose="020F0302020204030204" pitchFamily="34" charset="0"/>
              </a:rPr>
              <a:t> y diseña la estrategia de automatización.</a:t>
            </a:r>
            <a:br>
              <a:rPr lang="es-MX" sz="1400" b="0" i="0">
                <a:solidFill>
                  <a:srgbClr val="1F2328"/>
                </a:solidFill>
                <a:effectLst/>
                <a:latin typeface="Calibri Light" panose="020F0302020204030204" pitchFamily="34" charset="0"/>
                <a:ea typeface="Calibri Light" panose="020F0302020204030204" pitchFamily="34" charset="0"/>
                <a:cs typeface="Calibri Light" panose="020F0302020204030204" pitchFamily="34" charset="0"/>
              </a:rPr>
            </a:br>
            <a:r>
              <a:rPr lang="es-MX" sz="1400" b="1" i="0">
                <a:solidFill>
                  <a:srgbClr val="1F2328"/>
                </a:solidFill>
                <a:effectLst/>
                <a:latin typeface="Calibri Light" panose="020F0302020204030204" pitchFamily="34" charset="0"/>
                <a:ea typeface="Calibri Light" panose="020F0302020204030204" pitchFamily="34" charset="0"/>
                <a:cs typeface="Calibri Light" panose="020F0302020204030204" pitchFamily="34" charset="0"/>
              </a:rPr>
              <a:t>Previo a UAT:</a:t>
            </a:r>
            <a:br>
              <a:rPr lang="es-MX" sz="1400" b="1" i="0">
                <a:solidFill>
                  <a:srgbClr val="1F2328"/>
                </a:solidFill>
                <a:effectLst/>
                <a:latin typeface="Calibri Light" panose="020F0302020204030204" pitchFamily="34" charset="0"/>
                <a:ea typeface="Calibri Light" panose="020F0302020204030204" pitchFamily="34" charset="0"/>
                <a:cs typeface="Calibri Light" panose="020F0302020204030204" pitchFamily="34" charset="0"/>
              </a:rPr>
            </a:br>
            <a:r>
              <a:rPr lang="es-MX" sz="1400" b="0" i="0">
                <a:solidFill>
                  <a:srgbClr val="1F2328"/>
                </a:solidFill>
                <a:effectLst/>
                <a:latin typeface="Calibri Light" panose="020F0302020204030204" pitchFamily="34" charset="0"/>
                <a:ea typeface="Calibri Light" panose="020F0302020204030204" pitchFamily="34" charset="0"/>
                <a:cs typeface="Calibri Light" panose="020F0302020204030204" pitchFamily="34" charset="0"/>
              </a:rPr>
              <a:t>QA valida la cobertura de pruebas y la calidad del entregable.</a:t>
            </a:r>
          </a:p>
        </p:txBody>
      </p:sp>
      <p:cxnSp>
        <p:nvCxnSpPr>
          <p:cNvPr id="25" name="Conector recto 24">
            <a:extLst>
              <a:ext uri="{FF2B5EF4-FFF2-40B4-BE49-F238E27FC236}">
                <a16:creationId xmlns:a16="http://schemas.microsoft.com/office/drawing/2014/main" id="{E5FD2BE4-D382-9393-8260-1B1D7D0B9CAF}"/>
              </a:ext>
            </a:extLst>
          </p:cNvPr>
          <p:cNvCxnSpPr/>
          <p:nvPr/>
        </p:nvCxnSpPr>
        <p:spPr>
          <a:xfrm>
            <a:off x="4224042" y="3172078"/>
            <a:ext cx="0" cy="3140749"/>
          </a:xfrm>
          <a:prstGeom prst="line">
            <a:avLst/>
          </a:prstGeom>
          <a:ln w="38100"/>
        </p:spPr>
        <p:style>
          <a:lnRef idx="1">
            <a:schemeClr val="accent5"/>
          </a:lnRef>
          <a:fillRef idx="0">
            <a:schemeClr val="accent5"/>
          </a:fillRef>
          <a:effectRef idx="0">
            <a:schemeClr val="accent5"/>
          </a:effectRef>
          <a:fontRef idx="minor">
            <a:schemeClr val="tx1"/>
          </a:fontRef>
        </p:style>
      </p:cxnSp>
      <p:cxnSp>
        <p:nvCxnSpPr>
          <p:cNvPr id="26" name="Conector recto 25">
            <a:extLst>
              <a:ext uri="{FF2B5EF4-FFF2-40B4-BE49-F238E27FC236}">
                <a16:creationId xmlns:a16="http://schemas.microsoft.com/office/drawing/2014/main" id="{8938112A-B1E5-B74B-7D0D-424C9CF2C0A1}"/>
              </a:ext>
            </a:extLst>
          </p:cNvPr>
          <p:cNvCxnSpPr/>
          <p:nvPr/>
        </p:nvCxnSpPr>
        <p:spPr>
          <a:xfrm>
            <a:off x="7928846" y="3172078"/>
            <a:ext cx="0" cy="3140749"/>
          </a:xfrm>
          <a:prstGeom prst="line">
            <a:avLst/>
          </a:prstGeom>
          <a:ln w="38100"/>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8380618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D081E-766A-319F-2DEA-1DF3B4147BDD}"/>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1EE7D655-5BE0-C75B-0FEE-34E42FBA2518}"/>
              </a:ext>
            </a:extLst>
          </p:cNvPr>
          <p:cNvSpPr>
            <a:spLocks noGrp="1"/>
          </p:cNvSpPr>
          <p:nvPr>
            <p:ph type="body" sz="quarter" idx="14"/>
          </p:nvPr>
        </p:nvSpPr>
        <p:spPr/>
        <p:txBody>
          <a:bodyPr/>
          <a:lstStyle/>
          <a:p>
            <a:endParaRPr lang="es-PE"/>
          </a:p>
        </p:txBody>
      </p:sp>
      <p:sp>
        <p:nvSpPr>
          <p:cNvPr id="4" name="Título 3">
            <a:extLst>
              <a:ext uri="{FF2B5EF4-FFF2-40B4-BE49-F238E27FC236}">
                <a16:creationId xmlns:a16="http://schemas.microsoft.com/office/drawing/2014/main" id="{2009A619-4DA1-36C2-7CB1-DC6ADD2E06E4}"/>
              </a:ext>
            </a:extLst>
          </p:cNvPr>
          <p:cNvSpPr>
            <a:spLocks noGrp="1"/>
          </p:cNvSpPr>
          <p:nvPr>
            <p:ph type="title"/>
          </p:nvPr>
        </p:nvSpPr>
        <p:spPr/>
        <p:txBody>
          <a:bodyPr/>
          <a:lstStyle/>
          <a:p>
            <a:r>
              <a:rPr lang="es-MX" sz="2400"/>
              <a:t>D</a:t>
            </a:r>
            <a:r>
              <a:rPr lang="es-PE" sz="2400"/>
              <a:t>EFINITION OF READY</a:t>
            </a:r>
            <a:endParaRPr lang="es-MX" sz="2400"/>
          </a:p>
        </p:txBody>
      </p:sp>
      <p:pic>
        <p:nvPicPr>
          <p:cNvPr id="9" name="Imagen 8">
            <a:extLst>
              <a:ext uri="{FF2B5EF4-FFF2-40B4-BE49-F238E27FC236}">
                <a16:creationId xmlns:a16="http://schemas.microsoft.com/office/drawing/2014/main" id="{AA852D44-1506-5E47-BFEC-BFC8B619F9D0}"/>
              </a:ext>
            </a:extLst>
          </p:cNvPr>
          <p:cNvPicPr>
            <a:picLocks noChangeAspect="1"/>
          </p:cNvPicPr>
          <p:nvPr/>
        </p:nvPicPr>
        <p:blipFill>
          <a:blip r:embed="rId3"/>
          <a:stretch>
            <a:fillRect/>
          </a:stretch>
        </p:blipFill>
        <p:spPr>
          <a:xfrm>
            <a:off x="1421296" y="1009566"/>
            <a:ext cx="9641891" cy="529203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172347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56BF6B-B28A-784B-D6D9-9DA8CBD38C44}"/>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8C787013-5EF1-EE3F-0AAC-11A63A84537D}"/>
              </a:ext>
            </a:extLst>
          </p:cNvPr>
          <p:cNvSpPr>
            <a:spLocks noGrp="1"/>
          </p:cNvSpPr>
          <p:nvPr>
            <p:ph type="body" sz="quarter" idx="14"/>
          </p:nvPr>
        </p:nvSpPr>
        <p:spPr/>
        <p:txBody>
          <a:bodyPr/>
          <a:lstStyle/>
          <a:p>
            <a:endParaRPr lang="es-PE"/>
          </a:p>
        </p:txBody>
      </p:sp>
      <p:sp>
        <p:nvSpPr>
          <p:cNvPr id="6" name="Rectángulo 5">
            <a:extLst>
              <a:ext uri="{FF2B5EF4-FFF2-40B4-BE49-F238E27FC236}">
                <a16:creationId xmlns:a16="http://schemas.microsoft.com/office/drawing/2014/main" id="{1044D482-C505-DBAA-92C3-E14A0C850990}"/>
              </a:ext>
            </a:extLst>
          </p:cNvPr>
          <p:cNvSpPr/>
          <p:nvPr/>
        </p:nvSpPr>
        <p:spPr>
          <a:xfrm>
            <a:off x="550864" y="1073947"/>
            <a:ext cx="11204986" cy="646331"/>
          </a:xfrm>
          <a:prstGeom prst="rect">
            <a:avLst/>
          </a:prstGeom>
        </p:spPr>
        <p:txBody>
          <a:bodyPr wrap="square">
            <a:spAutoFit/>
          </a:bodyPr>
          <a:lstStyle/>
          <a:p>
            <a:r>
              <a:rPr lang="es-MX">
                <a:solidFill>
                  <a:schemeClr val="accent5"/>
                </a:solidFill>
              </a:rPr>
              <a:t>Roles de Calidad Agile que aporta Calidad al producto, convirtiéndose en los referentes de Calidad e impulsadores de la práctica.</a:t>
            </a:r>
            <a:endParaRPr kumimoji="0" lang="es-MX" i="0" u="none" strike="noStrike" kern="1200" cap="none" spc="0" normalizeH="0" baseline="0" noProof="0">
              <a:ln>
                <a:noFill/>
              </a:ln>
              <a:solidFill>
                <a:schemeClr val="accent5"/>
              </a:solidFill>
              <a:effectLst/>
              <a:uLnTx/>
              <a:uFillTx/>
              <a:latin typeface="Santander Headline"/>
              <a:ea typeface="+mn-ea"/>
              <a:cs typeface="+mn-cs"/>
            </a:endParaRPr>
          </a:p>
        </p:txBody>
      </p:sp>
      <p:sp>
        <p:nvSpPr>
          <p:cNvPr id="3" name="Rectángulo: esquinas diagonales redondeadas 2">
            <a:extLst>
              <a:ext uri="{FF2B5EF4-FFF2-40B4-BE49-F238E27FC236}">
                <a16:creationId xmlns:a16="http://schemas.microsoft.com/office/drawing/2014/main" id="{51754725-89D0-1973-7445-4DBD23409AB3}"/>
              </a:ext>
            </a:extLst>
          </p:cNvPr>
          <p:cNvSpPr/>
          <p:nvPr/>
        </p:nvSpPr>
        <p:spPr>
          <a:xfrm>
            <a:off x="550862" y="1872437"/>
            <a:ext cx="5349240" cy="4265203"/>
          </a:xfrm>
          <a:prstGeom prst="round2DiagRect">
            <a:avLst/>
          </a:prstGeom>
          <a:solidFill>
            <a:srgbClr val="DEED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4" name="Rectángulo: esquinas diagonales redondeadas 13">
            <a:extLst>
              <a:ext uri="{FF2B5EF4-FFF2-40B4-BE49-F238E27FC236}">
                <a16:creationId xmlns:a16="http://schemas.microsoft.com/office/drawing/2014/main" id="{7D1E1832-0723-61C0-3ECE-209F70D245E1}"/>
              </a:ext>
            </a:extLst>
          </p:cNvPr>
          <p:cNvSpPr/>
          <p:nvPr/>
        </p:nvSpPr>
        <p:spPr>
          <a:xfrm>
            <a:off x="6291898" y="1915530"/>
            <a:ext cx="5349240" cy="4265203"/>
          </a:xfrm>
          <a:prstGeom prst="round2DiagRect">
            <a:avLst/>
          </a:prstGeom>
          <a:solidFill>
            <a:srgbClr val="DEED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5" name="Rectángulo 14">
            <a:extLst>
              <a:ext uri="{FF2B5EF4-FFF2-40B4-BE49-F238E27FC236}">
                <a16:creationId xmlns:a16="http://schemas.microsoft.com/office/drawing/2014/main" id="{59DC36A7-D4EE-E31D-C94F-B3C682FE0D4C}"/>
              </a:ext>
            </a:extLst>
          </p:cNvPr>
          <p:cNvSpPr/>
          <p:nvPr/>
        </p:nvSpPr>
        <p:spPr>
          <a:xfrm>
            <a:off x="754074" y="2235191"/>
            <a:ext cx="4942816" cy="3139321"/>
          </a:xfrm>
          <a:prstGeom prst="rect">
            <a:avLst/>
          </a:prstGeom>
        </p:spPr>
        <p:txBody>
          <a:bodyPr wrap="square">
            <a:spAutoFit/>
          </a:bodyPr>
          <a:lstStyle/>
          <a:p>
            <a:pPr algn="ctr"/>
            <a:r>
              <a:rPr lang="es-MX" b="1">
                <a:solidFill>
                  <a:srgbClr val="4E96BF"/>
                </a:solidFill>
              </a:rPr>
              <a:t>QA LEAD</a:t>
            </a:r>
          </a:p>
          <a:p>
            <a:pPr algn="ctr"/>
            <a:r>
              <a:rPr lang="es-MX" i="1">
                <a:solidFill>
                  <a:srgbClr val="4E96BF"/>
                </a:solidFill>
                <a:latin typeface="Santander Headline"/>
              </a:rPr>
              <a:t>Alcance y visión general sobre todos los Building Blocks</a:t>
            </a:r>
          </a:p>
          <a:p>
            <a:pPr algn="ctr"/>
            <a:endParaRPr kumimoji="0" lang="es-MX" i="1" u="none" strike="noStrike" kern="1200" cap="none" spc="0" normalizeH="0" baseline="0" noProof="0">
              <a:ln>
                <a:noFill/>
              </a:ln>
              <a:solidFill>
                <a:srgbClr val="0070C0"/>
              </a:solidFill>
              <a:effectLst/>
              <a:uLnTx/>
              <a:uFillTx/>
              <a:latin typeface="Santander Headline"/>
              <a:ea typeface="+mn-ea"/>
              <a:cs typeface="+mn-cs"/>
            </a:endParaRPr>
          </a:p>
          <a:p>
            <a:pPr marL="285750" indent="-285750">
              <a:buFont typeface="Arial" panose="020B0604020202020204" pitchFamily="34" charset="0"/>
              <a:buChar char="•"/>
            </a:pPr>
            <a:r>
              <a:rPr lang="es-MX">
                <a:solidFill>
                  <a:schemeClr val="tx2"/>
                </a:solidFill>
                <a:latin typeface="Santander Headline"/>
              </a:rPr>
              <a:t>Define e impulsa el modelo de calidad.</a:t>
            </a:r>
          </a:p>
          <a:p>
            <a:pPr marL="285750" indent="-285750">
              <a:buFont typeface="Arial" panose="020B0604020202020204" pitchFamily="34" charset="0"/>
              <a:buChar char="•"/>
            </a:pPr>
            <a:r>
              <a:rPr lang="es-MX">
                <a:solidFill>
                  <a:schemeClr val="tx2"/>
                </a:solidFill>
                <a:latin typeface="Santander Headline"/>
              </a:rPr>
              <a:t>Promueve buenas prácticas, homologando actividades.</a:t>
            </a:r>
          </a:p>
          <a:p>
            <a:pPr marL="285750" indent="-285750">
              <a:buFont typeface="Arial" panose="020B0604020202020204" pitchFamily="34" charset="0"/>
              <a:buChar char="•"/>
            </a:pPr>
            <a:r>
              <a:rPr lang="es-MX">
                <a:solidFill>
                  <a:schemeClr val="tx2"/>
                </a:solidFill>
                <a:latin typeface="Santander Headline"/>
              </a:rPr>
              <a:t>Asegura la ejecución integral de los diversos tipos de prueba según apliquen.</a:t>
            </a:r>
          </a:p>
          <a:p>
            <a:pPr marL="285750" indent="-285750">
              <a:buFont typeface="Arial" panose="020B0604020202020204" pitchFamily="34" charset="0"/>
              <a:buChar char="•"/>
            </a:pPr>
            <a:r>
              <a:rPr lang="es-MX">
                <a:solidFill>
                  <a:schemeClr val="tx2"/>
                </a:solidFill>
                <a:latin typeface="Santander Headline"/>
              </a:rPr>
              <a:t>Detecta y escala puntos de dolor y dependencias.</a:t>
            </a:r>
          </a:p>
        </p:txBody>
      </p:sp>
      <p:sp>
        <p:nvSpPr>
          <p:cNvPr id="16" name="Rectángulo 15">
            <a:extLst>
              <a:ext uri="{FF2B5EF4-FFF2-40B4-BE49-F238E27FC236}">
                <a16:creationId xmlns:a16="http://schemas.microsoft.com/office/drawing/2014/main" id="{89DF9819-6AE2-994C-7EB6-E3548C3DE996}"/>
              </a:ext>
            </a:extLst>
          </p:cNvPr>
          <p:cNvSpPr/>
          <p:nvPr/>
        </p:nvSpPr>
        <p:spPr>
          <a:xfrm>
            <a:off x="6695795" y="2235191"/>
            <a:ext cx="4742131" cy="3139321"/>
          </a:xfrm>
          <a:prstGeom prst="rect">
            <a:avLst/>
          </a:prstGeom>
        </p:spPr>
        <p:txBody>
          <a:bodyPr wrap="square">
            <a:spAutoFit/>
          </a:bodyPr>
          <a:lstStyle/>
          <a:p>
            <a:pPr algn="ctr"/>
            <a:r>
              <a:rPr lang="es-MX" b="1">
                <a:solidFill>
                  <a:srgbClr val="4E96BF"/>
                </a:solidFill>
              </a:rPr>
              <a:t>Quality Engineer</a:t>
            </a:r>
          </a:p>
          <a:p>
            <a:pPr algn="ctr"/>
            <a:r>
              <a:rPr lang="es-MX" i="1">
                <a:solidFill>
                  <a:srgbClr val="4E96BF"/>
                </a:solidFill>
                <a:latin typeface="Santander Headline"/>
              </a:rPr>
              <a:t>Alcance y visión del Building Block al que está asignado (Modelo Fábrica).</a:t>
            </a:r>
          </a:p>
          <a:p>
            <a:pPr algn="ctr"/>
            <a:endParaRPr kumimoji="0" lang="es-MX" i="1" u="none" strike="noStrike" kern="1200" cap="none" spc="0" normalizeH="0" baseline="0" noProof="0">
              <a:ln>
                <a:noFill/>
              </a:ln>
              <a:solidFill>
                <a:srgbClr val="0070C0"/>
              </a:solidFill>
              <a:effectLst/>
              <a:uLnTx/>
              <a:uFillTx/>
              <a:latin typeface="Santander Headline"/>
              <a:ea typeface="+mn-ea"/>
              <a:cs typeface="+mn-cs"/>
            </a:endParaRPr>
          </a:p>
          <a:p>
            <a:pPr marL="285750" indent="-285750">
              <a:buFont typeface="Arial" panose="020B0604020202020204" pitchFamily="34" charset="0"/>
              <a:buChar char="•"/>
            </a:pPr>
            <a:r>
              <a:rPr lang="es-MX">
                <a:solidFill>
                  <a:schemeClr val="tx2"/>
                </a:solidFill>
                <a:latin typeface="Santander Headline"/>
              </a:rPr>
              <a:t>Ejecutar pruebas funcionales, tanto manuales como automatizadas.</a:t>
            </a:r>
          </a:p>
          <a:p>
            <a:pPr marL="285750" indent="-285750">
              <a:buFont typeface="Arial" panose="020B0604020202020204" pitchFamily="34" charset="0"/>
              <a:buChar char="•"/>
            </a:pPr>
            <a:r>
              <a:rPr lang="es-MX">
                <a:solidFill>
                  <a:schemeClr val="tx2"/>
                </a:solidFill>
                <a:latin typeface="Santander Headline"/>
              </a:rPr>
              <a:t>Detectar y comunicar errores eficientemente para acelerar la resolución con desarrollo.</a:t>
            </a:r>
          </a:p>
          <a:p>
            <a:pPr marL="285750" indent="-285750">
              <a:buFont typeface="Arial" panose="020B0604020202020204" pitchFamily="34" charset="0"/>
              <a:buChar char="•"/>
            </a:pPr>
            <a:r>
              <a:rPr lang="es-MX">
                <a:solidFill>
                  <a:schemeClr val="tx2"/>
                </a:solidFill>
                <a:latin typeface="Santander Headline"/>
              </a:rPr>
              <a:t>Garantizar el cumplimiento de los estándares de calidad establecidos.</a:t>
            </a:r>
          </a:p>
          <a:p>
            <a:pPr algn="ctr"/>
            <a:endParaRPr kumimoji="0" lang="es-MX" i="1" u="none" strike="noStrike" kern="1200" cap="none" spc="0" normalizeH="0" baseline="0" noProof="0">
              <a:ln>
                <a:noFill/>
              </a:ln>
              <a:solidFill>
                <a:srgbClr val="0070C0"/>
              </a:solidFill>
              <a:effectLst/>
              <a:uLnTx/>
              <a:uFillTx/>
              <a:latin typeface="Santander Headline"/>
              <a:ea typeface="+mn-ea"/>
              <a:cs typeface="+mn-cs"/>
            </a:endParaRPr>
          </a:p>
        </p:txBody>
      </p:sp>
      <p:sp>
        <p:nvSpPr>
          <p:cNvPr id="5" name="Título 4">
            <a:extLst>
              <a:ext uri="{FF2B5EF4-FFF2-40B4-BE49-F238E27FC236}">
                <a16:creationId xmlns:a16="http://schemas.microsoft.com/office/drawing/2014/main" id="{47336517-6C1C-D414-5D47-9D38A825C996}"/>
              </a:ext>
            </a:extLst>
          </p:cNvPr>
          <p:cNvSpPr>
            <a:spLocks noGrp="1"/>
          </p:cNvSpPr>
          <p:nvPr>
            <p:ph type="title"/>
          </p:nvPr>
        </p:nvSpPr>
        <p:spPr/>
        <p:txBody>
          <a:bodyPr/>
          <a:lstStyle/>
          <a:p>
            <a:r>
              <a:rPr lang="es-MX"/>
              <a:t> </a:t>
            </a:r>
            <a:endParaRPr lang="es-PE"/>
          </a:p>
        </p:txBody>
      </p:sp>
      <p:sp>
        <p:nvSpPr>
          <p:cNvPr id="7" name="Title 5">
            <a:extLst>
              <a:ext uri="{FF2B5EF4-FFF2-40B4-BE49-F238E27FC236}">
                <a16:creationId xmlns:a16="http://schemas.microsoft.com/office/drawing/2014/main" id="{239BC996-2F89-F756-A2A9-9AD7322C19C4}"/>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 </a:t>
            </a:r>
            <a:r>
              <a:rPr lang="en-GB" b="0">
                <a:solidFill>
                  <a:srgbClr val="203864"/>
                </a:solidFill>
                <a:latin typeface="Santander Headline" panose="020B0504020201020104" pitchFamily="34" charset="0"/>
              </a:rPr>
              <a:t>Roles y </a:t>
            </a:r>
            <a:r>
              <a:rPr lang="en-GB" b="0" err="1">
                <a:solidFill>
                  <a:srgbClr val="203864"/>
                </a:solidFill>
                <a:latin typeface="Santander Headline" panose="020B0504020201020104" pitchFamily="34" charset="0"/>
              </a:rPr>
              <a:t>Responsabilidades</a:t>
            </a:r>
            <a:endParaRPr lang="es-MX" b="0">
              <a:solidFill>
                <a:srgbClr val="203864"/>
              </a:solidFill>
              <a:latin typeface="Santander Headline" panose="020B0504020201020104" pitchFamily="34" charset="0"/>
            </a:endParaRPr>
          </a:p>
        </p:txBody>
      </p:sp>
    </p:spTree>
    <p:extLst>
      <p:ext uri="{BB962C8B-B14F-4D97-AF65-F5344CB8AC3E}">
        <p14:creationId xmlns:p14="http://schemas.microsoft.com/office/powerpoint/2010/main" val="3793082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AB5A6D-82DD-F19C-D214-6CC6DE053965}"/>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7FFFE2FF-A60B-341F-A89C-754EC2D65790}"/>
              </a:ext>
            </a:extLst>
          </p:cNvPr>
          <p:cNvSpPr>
            <a:spLocks noGrp="1"/>
          </p:cNvSpPr>
          <p:nvPr>
            <p:ph type="body" sz="quarter" idx="14"/>
          </p:nvPr>
        </p:nvSpPr>
        <p:spPr/>
        <p:txBody>
          <a:bodyPr/>
          <a:lstStyle/>
          <a:p>
            <a:endParaRPr lang="es-PE"/>
          </a:p>
        </p:txBody>
      </p:sp>
      <p:sp>
        <p:nvSpPr>
          <p:cNvPr id="4" name="Título 3">
            <a:extLst>
              <a:ext uri="{FF2B5EF4-FFF2-40B4-BE49-F238E27FC236}">
                <a16:creationId xmlns:a16="http://schemas.microsoft.com/office/drawing/2014/main" id="{E88F5F7B-6CDE-187F-CCE1-924CF2A372C8}"/>
              </a:ext>
            </a:extLst>
          </p:cNvPr>
          <p:cNvSpPr>
            <a:spLocks noGrp="1"/>
          </p:cNvSpPr>
          <p:nvPr>
            <p:ph type="title"/>
          </p:nvPr>
        </p:nvSpPr>
        <p:spPr/>
        <p:txBody>
          <a:bodyPr/>
          <a:lstStyle/>
          <a:p>
            <a:r>
              <a:rPr lang="es-PE"/>
              <a:t>DEFINITION OF DONE</a:t>
            </a:r>
            <a:endParaRPr lang="es-MX" sz="2400"/>
          </a:p>
        </p:txBody>
      </p:sp>
      <p:pic>
        <p:nvPicPr>
          <p:cNvPr id="11" name="Imagen 10">
            <a:extLst>
              <a:ext uri="{FF2B5EF4-FFF2-40B4-BE49-F238E27FC236}">
                <a16:creationId xmlns:a16="http://schemas.microsoft.com/office/drawing/2014/main" id="{889E8359-EA3E-0ADB-D553-B7E0B21DDD73}"/>
              </a:ext>
            </a:extLst>
          </p:cNvPr>
          <p:cNvPicPr>
            <a:picLocks noChangeAspect="1"/>
          </p:cNvPicPr>
          <p:nvPr/>
        </p:nvPicPr>
        <p:blipFill>
          <a:blip r:embed="rId3"/>
          <a:stretch>
            <a:fillRect/>
          </a:stretch>
        </p:blipFill>
        <p:spPr>
          <a:xfrm>
            <a:off x="1156350" y="1502618"/>
            <a:ext cx="9879299" cy="385276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640149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7B362-EB7B-7611-E61B-1ED6664C6886}"/>
            </a:ext>
          </a:extLst>
        </p:cNvPr>
        <p:cNvGrpSpPr/>
        <p:nvPr/>
      </p:nvGrpSpPr>
      <p:grpSpPr>
        <a:xfrm>
          <a:off x="0" y="0"/>
          <a:ext cx="0" cy="0"/>
          <a:chOff x="0" y="0"/>
          <a:chExt cx="0" cy="0"/>
        </a:xfrm>
      </p:grpSpPr>
      <p:sp>
        <p:nvSpPr>
          <p:cNvPr id="24" name="CuadroTexto 2">
            <a:extLst>
              <a:ext uri="{FF2B5EF4-FFF2-40B4-BE49-F238E27FC236}">
                <a16:creationId xmlns:a16="http://schemas.microsoft.com/office/drawing/2014/main" id="{9737BBA9-B58D-8DDE-88F2-C56D026E95CE}"/>
              </a:ext>
            </a:extLst>
          </p:cNvPr>
          <p:cNvSpPr txBox="1"/>
          <p:nvPr/>
        </p:nvSpPr>
        <p:spPr>
          <a:xfrm>
            <a:off x="1557563" y="1603594"/>
            <a:ext cx="935052" cy="4607856"/>
          </a:xfrm>
          <a:prstGeom prst="rect">
            <a:avLst/>
          </a:prstGeom>
          <a:solidFill>
            <a:schemeClr val="bg1">
              <a:lumMod val="95000"/>
            </a:schemeClr>
          </a:solidFill>
        </p:spPr>
        <p:txBody>
          <a:bodyPr wrap="square" lIns="180000" tIns="180000" rIns="180000" bIns="180000" rtlCol="0" anchor="ctr">
            <a:noAutofit/>
          </a:bodyPr>
          <a:lstStyle/>
          <a:p>
            <a:pPr algn="ctr"/>
            <a:r>
              <a:rPr lang="es-MX" sz="800">
                <a:solidFill>
                  <a:schemeClr val="accent5"/>
                </a:solidFill>
              </a:rPr>
              <a:t>HISTORIA DE USUARIO</a:t>
            </a:r>
          </a:p>
          <a:p>
            <a:pPr algn="ctr"/>
            <a:endParaRPr lang="es-MX" sz="800">
              <a:solidFill>
                <a:schemeClr val="accent5"/>
              </a:solidFill>
            </a:endParaRPr>
          </a:p>
          <a:p>
            <a:pPr algn="ctr"/>
            <a:endParaRPr lang="es-MX" sz="800">
              <a:solidFill>
                <a:schemeClr val="accent5"/>
              </a:solidFill>
            </a:endParaRPr>
          </a:p>
          <a:p>
            <a:pPr algn="ctr"/>
            <a:endParaRPr lang="es-MX" sz="800">
              <a:solidFill>
                <a:schemeClr val="accent5"/>
              </a:solidFill>
            </a:endParaRPr>
          </a:p>
          <a:p>
            <a:pPr algn="ctr"/>
            <a:endParaRPr lang="es-MX" sz="800">
              <a:solidFill>
                <a:schemeClr val="accent5"/>
              </a:solidFill>
            </a:endParaRPr>
          </a:p>
          <a:p>
            <a:pPr algn="ctr"/>
            <a:r>
              <a:rPr lang="es-MX" sz="800">
                <a:solidFill>
                  <a:schemeClr val="accent5"/>
                </a:solidFill>
              </a:rPr>
              <a:t>CRITERIOS</a:t>
            </a:r>
          </a:p>
          <a:p>
            <a:pPr algn="ctr"/>
            <a:r>
              <a:rPr lang="es-MX" sz="800">
                <a:solidFill>
                  <a:schemeClr val="accent5"/>
                </a:solidFill>
              </a:rPr>
              <a:t>ACEPTACIÓN</a:t>
            </a:r>
          </a:p>
          <a:p>
            <a:pPr algn="ctr"/>
            <a:endParaRPr lang="es-MX" sz="800">
              <a:solidFill>
                <a:schemeClr val="accent5"/>
              </a:solidFill>
            </a:endParaRPr>
          </a:p>
          <a:p>
            <a:pPr algn="ctr"/>
            <a:endParaRPr lang="es-MX" sz="800">
              <a:solidFill>
                <a:schemeClr val="accent5"/>
              </a:solidFill>
            </a:endParaRPr>
          </a:p>
          <a:p>
            <a:pPr algn="ctr"/>
            <a:endParaRPr lang="es-MX" sz="800">
              <a:solidFill>
                <a:schemeClr val="accent5"/>
              </a:solidFill>
            </a:endParaRPr>
          </a:p>
          <a:p>
            <a:pPr algn="ctr"/>
            <a:endParaRPr lang="es-MX" sz="800">
              <a:solidFill>
                <a:schemeClr val="accent5"/>
              </a:solidFill>
            </a:endParaRPr>
          </a:p>
          <a:p>
            <a:pPr algn="ctr"/>
            <a:endParaRPr lang="es-MX" sz="800">
              <a:solidFill>
                <a:schemeClr val="accent5"/>
              </a:solidFill>
            </a:endParaRPr>
          </a:p>
          <a:p>
            <a:pPr algn="ctr"/>
            <a:r>
              <a:rPr lang="es-MX" sz="800">
                <a:solidFill>
                  <a:schemeClr val="accent5"/>
                </a:solidFill>
              </a:rPr>
              <a:t>PLAN</a:t>
            </a:r>
          </a:p>
          <a:p>
            <a:pPr algn="ctr"/>
            <a:r>
              <a:rPr lang="es-MX" sz="800">
                <a:solidFill>
                  <a:schemeClr val="accent5"/>
                </a:solidFill>
              </a:rPr>
              <a:t>PRUEBAS</a:t>
            </a:r>
          </a:p>
          <a:p>
            <a:pPr algn="ctr"/>
            <a:endParaRPr lang="es-MX" sz="800">
              <a:solidFill>
                <a:schemeClr val="accent5"/>
              </a:solidFill>
            </a:endParaRPr>
          </a:p>
          <a:p>
            <a:pPr algn="ctr"/>
            <a:endParaRPr lang="es-MX" sz="800">
              <a:solidFill>
                <a:schemeClr val="accent5"/>
              </a:solidFill>
            </a:endParaRPr>
          </a:p>
          <a:p>
            <a:pPr algn="ctr"/>
            <a:endParaRPr lang="es-MX" sz="800">
              <a:solidFill>
                <a:schemeClr val="accent5"/>
              </a:solidFill>
            </a:endParaRPr>
          </a:p>
          <a:p>
            <a:pPr algn="ctr"/>
            <a:endParaRPr lang="es-MX" sz="800">
              <a:solidFill>
                <a:schemeClr val="accent5"/>
              </a:solidFill>
            </a:endParaRPr>
          </a:p>
          <a:p>
            <a:pPr algn="ctr"/>
            <a:endParaRPr lang="es-MX" sz="800">
              <a:solidFill>
                <a:schemeClr val="accent5"/>
              </a:solidFill>
            </a:endParaRPr>
          </a:p>
          <a:p>
            <a:pPr algn="ctr"/>
            <a:r>
              <a:rPr lang="es-MX" sz="800">
                <a:solidFill>
                  <a:schemeClr val="accent5"/>
                </a:solidFill>
              </a:rPr>
              <a:t>MATRIZ</a:t>
            </a:r>
          </a:p>
          <a:p>
            <a:pPr algn="ctr"/>
            <a:r>
              <a:rPr lang="es-MX" sz="700">
                <a:solidFill>
                  <a:schemeClr val="accent5"/>
                </a:solidFill>
              </a:rPr>
              <a:t>TRAZABILIDAD</a:t>
            </a:r>
          </a:p>
          <a:p>
            <a:pPr algn="ctr"/>
            <a:endParaRPr lang="es-MX" sz="700">
              <a:solidFill>
                <a:schemeClr val="accent5"/>
              </a:solidFill>
            </a:endParaRPr>
          </a:p>
          <a:p>
            <a:pPr algn="ctr"/>
            <a:endParaRPr lang="es-MX" sz="700">
              <a:solidFill>
                <a:schemeClr val="accent5"/>
              </a:solidFill>
            </a:endParaRPr>
          </a:p>
          <a:p>
            <a:pPr algn="ctr"/>
            <a:endParaRPr lang="es-MX" sz="700">
              <a:solidFill>
                <a:schemeClr val="accent5"/>
              </a:solidFill>
            </a:endParaRPr>
          </a:p>
          <a:p>
            <a:pPr algn="ctr"/>
            <a:endParaRPr lang="es-MX" sz="700">
              <a:solidFill>
                <a:schemeClr val="accent5"/>
              </a:solidFill>
            </a:endParaRPr>
          </a:p>
          <a:p>
            <a:pPr algn="ctr"/>
            <a:endParaRPr lang="es-MX" sz="700">
              <a:solidFill>
                <a:schemeClr val="accent5"/>
              </a:solidFill>
            </a:endParaRPr>
          </a:p>
          <a:p>
            <a:pPr algn="ctr"/>
            <a:r>
              <a:rPr lang="es-MX" sz="800">
                <a:solidFill>
                  <a:schemeClr val="accent5"/>
                </a:solidFill>
              </a:rPr>
              <a:t>CASOS DE</a:t>
            </a:r>
          </a:p>
          <a:p>
            <a:pPr algn="ctr"/>
            <a:r>
              <a:rPr lang="es-MX" sz="800">
                <a:solidFill>
                  <a:schemeClr val="accent5"/>
                </a:solidFill>
              </a:rPr>
              <a:t>PRUEBAS</a:t>
            </a:r>
          </a:p>
          <a:p>
            <a:pPr algn="ctr"/>
            <a:endParaRPr lang="es-MX" sz="800">
              <a:solidFill>
                <a:schemeClr val="accent5"/>
              </a:solidFill>
            </a:endParaRPr>
          </a:p>
          <a:p>
            <a:pPr algn="ctr"/>
            <a:endParaRPr lang="es-MX" sz="800">
              <a:solidFill>
                <a:schemeClr val="accent5"/>
              </a:solidFill>
            </a:endParaRPr>
          </a:p>
          <a:p>
            <a:pPr algn="ctr"/>
            <a:endParaRPr lang="es-MX" sz="800">
              <a:solidFill>
                <a:schemeClr val="accent5"/>
              </a:solidFill>
            </a:endParaRPr>
          </a:p>
          <a:p>
            <a:pPr algn="ctr"/>
            <a:endParaRPr lang="es-MX" sz="800">
              <a:solidFill>
                <a:schemeClr val="accent5"/>
              </a:solidFill>
            </a:endParaRPr>
          </a:p>
          <a:p>
            <a:pPr algn="ctr"/>
            <a:r>
              <a:rPr lang="es-MX" sz="900" b="1">
                <a:solidFill>
                  <a:schemeClr val="accent5"/>
                </a:solidFill>
              </a:rPr>
              <a:t>DEFINITION</a:t>
            </a:r>
          </a:p>
          <a:p>
            <a:pPr algn="ctr"/>
            <a:r>
              <a:rPr lang="es-MX" sz="900" b="1">
                <a:solidFill>
                  <a:schemeClr val="accent5"/>
                </a:solidFill>
              </a:rPr>
              <a:t>OF</a:t>
            </a:r>
          </a:p>
          <a:p>
            <a:pPr algn="ctr"/>
            <a:r>
              <a:rPr lang="es-MX" sz="900" b="1">
                <a:solidFill>
                  <a:schemeClr val="accent5"/>
                </a:solidFill>
              </a:rPr>
              <a:t>DONE</a:t>
            </a:r>
          </a:p>
        </p:txBody>
      </p:sp>
      <p:sp>
        <p:nvSpPr>
          <p:cNvPr id="62" name="Rectángulo 61">
            <a:extLst>
              <a:ext uri="{FF2B5EF4-FFF2-40B4-BE49-F238E27FC236}">
                <a16:creationId xmlns:a16="http://schemas.microsoft.com/office/drawing/2014/main" id="{3C470CEB-9890-09B0-F245-277399B6A5AD}"/>
              </a:ext>
            </a:extLst>
          </p:cNvPr>
          <p:cNvSpPr/>
          <p:nvPr/>
        </p:nvSpPr>
        <p:spPr>
          <a:xfrm>
            <a:off x="1557555" y="3227600"/>
            <a:ext cx="935051" cy="471195"/>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s-MX" sz="800">
                <a:solidFill>
                  <a:srgbClr val="212121"/>
                </a:solidFill>
                <a:latin typeface="Santander Text" panose="020B0504020201020104" pitchFamily="34" charset="0"/>
              </a:rPr>
              <a:t>PLAN</a:t>
            </a:r>
            <a:br>
              <a:rPr lang="es-MX" sz="800">
                <a:solidFill>
                  <a:srgbClr val="212121"/>
                </a:solidFill>
                <a:latin typeface="Santander Text" panose="020B0504020201020104" pitchFamily="34" charset="0"/>
              </a:rPr>
            </a:br>
            <a:r>
              <a:rPr lang="es-MX" sz="800">
                <a:solidFill>
                  <a:srgbClr val="212121"/>
                </a:solidFill>
                <a:latin typeface="Santander Text" panose="020B0504020201020104" pitchFamily="34" charset="0"/>
              </a:rPr>
              <a:t>PRUBEAS</a:t>
            </a:r>
          </a:p>
        </p:txBody>
      </p:sp>
      <p:sp>
        <p:nvSpPr>
          <p:cNvPr id="48" name="CuadroTexto 2">
            <a:extLst>
              <a:ext uri="{FF2B5EF4-FFF2-40B4-BE49-F238E27FC236}">
                <a16:creationId xmlns:a16="http://schemas.microsoft.com/office/drawing/2014/main" id="{9EDE73ED-41A9-ABA2-0821-8CB747924ACF}"/>
              </a:ext>
            </a:extLst>
          </p:cNvPr>
          <p:cNvSpPr txBox="1"/>
          <p:nvPr/>
        </p:nvSpPr>
        <p:spPr>
          <a:xfrm>
            <a:off x="9654337" y="1598915"/>
            <a:ext cx="2404548" cy="4607856"/>
          </a:xfrm>
          <a:prstGeom prst="rect">
            <a:avLst/>
          </a:prstGeom>
          <a:solidFill>
            <a:schemeClr val="bg1">
              <a:lumMod val="95000"/>
            </a:schemeClr>
          </a:solidFill>
        </p:spPr>
        <p:txBody>
          <a:bodyPr wrap="square" lIns="180000" tIns="180000" rIns="180000" bIns="180000" rtlCol="0" anchor="ctr">
            <a:noAutofit/>
          </a:bodyPr>
          <a:lstStyle/>
          <a:p>
            <a:pPr algn="ctr"/>
            <a:r>
              <a:rPr lang="es-MX" sz="900" b="1">
                <a:solidFill>
                  <a:schemeClr val="accent5"/>
                </a:solidFill>
              </a:rPr>
              <a:t>DRY RUN / MONITOREO</a:t>
            </a:r>
          </a:p>
        </p:txBody>
      </p:sp>
      <p:sp>
        <p:nvSpPr>
          <p:cNvPr id="47" name="CuadroTexto 2">
            <a:extLst>
              <a:ext uri="{FF2B5EF4-FFF2-40B4-BE49-F238E27FC236}">
                <a16:creationId xmlns:a16="http://schemas.microsoft.com/office/drawing/2014/main" id="{10902F96-CF77-3E5E-DA84-AFB2AAD52AC6}"/>
              </a:ext>
            </a:extLst>
          </p:cNvPr>
          <p:cNvSpPr txBox="1"/>
          <p:nvPr/>
        </p:nvSpPr>
        <p:spPr>
          <a:xfrm>
            <a:off x="7153286" y="1598915"/>
            <a:ext cx="2404548" cy="4607856"/>
          </a:xfrm>
          <a:prstGeom prst="rect">
            <a:avLst/>
          </a:prstGeom>
          <a:solidFill>
            <a:schemeClr val="bg1">
              <a:lumMod val="95000"/>
            </a:schemeClr>
          </a:solidFill>
        </p:spPr>
        <p:txBody>
          <a:bodyPr wrap="square" lIns="180000" tIns="180000" rIns="180000" bIns="180000" rtlCol="0" anchor="ctr">
            <a:noAutofit/>
          </a:bodyPr>
          <a:lstStyle/>
          <a:p>
            <a:pPr algn="ctr"/>
            <a:r>
              <a:rPr lang="es-MX" sz="900" b="1">
                <a:solidFill>
                  <a:schemeClr val="accent5"/>
                </a:solidFill>
              </a:rPr>
              <a:t>PRUEBAS EN UAT / PERFORMANCE</a:t>
            </a:r>
          </a:p>
        </p:txBody>
      </p:sp>
      <p:sp>
        <p:nvSpPr>
          <p:cNvPr id="46" name="CuadroTexto 2">
            <a:extLst>
              <a:ext uri="{FF2B5EF4-FFF2-40B4-BE49-F238E27FC236}">
                <a16:creationId xmlns:a16="http://schemas.microsoft.com/office/drawing/2014/main" id="{86D836D4-C514-6349-285F-06DD0610DF98}"/>
              </a:ext>
            </a:extLst>
          </p:cNvPr>
          <p:cNvSpPr txBox="1"/>
          <p:nvPr/>
        </p:nvSpPr>
        <p:spPr>
          <a:xfrm>
            <a:off x="4652235" y="1598915"/>
            <a:ext cx="2404548" cy="4607856"/>
          </a:xfrm>
          <a:prstGeom prst="rect">
            <a:avLst/>
          </a:prstGeom>
          <a:solidFill>
            <a:schemeClr val="bg1">
              <a:lumMod val="95000"/>
            </a:schemeClr>
          </a:solidFill>
        </p:spPr>
        <p:txBody>
          <a:bodyPr wrap="square" lIns="180000" tIns="180000" rIns="180000" bIns="180000" rtlCol="0" anchor="ctr">
            <a:noAutofit/>
          </a:bodyPr>
          <a:lstStyle/>
          <a:p>
            <a:pPr algn="ctr"/>
            <a:r>
              <a:rPr lang="es-MX" sz="900" b="1">
                <a:solidFill>
                  <a:schemeClr val="accent5"/>
                </a:solidFill>
              </a:rPr>
              <a:t>PRUBEAS EN AMBIENTE DEV-TEST</a:t>
            </a:r>
          </a:p>
        </p:txBody>
      </p:sp>
      <p:sp>
        <p:nvSpPr>
          <p:cNvPr id="8" name="Marcador de texto 7">
            <a:extLst>
              <a:ext uri="{FF2B5EF4-FFF2-40B4-BE49-F238E27FC236}">
                <a16:creationId xmlns:a16="http://schemas.microsoft.com/office/drawing/2014/main" id="{1D233871-71B0-A00A-4357-401D22D743BB}"/>
              </a:ext>
            </a:extLst>
          </p:cNvPr>
          <p:cNvSpPr>
            <a:spLocks noGrp="1"/>
          </p:cNvSpPr>
          <p:nvPr>
            <p:ph type="body" sz="quarter" idx="14"/>
          </p:nvPr>
        </p:nvSpPr>
        <p:spPr/>
        <p:txBody>
          <a:bodyPr/>
          <a:lstStyle/>
          <a:p>
            <a:endParaRPr lang="es-PE"/>
          </a:p>
        </p:txBody>
      </p:sp>
      <p:sp>
        <p:nvSpPr>
          <p:cNvPr id="14" name="Marcador de número de diapositiva 3">
            <a:extLst>
              <a:ext uri="{FF2B5EF4-FFF2-40B4-BE49-F238E27FC236}">
                <a16:creationId xmlns:a16="http://schemas.microsoft.com/office/drawing/2014/main" id="{1903DC3C-92A2-AC38-8A3B-362EA5D53CEF}"/>
              </a:ext>
            </a:extLst>
          </p:cNvPr>
          <p:cNvSpPr txBox="1">
            <a:spLocks/>
          </p:cNvSpPr>
          <p:nvPr/>
        </p:nvSpPr>
        <p:spPr>
          <a:xfrm>
            <a:off x="8610600" y="6451239"/>
            <a:ext cx="3030538" cy="333609"/>
          </a:xfrm>
          <a:prstGeom prst="rect">
            <a:avLst/>
          </a:prstGeom>
        </p:spPr>
        <p:txBody>
          <a:bodyPr vert="horz" lIns="0" tIns="36000" rIns="0" bIns="0" rtlCol="0" anchor="t" anchorCtr="0">
            <a:noAutofit/>
          </a:bodyPr>
          <a:lstStyle>
            <a:lvl1pPr marL="0" indent="0" algn="l" defTabSz="911045" rtl="0" eaLnBrk="1" latinLnBrk="0" hangingPunct="1">
              <a:lnSpc>
                <a:spcPct val="100000"/>
              </a:lnSpc>
              <a:spcBef>
                <a:spcPts val="996"/>
              </a:spcBef>
              <a:buFont typeface="Webdings" panose="05030102010509060703" pitchFamily="18" charset="2"/>
              <a:buNone/>
              <a:defRPr sz="998" kern="1200">
                <a:solidFill>
                  <a:schemeClr val="bg2"/>
                </a:solidFill>
                <a:latin typeface="Santander Text"/>
                <a:ea typeface="+mn-ea"/>
                <a:cs typeface="+mn-cs"/>
              </a:defRPr>
            </a:lvl1pPr>
            <a:lvl2pPr marL="0" indent="0" algn="l" defTabSz="911045" rtl="0" eaLnBrk="1" latinLnBrk="0" hangingPunct="1">
              <a:lnSpc>
                <a:spcPct val="100000"/>
              </a:lnSpc>
              <a:spcBef>
                <a:spcPts val="498"/>
              </a:spcBef>
              <a:buClr>
                <a:schemeClr val="accent4"/>
              </a:buClr>
              <a:buSzPct val="110000"/>
              <a:buFont typeface="Webdings" panose="05030102010509060703" pitchFamily="18" charset="2"/>
              <a:buChar char="4"/>
              <a:defRPr sz="1597" kern="1200">
                <a:solidFill>
                  <a:schemeClr val="bg2"/>
                </a:solidFill>
                <a:latin typeface="Santander Text"/>
                <a:ea typeface="+mn-ea"/>
                <a:cs typeface="+mn-cs"/>
              </a:defRPr>
            </a:lvl2pPr>
            <a:lvl3pPr marL="174311" indent="188573" algn="l" defTabSz="911045" rtl="0" eaLnBrk="1" latinLnBrk="0" hangingPunct="1">
              <a:lnSpc>
                <a:spcPct val="90000"/>
              </a:lnSpc>
              <a:spcBef>
                <a:spcPts val="498"/>
              </a:spcBef>
              <a:buClr>
                <a:srgbClr val="8AB9CC"/>
              </a:buClr>
              <a:buFont typeface="Webdings" panose="05030102010509060703" pitchFamily="18" charset="2"/>
              <a:buChar char=""/>
              <a:defRPr sz="1597" kern="1200">
                <a:solidFill>
                  <a:schemeClr val="bg2"/>
                </a:solidFill>
                <a:latin typeface="Santander Text"/>
                <a:ea typeface="+mn-ea"/>
                <a:cs typeface="+mn-cs"/>
              </a:defRPr>
            </a:lvl3pPr>
            <a:lvl4pPr marL="362884" indent="174311" algn="l" defTabSz="911045" rtl="0" eaLnBrk="1" latinLnBrk="0" hangingPunct="1">
              <a:lnSpc>
                <a:spcPct val="100000"/>
              </a:lnSpc>
              <a:spcBef>
                <a:spcPts val="498"/>
              </a:spcBef>
              <a:buClr>
                <a:schemeClr val="accent4"/>
              </a:buClr>
              <a:buFont typeface="Arial" panose="020B0604020202020204" pitchFamily="34" charset="0"/>
              <a:buChar char="•"/>
              <a:defRPr sz="1597" kern="1200">
                <a:solidFill>
                  <a:schemeClr val="bg2"/>
                </a:solidFill>
                <a:latin typeface="Santander Text"/>
                <a:ea typeface="+mn-ea"/>
                <a:cs typeface="+mn-cs"/>
              </a:defRPr>
            </a:lvl4pPr>
            <a:lvl5pPr marL="537194" indent="174311" algn="l" defTabSz="911045" rtl="0" eaLnBrk="1" latinLnBrk="0" hangingPunct="1">
              <a:lnSpc>
                <a:spcPct val="90000"/>
              </a:lnSpc>
              <a:spcBef>
                <a:spcPts val="498"/>
              </a:spcBef>
              <a:buClr>
                <a:srgbClr val="8AB9CC"/>
              </a:buClr>
              <a:buFont typeface="Webdings" panose="05030102010509060703" pitchFamily="18" charset="2"/>
              <a:buChar char=""/>
              <a:defRPr sz="1597" kern="1200">
                <a:solidFill>
                  <a:schemeClr val="bg2"/>
                </a:solidFill>
                <a:latin typeface="Santander Text"/>
                <a:ea typeface="+mn-ea"/>
                <a:cs typeface="+mn-cs"/>
              </a:defRPr>
            </a:lvl5pPr>
            <a:lvl6pPr marL="2505377"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6pPr>
            <a:lvl7pPr marL="2960900"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7pPr>
            <a:lvl8pPr marL="3416423"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8pPr>
            <a:lvl9pPr marL="3871947"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9pPr>
          </a:lstStyle>
          <a:p>
            <a:pPr algn="r"/>
            <a:fld id="{921A6315-1B6D-4306-AE81-37B8137F3D65}" type="slidenum">
              <a:rPr lang="es-ES" sz="1100" smtClean="0"/>
              <a:pPr algn="r"/>
              <a:t>41</a:t>
            </a:fld>
            <a:endParaRPr lang="es-ES" sz="1100"/>
          </a:p>
        </p:txBody>
      </p:sp>
      <p:sp>
        <p:nvSpPr>
          <p:cNvPr id="18" name="CuadroTexto 2">
            <a:extLst>
              <a:ext uri="{FF2B5EF4-FFF2-40B4-BE49-F238E27FC236}">
                <a16:creationId xmlns:a16="http://schemas.microsoft.com/office/drawing/2014/main" id="{FFAD74AB-4F5A-209F-DA3A-E0B1B24942B5}"/>
              </a:ext>
            </a:extLst>
          </p:cNvPr>
          <p:cNvSpPr txBox="1"/>
          <p:nvPr/>
        </p:nvSpPr>
        <p:spPr>
          <a:xfrm>
            <a:off x="526001" y="1598915"/>
            <a:ext cx="935051" cy="1443087"/>
          </a:xfrm>
          <a:prstGeom prst="rect">
            <a:avLst/>
          </a:prstGeom>
          <a:solidFill>
            <a:srgbClr val="9BC3D3">
              <a:lumMod val="20000"/>
              <a:lumOff val="80000"/>
            </a:srgbClr>
          </a:solidFill>
        </p:spPr>
        <p:txBody>
          <a:bodyPr wrap="square" lIns="180000" tIns="180000" rIns="180000" bIns="180000" rtlCol="0" anchor="ctr">
            <a:noAutofit/>
          </a:bodyPr>
          <a:lstStyle/>
          <a:p>
            <a:pPr algn="ctr">
              <a:spcAft>
                <a:spcPts val="1200"/>
              </a:spcAft>
            </a:pPr>
            <a:r>
              <a:rPr lang="en-GB" sz="900" b="1">
                <a:solidFill>
                  <a:srgbClr val="212121"/>
                </a:solidFill>
                <a:latin typeface="Santander Text" panose="020B0504020201020104" pitchFamily="34" charset="0"/>
              </a:rPr>
              <a:t>DEFINITION</a:t>
            </a:r>
          </a:p>
          <a:p>
            <a:pPr algn="ctr">
              <a:spcAft>
                <a:spcPts val="1200"/>
              </a:spcAft>
            </a:pPr>
            <a:r>
              <a:rPr lang="en-GB" sz="900" b="1" i="0" u="none" strike="noStrike">
                <a:solidFill>
                  <a:srgbClr val="212121"/>
                </a:solidFill>
                <a:effectLst/>
                <a:latin typeface="Santander Text" panose="020B0504020201020104" pitchFamily="34" charset="0"/>
              </a:rPr>
              <a:t>OF </a:t>
            </a:r>
          </a:p>
          <a:p>
            <a:pPr algn="ctr">
              <a:spcAft>
                <a:spcPts val="1200"/>
              </a:spcAft>
            </a:pPr>
            <a:r>
              <a:rPr lang="en-GB" sz="900" b="1">
                <a:solidFill>
                  <a:srgbClr val="212121"/>
                </a:solidFill>
                <a:latin typeface="Santander Text" panose="020B0504020201020104" pitchFamily="34" charset="0"/>
              </a:rPr>
              <a:t>READY</a:t>
            </a:r>
          </a:p>
          <a:p>
            <a:pPr algn="ctr">
              <a:spcAft>
                <a:spcPts val="1200"/>
              </a:spcAft>
            </a:pPr>
            <a:r>
              <a:rPr lang="en-GB" sz="900" b="1" i="0" u="none" strike="noStrike">
                <a:solidFill>
                  <a:srgbClr val="212121"/>
                </a:solidFill>
                <a:effectLst/>
                <a:latin typeface="Santander Text" panose="020B0504020201020104" pitchFamily="34" charset="0"/>
              </a:rPr>
              <a:t>APIS TECNICAS</a:t>
            </a:r>
          </a:p>
        </p:txBody>
      </p:sp>
      <p:cxnSp>
        <p:nvCxnSpPr>
          <p:cNvPr id="37" name="Straight Connector 14">
            <a:extLst>
              <a:ext uri="{FF2B5EF4-FFF2-40B4-BE49-F238E27FC236}">
                <a16:creationId xmlns:a16="http://schemas.microsoft.com/office/drawing/2014/main" id="{432096C5-5AFE-FA5D-9081-853DC7AE9959}"/>
              </a:ext>
            </a:extLst>
          </p:cNvPr>
          <p:cNvCxnSpPr/>
          <p:nvPr/>
        </p:nvCxnSpPr>
        <p:spPr>
          <a:xfrm>
            <a:off x="550864" y="853361"/>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9" name="Title 5">
            <a:extLst>
              <a:ext uri="{FF2B5EF4-FFF2-40B4-BE49-F238E27FC236}">
                <a16:creationId xmlns:a16="http://schemas.microsoft.com/office/drawing/2014/main" id="{BF4837A6-E71A-D3DC-B452-C04AAC6FB66E}"/>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 </a:t>
            </a:r>
            <a:r>
              <a:rPr lang="en-GB" b="0">
                <a:solidFill>
                  <a:srgbClr val="203864"/>
                </a:solidFill>
                <a:latin typeface="Santander Headline" panose="020B0504020201020104" pitchFamily="34" charset="0"/>
              </a:rPr>
              <a:t>BB - Integración</a:t>
            </a:r>
            <a:endParaRPr lang="es-MX">
              <a:solidFill>
                <a:srgbClr val="203864"/>
              </a:solidFill>
            </a:endParaRPr>
          </a:p>
        </p:txBody>
      </p:sp>
      <p:sp>
        <p:nvSpPr>
          <p:cNvPr id="4" name="CuadroTexto 2">
            <a:extLst>
              <a:ext uri="{FF2B5EF4-FFF2-40B4-BE49-F238E27FC236}">
                <a16:creationId xmlns:a16="http://schemas.microsoft.com/office/drawing/2014/main" id="{EC15BCDA-8CF2-8F91-45BE-60650FAEC139}"/>
              </a:ext>
            </a:extLst>
          </p:cNvPr>
          <p:cNvSpPr txBox="1"/>
          <p:nvPr/>
        </p:nvSpPr>
        <p:spPr>
          <a:xfrm>
            <a:off x="526001" y="3185978"/>
            <a:ext cx="935051" cy="1443087"/>
          </a:xfrm>
          <a:prstGeom prst="rect">
            <a:avLst/>
          </a:prstGeom>
          <a:solidFill>
            <a:srgbClr val="9BC3D3">
              <a:lumMod val="20000"/>
              <a:lumOff val="80000"/>
            </a:srgbClr>
          </a:solidFill>
        </p:spPr>
        <p:txBody>
          <a:bodyPr wrap="square" lIns="180000" tIns="180000" rIns="180000" bIns="180000" rtlCol="0" anchor="ctr">
            <a:noAutofit/>
          </a:bodyPr>
          <a:lstStyle/>
          <a:p>
            <a:pPr algn="ctr">
              <a:spcAft>
                <a:spcPts val="1200"/>
              </a:spcAft>
            </a:pPr>
            <a:endParaRPr lang="en-GB" sz="900" b="1">
              <a:solidFill>
                <a:srgbClr val="212121"/>
              </a:solidFill>
              <a:latin typeface="Santander Text" panose="020B0504020201020104" pitchFamily="34" charset="0"/>
            </a:endParaRPr>
          </a:p>
          <a:p>
            <a:pPr algn="ctr">
              <a:spcAft>
                <a:spcPts val="1200"/>
              </a:spcAft>
            </a:pPr>
            <a:r>
              <a:rPr lang="en-GB" sz="900" b="1">
                <a:solidFill>
                  <a:srgbClr val="212121"/>
                </a:solidFill>
                <a:latin typeface="Santander Text" panose="020B0504020201020104" pitchFamily="34" charset="0"/>
              </a:rPr>
              <a:t>DEFINITION</a:t>
            </a:r>
          </a:p>
          <a:p>
            <a:pPr algn="ctr">
              <a:spcAft>
                <a:spcPts val="1200"/>
              </a:spcAft>
            </a:pPr>
            <a:r>
              <a:rPr lang="en-GB" sz="900" b="1">
                <a:solidFill>
                  <a:srgbClr val="212121"/>
                </a:solidFill>
                <a:latin typeface="Santander Text" panose="020B0504020201020104" pitchFamily="34" charset="0"/>
              </a:rPr>
              <a:t>OF </a:t>
            </a:r>
          </a:p>
          <a:p>
            <a:pPr algn="ctr">
              <a:spcAft>
                <a:spcPts val="1200"/>
              </a:spcAft>
            </a:pPr>
            <a:r>
              <a:rPr lang="en-GB" sz="900" b="1">
                <a:solidFill>
                  <a:srgbClr val="212121"/>
                </a:solidFill>
                <a:latin typeface="Santander Text" panose="020B0504020201020104" pitchFamily="34" charset="0"/>
              </a:rPr>
              <a:t>READY</a:t>
            </a:r>
          </a:p>
          <a:p>
            <a:pPr algn="ctr">
              <a:spcAft>
                <a:spcPts val="1200"/>
              </a:spcAft>
            </a:pPr>
            <a:r>
              <a:rPr lang="en-GB" sz="900" b="1">
                <a:solidFill>
                  <a:srgbClr val="212121"/>
                </a:solidFill>
                <a:latin typeface="Santander Text" panose="020B0504020201020104" pitchFamily="34" charset="0"/>
              </a:rPr>
              <a:t>APIS NEGOCIO</a:t>
            </a:r>
          </a:p>
          <a:p>
            <a:pPr algn="just">
              <a:spcAft>
                <a:spcPts val="1200"/>
              </a:spcAft>
            </a:pPr>
            <a:endParaRPr lang="en-GB" sz="1100" b="0" i="0" u="none" strike="noStrike">
              <a:solidFill>
                <a:srgbClr val="212121"/>
              </a:solidFill>
              <a:effectLst/>
              <a:latin typeface="Santander Text" panose="020B0504020201020104" pitchFamily="34" charset="0"/>
            </a:endParaRPr>
          </a:p>
        </p:txBody>
      </p:sp>
      <p:sp>
        <p:nvSpPr>
          <p:cNvPr id="5" name="CuadroTexto 2">
            <a:extLst>
              <a:ext uri="{FF2B5EF4-FFF2-40B4-BE49-F238E27FC236}">
                <a16:creationId xmlns:a16="http://schemas.microsoft.com/office/drawing/2014/main" id="{8D1125CB-AFBB-E4B1-0C3B-94086B37516D}"/>
              </a:ext>
            </a:extLst>
          </p:cNvPr>
          <p:cNvSpPr txBox="1"/>
          <p:nvPr/>
        </p:nvSpPr>
        <p:spPr>
          <a:xfrm>
            <a:off x="526001" y="4768363"/>
            <a:ext cx="935051" cy="1443087"/>
          </a:xfrm>
          <a:prstGeom prst="rect">
            <a:avLst/>
          </a:prstGeom>
          <a:solidFill>
            <a:srgbClr val="9BC3D3">
              <a:lumMod val="20000"/>
              <a:lumOff val="80000"/>
            </a:srgbClr>
          </a:solidFill>
        </p:spPr>
        <p:txBody>
          <a:bodyPr wrap="square" lIns="180000" tIns="180000" rIns="180000" bIns="180000" rtlCol="0" anchor="ctr">
            <a:noAutofit/>
          </a:bodyPr>
          <a:lstStyle/>
          <a:p>
            <a:pPr algn="ctr">
              <a:spcAft>
                <a:spcPts val="1200"/>
              </a:spcAft>
            </a:pPr>
            <a:endParaRPr lang="en-GB" sz="900" b="1">
              <a:solidFill>
                <a:srgbClr val="212121"/>
              </a:solidFill>
              <a:latin typeface="Santander Text" panose="020B0504020201020104" pitchFamily="34" charset="0"/>
            </a:endParaRPr>
          </a:p>
          <a:p>
            <a:pPr algn="ctr">
              <a:spcAft>
                <a:spcPts val="1200"/>
              </a:spcAft>
            </a:pPr>
            <a:r>
              <a:rPr lang="en-GB" sz="900" b="1">
                <a:solidFill>
                  <a:srgbClr val="212121"/>
                </a:solidFill>
                <a:latin typeface="Santander Text" panose="020B0504020201020104" pitchFamily="34" charset="0"/>
              </a:rPr>
              <a:t>DEFINITION</a:t>
            </a:r>
          </a:p>
          <a:p>
            <a:pPr algn="ctr">
              <a:spcAft>
                <a:spcPts val="1200"/>
              </a:spcAft>
            </a:pPr>
            <a:r>
              <a:rPr lang="en-GB" sz="900" b="1">
                <a:solidFill>
                  <a:srgbClr val="212121"/>
                </a:solidFill>
                <a:latin typeface="Santander Text" panose="020B0504020201020104" pitchFamily="34" charset="0"/>
              </a:rPr>
              <a:t>OF </a:t>
            </a:r>
          </a:p>
          <a:p>
            <a:pPr algn="ctr">
              <a:spcAft>
                <a:spcPts val="1200"/>
              </a:spcAft>
            </a:pPr>
            <a:r>
              <a:rPr lang="en-GB" sz="900" b="1">
                <a:solidFill>
                  <a:srgbClr val="212121"/>
                </a:solidFill>
                <a:latin typeface="Santander Text" panose="020B0504020201020104" pitchFamily="34" charset="0"/>
              </a:rPr>
              <a:t>READY</a:t>
            </a:r>
          </a:p>
          <a:p>
            <a:pPr algn="ctr">
              <a:spcAft>
                <a:spcPts val="1200"/>
              </a:spcAft>
            </a:pPr>
            <a:r>
              <a:rPr lang="en-GB" sz="700" b="1">
                <a:solidFill>
                  <a:srgbClr val="212121"/>
                </a:solidFill>
                <a:latin typeface="Santander Text" panose="020B0504020201020104" pitchFamily="34" charset="0"/>
              </a:rPr>
              <a:t>ORIGINACIÓN</a:t>
            </a:r>
          </a:p>
          <a:p>
            <a:pPr algn="just">
              <a:spcAft>
                <a:spcPts val="1200"/>
              </a:spcAft>
            </a:pPr>
            <a:endParaRPr lang="en-GB" sz="1100" b="0" i="0" u="none" strike="noStrike">
              <a:solidFill>
                <a:srgbClr val="212121"/>
              </a:solidFill>
              <a:effectLst/>
              <a:latin typeface="Santander Text" panose="020B0504020201020104" pitchFamily="34" charset="0"/>
            </a:endParaRPr>
          </a:p>
        </p:txBody>
      </p:sp>
      <p:sp>
        <p:nvSpPr>
          <p:cNvPr id="10" name="CuadroTexto 2">
            <a:extLst>
              <a:ext uri="{FF2B5EF4-FFF2-40B4-BE49-F238E27FC236}">
                <a16:creationId xmlns:a16="http://schemas.microsoft.com/office/drawing/2014/main" id="{BAC8C94A-B8CC-E7FD-8B6D-6CDFD3DC98C9}"/>
              </a:ext>
            </a:extLst>
          </p:cNvPr>
          <p:cNvSpPr txBox="1"/>
          <p:nvPr/>
        </p:nvSpPr>
        <p:spPr>
          <a:xfrm>
            <a:off x="2589126" y="2743199"/>
            <a:ext cx="935051" cy="298803"/>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n-GB" sz="1100" b="1" i="0" u="none" strike="noStrike">
                <a:solidFill>
                  <a:srgbClr val="212121"/>
                </a:solidFill>
                <a:effectLst/>
                <a:latin typeface="Santander Text" panose="020B0504020201020104" pitchFamily="34" charset="0"/>
              </a:rPr>
              <a:t>Capa 4</a:t>
            </a:r>
          </a:p>
        </p:txBody>
      </p:sp>
      <p:sp>
        <p:nvSpPr>
          <p:cNvPr id="16" name="CuadroTexto 2">
            <a:extLst>
              <a:ext uri="{FF2B5EF4-FFF2-40B4-BE49-F238E27FC236}">
                <a16:creationId xmlns:a16="http://schemas.microsoft.com/office/drawing/2014/main" id="{4C840C99-4745-98F5-9549-29D704B64609}"/>
              </a:ext>
            </a:extLst>
          </p:cNvPr>
          <p:cNvSpPr txBox="1"/>
          <p:nvPr/>
        </p:nvSpPr>
        <p:spPr>
          <a:xfrm>
            <a:off x="2589126" y="1598915"/>
            <a:ext cx="935051" cy="298803"/>
          </a:xfrm>
          <a:prstGeom prst="rect">
            <a:avLst/>
          </a:prstGeom>
          <a:solidFill>
            <a:srgbClr val="9BC3D3">
              <a:lumMod val="20000"/>
              <a:lumOff val="80000"/>
            </a:srgbClr>
          </a:solidFill>
        </p:spPr>
        <p:txBody>
          <a:bodyPr wrap="square" lIns="180000" tIns="180000" rIns="180000" bIns="180000" rtlCol="0" anchor="ctr">
            <a:noAutofit/>
          </a:bodyPr>
          <a:lstStyle/>
          <a:p>
            <a:pPr algn="ctr">
              <a:spcAft>
                <a:spcPts val="1200"/>
              </a:spcAft>
            </a:pPr>
            <a:r>
              <a:rPr lang="en-GB" sz="1100" b="0" i="0" u="none" strike="noStrike">
                <a:solidFill>
                  <a:srgbClr val="212121"/>
                </a:solidFill>
                <a:effectLst/>
                <a:latin typeface="Santander Text" panose="020B0504020201020104" pitchFamily="34" charset="0"/>
              </a:rPr>
              <a:t>Capa 1</a:t>
            </a:r>
          </a:p>
        </p:txBody>
      </p:sp>
      <p:sp>
        <p:nvSpPr>
          <p:cNvPr id="17" name="CuadroTexto 2">
            <a:extLst>
              <a:ext uri="{FF2B5EF4-FFF2-40B4-BE49-F238E27FC236}">
                <a16:creationId xmlns:a16="http://schemas.microsoft.com/office/drawing/2014/main" id="{72C9A0B8-4A3B-3A1B-58AB-4DF9BB7FE5A9}"/>
              </a:ext>
            </a:extLst>
          </p:cNvPr>
          <p:cNvSpPr txBox="1"/>
          <p:nvPr/>
        </p:nvSpPr>
        <p:spPr>
          <a:xfrm>
            <a:off x="2589125" y="2362658"/>
            <a:ext cx="935051" cy="298803"/>
          </a:xfrm>
          <a:prstGeom prst="rect">
            <a:avLst/>
          </a:prstGeom>
          <a:solidFill>
            <a:srgbClr val="9BC3D3">
              <a:lumMod val="20000"/>
              <a:lumOff val="80000"/>
            </a:srgbClr>
          </a:solidFill>
        </p:spPr>
        <p:txBody>
          <a:bodyPr wrap="square" lIns="180000" tIns="180000" rIns="180000" bIns="180000" rtlCol="0" anchor="ctr">
            <a:noAutofit/>
          </a:bodyPr>
          <a:lstStyle/>
          <a:p>
            <a:pPr algn="ctr">
              <a:spcAft>
                <a:spcPts val="1200"/>
              </a:spcAft>
            </a:pPr>
            <a:r>
              <a:rPr lang="en-GB" sz="1100" b="0" i="0" u="none" strike="noStrike">
                <a:solidFill>
                  <a:srgbClr val="212121"/>
                </a:solidFill>
                <a:effectLst/>
                <a:latin typeface="Santander Text" panose="020B0504020201020104" pitchFamily="34" charset="0"/>
              </a:rPr>
              <a:t>Capa 3</a:t>
            </a:r>
          </a:p>
        </p:txBody>
      </p:sp>
      <p:sp>
        <p:nvSpPr>
          <p:cNvPr id="19" name="CuadroTexto 2">
            <a:extLst>
              <a:ext uri="{FF2B5EF4-FFF2-40B4-BE49-F238E27FC236}">
                <a16:creationId xmlns:a16="http://schemas.microsoft.com/office/drawing/2014/main" id="{1C110520-01ED-D0B6-D532-B45FADAE9DC5}"/>
              </a:ext>
            </a:extLst>
          </p:cNvPr>
          <p:cNvSpPr txBox="1"/>
          <p:nvPr/>
        </p:nvSpPr>
        <p:spPr>
          <a:xfrm>
            <a:off x="2589124" y="1982117"/>
            <a:ext cx="935051" cy="298803"/>
          </a:xfrm>
          <a:prstGeom prst="rect">
            <a:avLst/>
          </a:prstGeom>
          <a:solidFill>
            <a:srgbClr val="9BC3D3">
              <a:lumMod val="20000"/>
              <a:lumOff val="80000"/>
            </a:srgbClr>
          </a:solidFill>
        </p:spPr>
        <p:txBody>
          <a:bodyPr wrap="square" lIns="180000" tIns="180000" rIns="180000" bIns="180000" rtlCol="0" anchor="ctr">
            <a:noAutofit/>
          </a:bodyPr>
          <a:lstStyle/>
          <a:p>
            <a:pPr algn="ctr">
              <a:spcAft>
                <a:spcPts val="1200"/>
              </a:spcAft>
            </a:pPr>
            <a:r>
              <a:rPr lang="en-GB" sz="1100" b="0" i="0" u="none" strike="noStrike">
                <a:solidFill>
                  <a:srgbClr val="212121"/>
                </a:solidFill>
                <a:effectLst/>
                <a:latin typeface="Santander Text" panose="020B0504020201020104" pitchFamily="34" charset="0"/>
              </a:rPr>
              <a:t>Capa 2</a:t>
            </a:r>
          </a:p>
        </p:txBody>
      </p:sp>
      <p:sp>
        <p:nvSpPr>
          <p:cNvPr id="20" name="CuadroTexto 2">
            <a:extLst>
              <a:ext uri="{FF2B5EF4-FFF2-40B4-BE49-F238E27FC236}">
                <a16:creationId xmlns:a16="http://schemas.microsoft.com/office/drawing/2014/main" id="{6F790FE6-91CC-7C17-4CF7-A18DE20C7F56}"/>
              </a:ext>
            </a:extLst>
          </p:cNvPr>
          <p:cNvSpPr txBox="1"/>
          <p:nvPr/>
        </p:nvSpPr>
        <p:spPr>
          <a:xfrm>
            <a:off x="2589126" y="4330262"/>
            <a:ext cx="935051" cy="298803"/>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defPPr>
              <a:defRPr lang="es-PE"/>
            </a:defPPr>
            <a:lvl1pPr algn="ctr">
              <a:spcAft>
                <a:spcPts val="1200"/>
              </a:spcAft>
              <a:defRPr sz="1100" b="0" i="0" u="none" strike="noStrike">
                <a:solidFill>
                  <a:srgbClr val="212121"/>
                </a:solidFill>
                <a:effectLst/>
                <a:latin typeface="Santander Text" panose="020B0504020201020104" pitchFamily="34" charset="0"/>
              </a:defRPr>
            </a:lvl1pPr>
          </a:lstStyle>
          <a:p>
            <a:r>
              <a:rPr lang="en-GB" b="1"/>
              <a:t>Capa 4</a:t>
            </a:r>
          </a:p>
        </p:txBody>
      </p:sp>
      <p:sp>
        <p:nvSpPr>
          <p:cNvPr id="21" name="CuadroTexto 2">
            <a:extLst>
              <a:ext uri="{FF2B5EF4-FFF2-40B4-BE49-F238E27FC236}">
                <a16:creationId xmlns:a16="http://schemas.microsoft.com/office/drawing/2014/main" id="{31B095D9-B7F6-9A23-DB5C-D512417FDDBD}"/>
              </a:ext>
            </a:extLst>
          </p:cNvPr>
          <p:cNvSpPr txBox="1"/>
          <p:nvPr/>
        </p:nvSpPr>
        <p:spPr>
          <a:xfrm>
            <a:off x="2589126" y="3185978"/>
            <a:ext cx="935051" cy="298803"/>
          </a:xfrm>
          <a:prstGeom prst="rect">
            <a:avLst/>
          </a:prstGeom>
          <a:solidFill>
            <a:srgbClr val="9BC3D3">
              <a:lumMod val="20000"/>
              <a:lumOff val="80000"/>
            </a:srgbClr>
          </a:solidFill>
        </p:spPr>
        <p:txBody>
          <a:bodyPr wrap="square" lIns="180000" tIns="180000" rIns="180000" bIns="180000" rtlCol="0" anchor="ctr">
            <a:noAutofit/>
          </a:bodyPr>
          <a:lstStyle/>
          <a:p>
            <a:pPr algn="ctr">
              <a:spcAft>
                <a:spcPts val="1200"/>
              </a:spcAft>
            </a:pPr>
            <a:r>
              <a:rPr lang="en-GB" sz="1100" b="0" i="0" u="none" strike="noStrike">
                <a:solidFill>
                  <a:srgbClr val="212121"/>
                </a:solidFill>
                <a:effectLst/>
                <a:latin typeface="Santander Text" panose="020B0504020201020104" pitchFamily="34" charset="0"/>
              </a:rPr>
              <a:t>Capa 1</a:t>
            </a:r>
          </a:p>
        </p:txBody>
      </p:sp>
      <p:sp>
        <p:nvSpPr>
          <p:cNvPr id="22" name="CuadroTexto 2">
            <a:extLst>
              <a:ext uri="{FF2B5EF4-FFF2-40B4-BE49-F238E27FC236}">
                <a16:creationId xmlns:a16="http://schemas.microsoft.com/office/drawing/2014/main" id="{A0616492-7A6B-B13F-8414-8974B359AE6A}"/>
              </a:ext>
            </a:extLst>
          </p:cNvPr>
          <p:cNvSpPr txBox="1"/>
          <p:nvPr/>
        </p:nvSpPr>
        <p:spPr>
          <a:xfrm>
            <a:off x="2589125" y="3949721"/>
            <a:ext cx="935051" cy="298803"/>
          </a:xfrm>
          <a:prstGeom prst="rect">
            <a:avLst/>
          </a:prstGeom>
          <a:solidFill>
            <a:srgbClr val="9BC3D3">
              <a:lumMod val="20000"/>
              <a:lumOff val="80000"/>
            </a:srgbClr>
          </a:solidFill>
        </p:spPr>
        <p:txBody>
          <a:bodyPr wrap="square" lIns="180000" tIns="180000" rIns="180000" bIns="180000" rtlCol="0" anchor="ctr">
            <a:noAutofit/>
          </a:bodyPr>
          <a:lstStyle/>
          <a:p>
            <a:pPr algn="ctr">
              <a:spcAft>
                <a:spcPts val="1200"/>
              </a:spcAft>
            </a:pPr>
            <a:r>
              <a:rPr lang="en-GB" sz="1100" b="0" i="0" u="none" strike="noStrike">
                <a:solidFill>
                  <a:srgbClr val="212121"/>
                </a:solidFill>
                <a:effectLst/>
                <a:latin typeface="Santander Text" panose="020B0504020201020104" pitchFamily="34" charset="0"/>
              </a:rPr>
              <a:t>Capa 3</a:t>
            </a:r>
          </a:p>
        </p:txBody>
      </p:sp>
      <p:sp>
        <p:nvSpPr>
          <p:cNvPr id="25" name="CuadroTexto 2">
            <a:extLst>
              <a:ext uri="{FF2B5EF4-FFF2-40B4-BE49-F238E27FC236}">
                <a16:creationId xmlns:a16="http://schemas.microsoft.com/office/drawing/2014/main" id="{991DB0C1-3355-B904-4926-E55AAAB440A6}"/>
              </a:ext>
            </a:extLst>
          </p:cNvPr>
          <p:cNvSpPr txBox="1"/>
          <p:nvPr/>
        </p:nvSpPr>
        <p:spPr>
          <a:xfrm>
            <a:off x="2589124" y="3569180"/>
            <a:ext cx="935051" cy="298803"/>
          </a:xfrm>
          <a:prstGeom prst="rect">
            <a:avLst/>
          </a:prstGeom>
          <a:solidFill>
            <a:srgbClr val="9BC3D3">
              <a:lumMod val="20000"/>
              <a:lumOff val="80000"/>
            </a:srgbClr>
          </a:solidFill>
        </p:spPr>
        <p:txBody>
          <a:bodyPr wrap="square" lIns="180000" tIns="180000" rIns="180000" bIns="180000" rtlCol="0" anchor="ctr">
            <a:noAutofit/>
          </a:bodyPr>
          <a:lstStyle/>
          <a:p>
            <a:pPr algn="ctr">
              <a:spcAft>
                <a:spcPts val="1200"/>
              </a:spcAft>
            </a:pPr>
            <a:r>
              <a:rPr lang="en-GB" sz="1100" b="0" i="0" u="none" strike="noStrike">
                <a:solidFill>
                  <a:srgbClr val="212121"/>
                </a:solidFill>
                <a:effectLst/>
                <a:latin typeface="Santander Text" panose="020B0504020201020104" pitchFamily="34" charset="0"/>
              </a:rPr>
              <a:t>Capa 2</a:t>
            </a:r>
          </a:p>
        </p:txBody>
      </p:sp>
      <p:sp>
        <p:nvSpPr>
          <p:cNvPr id="26" name="CuadroTexto 2">
            <a:extLst>
              <a:ext uri="{FF2B5EF4-FFF2-40B4-BE49-F238E27FC236}">
                <a16:creationId xmlns:a16="http://schemas.microsoft.com/office/drawing/2014/main" id="{5B3F64D4-8FD4-19FD-6B10-D2E9E81F9FDF}"/>
              </a:ext>
            </a:extLst>
          </p:cNvPr>
          <p:cNvSpPr txBox="1"/>
          <p:nvPr/>
        </p:nvSpPr>
        <p:spPr>
          <a:xfrm>
            <a:off x="2589124" y="5912647"/>
            <a:ext cx="935051" cy="298803"/>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defPPr>
              <a:defRPr lang="es-PE"/>
            </a:defPPr>
            <a:lvl1pPr algn="ctr">
              <a:spcAft>
                <a:spcPts val="1200"/>
              </a:spcAft>
              <a:defRPr sz="1100" b="0" i="0" u="none" strike="noStrike">
                <a:solidFill>
                  <a:srgbClr val="212121"/>
                </a:solidFill>
                <a:effectLst/>
                <a:latin typeface="Santander Text" panose="020B0504020201020104" pitchFamily="34" charset="0"/>
              </a:defRPr>
            </a:lvl1pPr>
          </a:lstStyle>
          <a:p>
            <a:r>
              <a:rPr lang="en-GB" b="1"/>
              <a:t>Capa 4</a:t>
            </a:r>
          </a:p>
        </p:txBody>
      </p:sp>
      <p:sp>
        <p:nvSpPr>
          <p:cNvPr id="27" name="CuadroTexto 2">
            <a:extLst>
              <a:ext uri="{FF2B5EF4-FFF2-40B4-BE49-F238E27FC236}">
                <a16:creationId xmlns:a16="http://schemas.microsoft.com/office/drawing/2014/main" id="{9FB0518E-0772-458D-4D0C-E781363A22FE}"/>
              </a:ext>
            </a:extLst>
          </p:cNvPr>
          <p:cNvSpPr txBox="1"/>
          <p:nvPr/>
        </p:nvSpPr>
        <p:spPr>
          <a:xfrm>
            <a:off x="2589124" y="4768363"/>
            <a:ext cx="935051" cy="298803"/>
          </a:xfrm>
          <a:prstGeom prst="rect">
            <a:avLst/>
          </a:prstGeom>
          <a:solidFill>
            <a:srgbClr val="9BC3D3">
              <a:lumMod val="20000"/>
              <a:lumOff val="80000"/>
            </a:srgbClr>
          </a:solidFill>
        </p:spPr>
        <p:txBody>
          <a:bodyPr wrap="square" lIns="180000" tIns="180000" rIns="180000" bIns="180000" rtlCol="0" anchor="ctr">
            <a:noAutofit/>
          </a:bodyPr>
          <a:lstStyle/>
          <a:p>
            <a:pPr algn="ctr">
              <a:spcAft>
                <a:spcPts val="1200"/>
              </a:spcAft>
            </a:pPr>
            <a:r>
              <a:rPr lang="en-GB" sz="1100" b="0" i="0" u="none" strike="noStrike">
                <a:solidFill>
                  <a:srgbClr val="212121"/>
                </a:solidFill>
                <a:effectLst/>
                <a:latin typeface="Santander Text" panose="020B0504020201020104" pitchFamily="34" charset="0"/>
              </a:rPr>
              <a:t>Capa 1</a:t>
            </a:r>
          </a:p>
        </p:txBody>
      </p:sp>
      <p:sp>
        <p:nvSpPr>
          <p:cNvPr id="28" name="CuadroTexto 2">
            <a:extLst>
              <a:ext uri="{FF2B5EF4-FFF2-40B4-BE49-F238E27FC236}">
                <a16:creationId xmlns:a16="http://schemas.microsoft.com/office/drawing/2014/main" id="{24B2E410-0A96-51BD-9173-2C929CF1381B}"/>
              </a:ext>
            </a:extLst>
          </p:cNvPr>
          <p:cNvSpPr txBox="1"/>
          <p:nvPr/>
        </p:nvSpPr>
        <p:spPr>
          <a:xfrm>
            <a:off x="2589123" y="5532106"/>
            <a:ext cx="935051" cy="298803"/>
          </a:xfrm>
          <a:prstGeom prst="rect">
            <a:avLst/>
          </a:prstGeom>
          <a:solidFill>
            <a:srgbClr val="9BC3D3">
              <a:lumMod val="20000"/>
              <a:lumOff val="80000"/>
            </a:srgbClr>
          </a:solidFill>
        </p:spPr>
        <p:txBody>
          <a:bodyPr wrap="square" lIns="180000" tIns="180000" rIns="180000" bIns="180000" rtlCol="0" anchor="ctr">
            <a:noAutofit/>
          </a:bodyPr>
          <a:lstStyle/>
          <a:p>
            <a:pPr algn="ctr">
              <a:spcAft>
                <a:spcPts val="1200"/>
              </a:spcAft>
            </a:pPr>
            <a:r>
              <a:rPr lang="en-GB" sz="1100" b="0" i="0" u="none" strike="noStrike">
                <a:solidFill>
                  <a:srgbClr val="212121"/>
                </a:solidFill>
                <a:effectLst/>
                <a:latin typeface="Santander Text" panose="020B0504020201020104" pitchFamily="34" charset="0"/>
              </a:rPr>
              <a:t>Capa 3</a:t>
            </a:r>
          </a:p>
        </p:txBody>
      </p:sp>
      <p:sp>
        <p:nvSpPr>
          <p:cNvPr id="29" name="CuadroTexto 2">
            <a:extLst>
              <a:ext uri="{FF2B5EF4-FFF2-40B4-BE49-F238E27FC236}">
                <a16:creationId xmlns:a16="http://schemas.microsoft.com/office/drawing/2014/main" id="{486935CE-7D77-D68E-6599-2F8F9B89921C}"/>
              </a:ext>
            </a:extLst>
          </p:cNvPr>
          <p:cNvSpPr txBox="1"/>
          <p:nvPr/>
        </p:nvSpPr>
        <p:spPr>
          <a:xfrm>
            <a:off x="2589122" y="5151565"/>
            <a:ext cx="935051" cy="298803"/>
          </a:xfrm>
          <a:prstGeom prst="rect">
            <a:avLst/>
          </a:prstGeom>
          <a:solidFill>
            <a:srgbClr val="9BC3D3">
              <a:lumMod val="20000"/>
              <a:lumOff val="80000"/>
            </a:srgbClr>
          </a:solidFill>
        </p:spPr>
        <p:txBody>
          <a:bodyPr wrap="square" lIns="180000" tIns="180000" rIns="180000" bIns="180000" rtlCol="0" anchor="ctr">
            <a:noAutofit/>
          </a:bodyPr>
          <a:lstStyle/>
          <a:p>
            <a:pPr algn="ctr">
              <a:spcAft>
                <a:spcPts val="1200"/>
              </a:spcAft>
            </a:pPr>
            <a:r>
              <a:rPr lang="en-GB" sz="1100" b="0" i="0" u="none" strike="noStrike">
                <a:solidFill>
                  <a:srgbClr val="212121"/>
                </a:solidFill>
                <a:effectLst/>
                <a:latin typeface="Santander Text" panose="020B0504020201020104" pitchFamily="34" charset="0"/>
              </a:rPr>
              <a:t>Capa 2</a:t>
            </a:r>
          </a:p>
        </p:txBody>
      </p:sp>
      <p:cxnSp>
        <p:nvCxnSpPr>
          <p:cNvPr id="31" name="Conector recto 30">
            <a:extLst>
              <a:ext uri="{FF2B5EF4-FFF2-40B4-BE49-F238E27FC236}">
                <a16:creationId xmlns:a16="http://schemas.microsoft.com/office/drawing/2014/main" id="{21B3818E-0BFD-BE0E-A9CB-9682221D4EAA}"/>
              </a:ext>
            </a:extLst>
          </p:cNvPr>
          <p:cNvCxnSpPr>
            <a:cxnSpLocks/>
          </p:cNvCxnSpPr>
          <p:nvPr/>
        </p:nvCxnSpPr>
        <p:spPr>
          <a:xfrm flipV="1">
            <a:off x="526001" y="3121358"/>
            <a:ext cx="11532884" cy="0"/>
          </a:xfrm>
          <a:prstGeom prst="line">
            <a:avLst/>
          </a:prstGeom>
          <a:ln w="19050"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 name="Conector recto 31">
            <a:extLst>
              <a:ext uri="{FF2B5EF4-FFF2-40B4-BE49-F238E27FC236}">
                <a16:creationId xmlns:a16="http://schemas.microsoft.com/office/drawing/2014/main" id="{ACBC1D6A-0373-13F3-EC13-80A4DAD4A9B6}"/>
              </a:ext>
            </a:extLst>
          </p:cNvPr>
          <p:cNvCxnSpPr>
            <a:cxnSpLocks/>
          </p:cNvCxnSpPr>
          <p:nvPr/>
        </p:nvCxnSpPr>
        <p:spPr>
          <a:xfrm>
            <a:off x="550864" y="4697621"/>
            <a:ext cx="11508021" cy="0"/>
          </a:xfrm>
          <a:prstGeom prst="line">
            <a:avLst/>
          </a:prstGeom>
          <a:ln w="19050"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3" name="CuadroTexto 2">
            <a:extLst>
              <a:ext uri="{FF2B5EF4-FFF2-40B4-BE49-F238E27FC236}">
                <a16:creationId xmlns:a16="http://schemas.microsoft.com/office/drawing/2014/main" id="{A78D4BBD-9455-45CA-C83B-1E6BC73D8A55}"/>
              </a:ext>
            </a:extLst>
          </p:cNvPr>
          <p:cNvSpPr txBox="1"/>
          <p:nvPr/>
        </p:nvSpPr>
        <p:spPr>
          <a:xfrm>
            <a:off x="3620680" y="1598915"/>
            <a:ext cx="935052" cy="4607856"/>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r>
              <a:rPr lang="es-MX" sz="700" b="1">
                <a:solidFill>
                  <a:schemeClr val="accent5"/>
                </a:solidFill>
              </a:rPr>
              <a:t>PRUEBAS</a:t>
            </a:r>
          </a:p>
          <a:p>
            <a:pPr algn="ctr"/>
            <a:r>
              <a:rPr lang="es-MX" sz="700" b="1">
                <a:solidFill>
                  <a:schemeClr val="accent5"/>
                </a:solidFill>
              </a:rPr>
              <a:t>DE</a:t>
            </a:r>
          </a:p>
          <a:p>
            <a:pPr algn="ctr"/>
            <a:r>
              <a:rPr lang="es-MX" sz="700" b="1">
                <a:solidFill>
                  <a:schemeClr val="accent5"/>
                </a:solidFill>
              </a:rPr>
              <a:t>INTEGRACIÓN</a:t>
            </a:r>
          </a:p>
          <a:p>
            <a:pPr algn="ctr"/>
            <a:r>
              <a:rPr lang="es-MX" sz="700" b="1">
                <a:solidFill>
                  <a:schemeClr val="accent5"/>
                </a:solidFill>
              </a:rPr>
              <a:t>EN </a:t>
            </a:r>
          </a:p>
          <a:p>
            <a:pPr algn="ctr"/>
            <a:r>
              <a:rPr lang="es-MX" sz="700" b="1">
                <a:solidFill>
                  <a:schemeClr val="accent5"/>
                </a:solidFill>
              </a:rPr>
              <a:t>DEV</a:t>
            </a:r>
          </a:p>
        </p:txBody>
      </p:sp>
      <p:sp>
        <p:nvSpPr>
          <p:cNvPr id="34" name="Abrir llave 33">
            <a:extLst>
              <a:ext uri="{FF2B5EF4-FFF2-40B4-BE49-F238E27FC236}">
                <a16:creationId xmlns:a16="http://schemas.microsoft.com/office/drawing/2014/main" id="{775B520A-673E-3284-5FB9-4B8E16080336}"/>
              </a:ext>
            </a:extLst>
          </p:cNvPr>
          <p:cNvSpPr/>
          <p:nvPr/>
        </p:nvSpPr>
        <p:spPr>
          <a:xfrm rot="5400000">
            <a:off x="2908454" y="-19104"/>
            <a:ext cx="333208" cy="3034991"/>
          </a:xfrm>
          <a:prstGeom prst="leftBrace">
            <a:avLst>
              <a:gd name="adj1" fmla="val 0"/>
              <a:gd name="adj2" fmla="val 50000"/>
            </a:avLst>
          </a:prstGeom>
        </p:spPr>
        <p:style>
          <a:lnRef idx="2">
            <a:schemeClr val="accent3"/>
          </a:lnRef>
          <a:fillRef idx="0">
            <a:schemeClr val="accent3"/>
          </a:fillRef>
          <a:effectRef idx="1">
            <a:schemeClr val="accent3"/>
          </a:effectRef>
          <a:fontRef idx="minor">
            <a:schemeClr val="tx1"/>
          </a:fontRef>
        </p:style>
        <p:txBody>
          <a:bodyPr rtlCol="0" anchor="ctr"/>
          <a:lstStyle/>
          <a:p>
            <a:pPr algn="ctr"/>
            <a:endParaRPr lang="es-PE"/>
          </a:p>
        </p:txBody>
      </p:sp>
      <p:cxnSp>
        <p:nvCxnSpPr>
          <p:cNvPr id="36" name="Conector recto de flecha 35">
            <a:extLst>
              <a:ext uri="{FF2B5EF4-FFF2-40B4-BE49-F238E27FC236}">
                <a16:creationId xmlns:a16="http://schemas.microsoft.com/office/drawing/2014/main" id="{0868D3A5-BA63-A460-B7C6-58D18405C533}"/>
              </a:ext>
            </a:extLst>
          </p:cNvPr>
          <p:cNvCxnSpPr/>
          <p:nvPr/>
        </p:nvCxnSpPr>
        <p:spPr>
          <a:xfrm>
            <a:off x="2025089" y="2084010"/>
            <a:ext cx="0" cy="263716"/>
          </a:xfrm>
          <a:prstGeom prst="straightConnector1">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8" name="Conector recto de flecha 37">
            <a:extLst>
              <a:ext uri="{FF2B5EF4-FFF2-40B4-BE49-F238E27FC236}">
                <a16:creationId xmlns:a16="http://schemas.microsoft.com/office/drawing/2014/main" id="{8474CA38-9CA3-503A-9C43-678C142F00DD}"/>
              </a:ext>
            </a:extLst>
          </p:cNvPr>
          <p:cNvCxnSpPr/>
          <p:nvPr/>
        </p:nvCxnSpPr>
        <p:spPr>
          <a:xfrm>
            <a:off x="2025089" y="2855093"/>
            <a:ext cx="0" cy="263716"/>
          </a:xfrm>
          <a:prstGeom prst="straightConnector1">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3" name="Conector recto de flecha 42">
            <a:extLst>
              <a:ext uri="{FF2B5EF4-FFF2-40B4-BE49-F238E27FC236}">
                <a16:creationId xmlns:a16="http://schemas.microsoft.com/office/drawing/2014/main" id="{F4B622C1-64CA-8AB9-ED30-2A33A834DE40}"/>
              </a:ext>
            </a:extLst>
          </p:cNvPr>
          <p:cNvCxnSpPr/>
          <p:nvPr/>
        </p:nvCxnSpPr>
        <p:spPr>
          <a:xfrm>
            <a:off x="2025089" y="3698795"/>
            <a:ext cx="0" cy="263716"/>
          </a:xfrm>
          <a:prstGeom prst="straightConnector1">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4" name="Conector recto de flecha 43">
            <a:extLst>
              <a:ext uri="{FF2B5EF4-FFF2-40B4-BE49-F238E27FC236}">
                <a16:creationId xmlns:a16="http://schemas.microsoft.com/office/drawing/2014/main" id="{FB5C2083-DBB6-9FBF-319B-365587743ECF}"/>
              </a:ext>
            </a:extLst>
          </p:cNvPr>
          <p:cNvCxnSpPr/>
          <p:nvPr/>
        </p:nvCxnSpPr>
        <p:spPr>
          <a:xfrm>
            <a:off x="2015969" y="4491657"/>
            <a:ext cx="0" cy="263716"/>
          </a:xfrm>
          <a:prstGeom prst="straightConnector1">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5" name="Conector recto de flecha 44">
            <a:extLst>
              <a:ext uri="{FF2B5EF4-FFF2-40B4-BE49-F238E27FC236}">
                <a16:creationId xmlns:a16="http://schemas.microsoft.com/office/drawing/2014/main" id="{1CA0F097-5527-B9B3-767B-D5F728822983}"/>
              </a:ext>
            </a:extLst>
          </p:cNvPr>
          <p:cNvCxnSpPr/>
          <p:nvPr/>
        </p:nvCxnSpPr>
        <p:spPr>
          <a:xfrm>
            <a:off x="2015969" y="5252631"/>
            <a:ext cx="0" cy="263716"/>
          </a:xfrm>
          <a:prstGeom prst="straightConnector1">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51" name="Abrir llave 50">
            <a:extLst>
              <a:ext uri="{FF2B5EF4-FFF2-40B4-BE49-F238E27FC236}">
                <a16:creationId xmlns:a16="http://schemas.microsoft.com/office/drawing/2014/main" id="{B8024D88-16C4-9738-988A-AD4A4328B690}"/>
              </a:ext>
            </a:extLst>
          </p:cNvPr>
          <p:cNvSpPr/>
          <p:nvPr/>
        </p:nvSpPr>
        <p:spPr>
          <a:xfrm rot="5400000">
            <a:off x="5689804" y="295381"/>
            <a:ext cx="310988" cy="2404548"/>
          </a:xfrm>
          <a:prstGeom prst="leftBrace">
            <a:avLst>
              <a:gd name="adj1" fmla="val 0"/>
              <a:gd name="adj2" fmla="val 50000"/>
            </a:avLst>
          </a:prstGeom>
        </p:spPr>
        <p:style>
          <a:lnRef idx="2">
            <a:schemeClr val="accent3"/>
          </a:lnRef>
          <a:fillRef idx="0">
            <a:schemeClr val="accent3"/>
          </a:fillRef>
          <a:effectRef idx="1">
            <a:schemeClr val="accent3"/>
          </a:effectRef>
          <a:fontRef idx="minor">
            <a:schemeClr val="tx1"/>
          </a:fontRef>
        </p:style>
        <p:txBody>
          <a:bodyPr rtlCol="0" anchor="ctr"/>
          <a:lstStyle/>
          <a:p>
            <a:pPr algn="ctr"/>
            <a:endParaRPr lang="es-PE"/>
          </a:p>
        </p:txBody>
      </p:sp>
      <p:sp>
        <p:nvSpPr>
          <p:cNvPr id="52" name="Abrir llave 51">
            <a:extLst>
              <a:ext uri="{FF2B5EF4-FFF2-40B4-BE49-F238E27FC236}">
                <a16:creationId xmlns:a16="http://schemas.microsoft.com/office/drawing/2014/main" id="{39D414C2-7681-4F20-427B-D7C66F157CA1}"/>
              </a:ext>
            </a:extLst>
          </p:cNvPr>
          <p:cNvSpPr/>
          <p:nvPr/>
        </p:nvSpPr>
        <p:spPr>
          <a:xfrm rot="5400000">
            <a:off x="8200066" y="296118"/>
            <a:ext cx="310988" cy="2404548"/>
          </a:xfrm>
          <a:prstGeom prst="leftBrace">
            <a:avLst>
              <a:gd name="adj1" fmla="val 0"/>
              <a:gd name="adj2" fmla="val 50000"/>
            </a:avLst>
          </a:prstGeom>
        </p:spPr>
        <p:style>
          <a:lnRef idx="2">
            <a:schemeClr val="accent3"/>
          </a:lnRef>
          <a:fillRef idx="0">
            <a:schemeClr val="accent3"/>
          </a:fillRef>
          <a:effectRef idx="1">
            <a:schemeClr val="accent3"/>
          </a:effectRef>
          <a:fontRef idx="minor">
            <a:schemeClr val="tx1"/>
          </a:fontRef>
        </p:style>
        <p:txBody>
          <a:bodyPr rtlCol="0" anchor="ctr"/>
          <a:lstStyle/>
          <a:p>
            <a:pPr algn="ctr"/>
            <a:endParaRPr lang="es-PE"/>
          </a:p>
        </p:txBody>
      </p:sp>
      <p:sp>
        <p:nvSpPr>
          <p:cNvPr id="53" name="Abrir llave 52">
            <a:extLst>
              <a:ext uri="{FF2B5EF4-FFF2-40B4-BE49-F238E27FC236}">
                <a16:creationId xmlns:a16="http://schemas.microsoft.com/office/drawing/2014/main" id="{3DB73F0B-8EAF-B34C-F2C4-2EC9FB68BE0E}"/>
              </a:ext>
            </a:extLst>
          </p:cNvPr>
          <p:cNvSpPr/>
          <p:nvPr/>
        </p:nvSpPr>
        <p:spPr>
          <a:xfrm rot="5400000">
            <a:off x="10701117" y="283725"/>
            <a:ext cx="310988" cy="2404548"/>
          </a:xfrm>
          <a:prstGeom prst="leftBrace">
            <a:avLst>
              <a:gd name="adj1" fmla="val 0"/>
              <a:gd name="adj2" fmla="val 50000"/>
            </a:avLst>
          </a:prstGeom>
        </p:spPr>
        <p:style>
          <a:lnRef idx="2">
            <a:schemeClr val="accent3"/>
          </a:lnRef>
          <a:fillRef idx="0">
            <a:schemeClr val="accent3"/>
          </a:fillRef>
          <a:effectRef idx="1">
            <a:schemeClr val="accent3"/>
          </a:effectRef>
          <a:fontRef idx="minor">
            <a:schemeClr val="tx1"/>
          </a:fontRef>
        </p:style>
        <p:txBody>
          <a:bodyPr rtlCol="0" anchor="ctr"/>
          <a:lstStyle/>
          <a:p>
            <a:pPr algn="ctr"/>
            <a:endParaRPr lang="es-PE"/>
          </a:p>
        </p:txBody>
      </p:sp>
      <p:sp>
        <p:nvSpPr>
          <p:cNvPr id="54" name="CuadroTexto 53">
            <a:extLst>
              <a:ext uri="{FF2B5EF4-FFF2-40B4-BE49-F238E27FC236}">
                <a16:creationId xmlns:a16="http://schemas.microsoft.com/office/drawing/2014/main" id="{2A8F3189-CA1E-B22F-A0AE-1BDF3D279DD3}"/>
              </a:ext>
            </a:extLst>
          </p:cNvPr>
          <p:cNvSpPr txBox="1"/>
          <p:nvPr/>
        </p:nvSpPr>
        <p:spPr>
          <a:xfrm>
            <a:off x="2832043" y="1022728"/>
            <a:ext cx="492443" cy="307777"/>
          </a:xfrm>
          <a:prstGeom prst="rect">
            <a:avLst/>
          </a:prstGeom>
          <a:noFill/>
        </p:spPr>
        <p:txBody>
          <a:bodyPr wrap="none" rtlCol="0">
            <a:spAutoFit/>
          </a:bodyPr>
          <a:lstStyle/>
          <a:p>
            <a:r>
              <a:rPr lang="es-MX" sz="1400" b="1">
                <a:solidFill>
                  <a:schemeClr val="bg2"/>
                </a:solidFill>
              </a:rPr>
              <a:t>DEV</a:t>
            </a:r>
            <a:endParaRPr lang="es-PE" sz="1400" b="1">
              <a:solidFill>
                <a:schemeClr val="bg2"/>
              </a:solidFill>
            </a:endParaRPr>
          </a:p>
        </p:txBody>
      </p:sp>
      <p:sp>
        <p:nvSpPr>
          <p:cNvPr id="55" name="CuadroTexto 54">
            <a:extLst>
              <a:ext uri="{FF2B5EF4-FFF2-40B4-BE49-F238E27FC236}">
                <a16:creationId xmlns:a16="http://schemas.microsoft.com/office/drawing/2014/main" id="{734980DF-B194-B53C-E056-A2D9807A27DD}"/>
              </a:ext>
            </a:extLst>
          </p:cNvPr>
          <p:cNvSpPr txBox="1"/>
          <p:nvPr/>
        </p:nvSpPr>
        <p:spPr>
          <a:xfrm>
            <a:off x="5581315" y="1074589"/>
            <a:ext cx="527965" cy="307777"/>
          </a:xfrm>
          <a:prstGeom prst="rect">
            <a:avLst/>
          </a:prstGeom>
          <a:noFill/>
        </p:spPr>
        <p:txBody>
          <a:bodyPr wrap="none" rtlCol="0">
            <a:spAutoFit/>
          </a:bodyPr>
          <a:lstStyle/>
          <a:p>
            <a:r>
              <a:rPr lang="es-MX" sz="1400" b="1">
                <a:solidFill>
                  <a:schemeClr val="bg2"/>
                </a:solidFill>
              </a:rPr>
              <a:t>TEST</a:t>
            </a:r>
            <a:endParaRPr lang="es-PE" sz="1400" b="1">
              <a:solidFill>
                <a:schemeClr val="bg2"/>
              </a:solidFill>
            </a:endParaRPr>
          </a:p>
        </p:txBody>
      </p:sp>
      <p:sp>
        <p:nvSpPr>
          <p:cNvPr id="56" name="CuadroTexto 55">
            <a:extLst>
              <a:ext uri="{FF2B5EF4-FFF2-40B4-BE49-F238E27FC236}">
                <a16:creationId xmlns:a16="http://schemas.microsoft.com/office/drawing/2014/main" id="{EE57963E-F385-F2C6-C112-3AE15B56EF20}"/>
              </a:ext>
            </a:extLst>
          </p:cNvPr>
          <p:cNvSpPr txBox="1"/>
          <p:nvPr/>
        </p:nvSpPr>
        <p:spPr>
          <a:xfrm>
            <a:off x="8113742" y="1067695"/>
            <a:ext cx="480003" cy="307777"/>
          </a:xfrm>
          <a:prstGeom prst="rect">
            <a:avLst/>
          </a:prstGeom>
          <a:noFill/>
        </p:spPr>
        <p:txBody>
          <a:bodyPr wrap="none" rtlCol="0">
            <a:spAutoFit/>
          </a:bodyPr>
          <a:lstStyle/>
          <a:p>
            <a:r>
              <a:rPr lang="es-MX" sz="1400" b="1">
                <a:solidFill>
                  <a:schemeClr val="bg2"/>
                </a:solidFill>
              </a:rPr>
              <a:t>UAT</a:t>
            </a:r>
            <a:endParaRPr lang="es-PE" sz="1400" b="1">
              <a:solidFill>
                <a:schemeClr val="bg2"/>
              </a:solidFill>
            </a:endParaRPr>
          </a:p>
        </p:txBody>
      </p:sp>
      <p:sp>
        <p:nvSpPr>
          <p:cNvPr id="58" name="CuadroTexto 57">
            <a:extLst>
              <a:ext uri="{FF2B5EF4-FFF2-40B4-BE49-F238E27FC236}">
                <a16:creationId xmlns:a16="http://schemas.microsoft.com/office/drawing/2014/main" id="{92D1A418-DA67-F66B-3AE1-F19B94BDFE66}"/>
              </a:ext>
            </a:extLst>
          </p:cNvPr>
          <p:cNvSpPr txBox="1"/>
          <p:nvPr/>
        </p:nvSpPr>
        <p:spPr>
          <a:xfrm>
            <a:off x="10555150" y="1074589"/>
            <a:ext cx="615746" cy="307777"/>
          </a:xfrm>
          <a:prstGeom prst="rect">
            <a:avLst/>
          </a:prstGeom>
          <a:noFill/>
        </p:spPr>
        <p:txBody>
          <a:bodyPr wrap="none" rtlCol="0">
            <a:spAutoFit/>
          </a:bodyPr>
          <a:lstStyle/>
          <a:p>
            <a:r>
              <a:rPr lang="es-MX" sz="1400" b="1">
                <a:solidFill>
                  <a:schemeClr val="bg2"/>
                </a:solidFill>
              </a:rPr>
              <a:t>PROD</a:t>
            </a:r>
            <a:endParaRPr lang="es-PE" sz="1400" b="1">
              <a:solidFill>
                <a:schemeClr val="bg2"/>
              </a:solidFill>
            </a:endParaRPr>
          </a:p>
        </p:txBody>
      </p:sp>
      <p:pic>
        <p:nvPicPr>
          <p:cNvPr id="1026" name="Picture 2" descr="Icono de Cascada Flaticons Lineal Color">
            <a:extLst>
              <a:ext uri="{FF2B5EF4-FFF2-40B4-BE49-F238E27FC236}">
                <a16:creationId xmlns:a16="http://schemas.microsoft.com/office/drawing/2014/main" id="{994D5766-3142-D746-9C3B-D664819248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9956" y="1658675"/>
            <a:ext cx="1349105" cy="134910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cuencia - Iconos gratis de médico">
            <a:extLst>
              <a:ext uri="{FF2B5EF4-FFF2-40B4-BE49-F238E27FC236}">
                <a16:creationId xmlns:a16="http://schemas.microsoft.com/office/drawing/2014/main" id="{46365338-A758-E2E5-FBAC-AD598F889B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78743" y="1657780"/>
            <a:ext cx="1350000" cy="135000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0" descr="Performance - free icon">
            <a:extLst>
              <a:ext uri="{FF2B5EF4-FFF2-40B4-BE49-F238E27FC236}">
                <a16:creationId xmlns:a16="http://schemas.microsoft.com/office/drawing/2014/main" id="{3883FE0C-47A0-BF60-C1FC-1002A72DA3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8743" y="2614375"/>
            <a:ext cx="481435" cy="48143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Sistema de monitoreo - Iconos gratis de computadora">
            <a:extLst>
              <a:ext uri="{FF2B5EF4-FFF2-40B4-BE49-F238E27FC236}">
                <a16:creationId xmlns:a16="http://schemas.microsoft.com/office/drawing/2014/main" id="{BAC4FCCF-B11A-40EA-23BE-BE671BB843A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81611" y="1712254"/>
            <a:ext cx="1350000" cy="1350000"/>
          </a:xfrm>
          <a:prstGeom prst="rect">
            <a:avLst/>
          </a:prstGeom>
          <a:noFill/>
          <a:extLst>
            <a:ext uri="{909E8E84-426E-40DD-AFC4-6F175D3DCCD1}">
              <a14:hiddenFill xmlns:a14="http://schemas.microsoft.com/office/drawing/2010/main">
                <a:solidFill>
                  <a:srgbClr val="FFFFFF"/>
                </a:solidFill>
              </a14:hiddenFill>
            </a:ext>
          </a:extLst>
        </p:spPr>
      </p:pic>
      <p:sp>
        <p:nvSpPr>
          <p:cNvPr id="63" name="Rectángulo 62">
            <a:extLst>
              <a:ext uri="{FF2B5EF4-FFF2-40B4-BE49-F238E27FC236}">
                <a16:creationId xmlns:a16="http://schemas.microsoft.com/office/drawing/2014/main" id="{924C7A46-D9E9-4F14-44D5-BBEDAAC9EC88}"/>
              </a:ext>
            </a:extLst>
          </p:cNvPr>
          <p:cNvSpPr/>
          <p:nvPr/>
        </p:nvSpPr>
        <p:spPr>
          <a:xfrm>
            <a:off x="1557555" y="4014455"/>
            <a:ext cx="935051" cy="471195"/>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s-MX" sz="800">
                <a:solidFill>
                  <a:srgbClr val="212121"/>
                </a:solidFill>
                <a:latin typeface="Santander Text" panose="020B0504020201020104" pitchFamily="34" charset="0"/>
              </a:rPr>
              <a:t>MATRIZ</a:t>
            </a:r>
            <a:br>
              <a:rPr lang="es-MX" sz="800">
                <a:solidFill>
                  <a:srgbClr val="212121"/>
                </a:solidFill>
                <a:latin typeface="Santander Text" panose="020B0504020201020104" pitchFamily="34" charset="0"/>
              </a:rPr>
            </a:br>
            <a:r>
              <a:rPr lang="es-MX" sz="700">
                <a:solidFill>
                  <a:srgbClr val="212121"/>
                </a:solidFill>
                <a:latin typeface="Santander Text" panose="020B0504020201020104" pitchFamily="34" charset="0"/>
              </a:rPr>
              <a:t>TRAZABILIDAD</a:t>
            </a:r>
            <a:endParaRPr lang="es-MX" sz="800">
              <a:solidFill>
                <a:srgbClr val="212121"/>
              </a:solidFill>
              <a:latin typeface="Santander Text" panose="020B0504020201020104" pitchFamily="34" charset="0"/>
            </a:endParaRPr>
          </a:p>
        </p:txBody>
      </p:sp>
      <p:sp>
        <p:nvSpPr>
          <p:cNvPr id="1024" name="Rectángulo 1023">
            <a:extLst>
              <a:ext uri="{FF2B5EF4-FFF2-40B4-BE49-F238E27FC236}">
                <a16:creationId xmlns:a16="http://schemas.microsoft.com/office/drawing/2014/main" id="{3A77DB2F-7736-A710-0A44-1A48213AED74}"/>
              </a:ext>
            </a:extLst>
          </p:cNvPr>
          <p:cNvSpPr/>
          <p:nvPr/>
        </p:nvSpPr>
        <p:spPr>
          <a:xfrm>
            <a:off x="1552405" y="4831568"/>
            <a:ext cx="935051" cy="471195"/>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s-MX" sz="800">
                <a:solidFill>
                  <a:srgbClr val="212121"/>
                </a:solidFill>
                <a:latin typeface="Santander Text" panose="020B0504020201020104" pitchFamily="34" charset="0"/>
              </a:rPr>
              <a:t>CASOS</a:t>
            </a:r>
            <a:br>
              <a:rPr lang="es-MX" sz="800">
                <a:solidFill>
                  <a:srgbClr val="212121"/>
                </a:solidFill>
                <a:latin typeface="Santander Text" panose="020B0504020201020104" pitchFamily="34" charset="0"/>
              </a:rPr>
            </a:br>
            <a:r>
              <a:rPr lang="es-MX" sz="800">
                <a:solidFill>
                  <a:srgbClr val="212121"/>
                </a:solidFill>
                <a:latin typeface="Santander Text" panose="020B0504020201020104" pitchFamily="34" charset="0"/>
              </a:rPr>
              <a:t>PRUEBA</a:t>
            </a:r>
          </a:p>
        </p:txBody>
      </p:sp>
      <p:sp>
        <p:nvSpPr>
          <p:cNvPr id="1025" name="Rectángulo 1024">
            <a:extLst>
              <a:ext uri="{FF2B5EF4-FFF2-40B4-BE49-F238E27FC236}">
                <a16:creationId xmlns:a16="http://schemas.microsoft.com/office/drawing/2014/main" id="{CFBCC623-0528-C282-0EBA-AB5B972A4387}"/>
              </a:ext>
            </a:extLst>
          </p:cNvPr>
          <p:cNvSpPr/>
          <p:nvPr/>
        </p:nvSpPr>
        <p:spPr>
          <a:xfrm>
            <a:off x="5287617" y="5268515"/>
            <a:ext cx="1162879" cy="360000"/>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s-MX" sz="800">
                <a:solidFill>
                  <a:srgbClr val="212121"/>
                </a:solidFill>
                <a:latin typeface="Santander Text" panose="020B0504020201020104" pitchFamily="34" charset="0"/>
              </a:rPr>
              <a:t>REPORTES</a:t>
            </a:r>
            <a:br>
              <a:rPr lang="es-MX" sz="800">
                <a:solidFill>
                  <a:srgbClr val="212121"/>
                </a:solidFill>
                <a:latin typeface="Santander Text" panose="020B0504020201020104" pitchFamily="34" charset="0"/>
              </a:rPr>
            </a:br>
            <a:r>
              <a:rPr lang="es-MX" sz="800">
                <a:solidFill>
                  <a:srgbClr val="212121"/>
                </a:solidFill>
                <a:latin typeface="Santander Text" panose="020B0504020201020104" pitchFamily="34" charset="0"/>
              </a:rPr>
              <a:t>AVANCE</a:t>
            </a:r>
          </a:p>
        </p:txBody>
      </p:sp>
      <p:sp>
        <p:nvSpPr>
          <p:cNvPr id="1027" name="Rectángulo 1026">
            <a:extLst>
              <a:ext uri="{FF2B5EF4-FFF2-40B4-BE49-F238E27FC236}">
                <a16:creationId xmlns:a16="http://schemas.microsoft.com/office/drawing/2014/main" id="{1B46CCEA-4F28-7337-0DA3-1F8689802EDE}"/>
              </a:ext>
            </a:extLst>
          </p:cNvPr>
          <p:cNvSpPr/>
          <p:nvPr/>
        </p:nvSpPr>
        <p:spPr>
          <a:xfrm>
            <a:off x="5287618" y="5738906"/>
            <a:ext cx="1162878" cy="360000"/>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s-MX" sz="800">
                <a:solidFill>
                  <a:srgbClr val="212121"/>
                </a:solidFill>
                <a:latin typeface="Santander Text" panose="020B0504020201020104" pitchFamily="34" charset="0"/>
              </a:rPr>
              <a:t>CIERRE</a:t>
            </a:r>
            <a:br>
              <a:rPr lang="es-MX" sz="800">
                <a:solidFill>
                  <a:srgbClr val="212121"/>
                </a:solidFill>
                <a:latin typeface="Santander Text" panose="020B0504020201020104" pitchFamily="34" charset="0"/>
              </a:rPr>
            </a:br>
            <a:r>
              <a:rPr lang="es-MX" sz="800">
                <a:solidFill>
                  <a:srgbClr val="212121"/>
                </a:solidFill>
                <a:latin typeface="Santander Text" panose="020B0504020201020104" pitchFamily="34" charset="0"/>
              </a:rPr>
              <a:t>PRUEBAS EN TEST</a:t>
            </a:r>
          </a:p>
        </p:txBody>
      </p:sp>
      <p:sp>
        <p:nvSpPr>
          <p:cNvPr id="2" name="Rectángulo 1">
            <a:extLst>
              <a:ext uri="{FF2B5EF4-FFF2-40B4-BE49-F238E27FC236}">
                <a16:creationId xmlns:a16="http://schemas.microsoft.com/office/drawing/2014/main" id="{422A9424-BC47-2349-1920-947058AC92DC}"/>
              </a:ext>
            </a:extLst>
          </p:cNvPr>
          <p:cNvSpPr/>
          <p:nvPr/>
        </p:nvSpPr>
        <p:spPr>
          <a:xfrm>
            <a:off x="5287617" y="4787036"/>
            <a:ext cx="1162879" cy="360000"/>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s-MX" sz="800">
                <a:solidFill>
                  <a:srgbClr val="212121"/>
                </a:solidFill>
                <a:latin typeface="Santander Text" panose="020B0504020201020104" pitchFamily="34" charset="0"/>
              </a:rPr>
              <a:t>DESARROLLO</a:t>
            </a:r>
            <a:br>
              <a:rPr lang="es-MX" sz="800">
                <a:solidFill>
                  <a:srgbClr val="212121"/>
                </a:solidFill>
                <a:latin typeface="Santander Text" panose="020B0504020201020104" pitchFamily="34" charset="0"/>
              </a:rPr>
            </a:br>
            <a:r>
              <a:rPr lang="es-MX" sz="800">
                <a:solidFill>
                  <a:srgbClr val="212121"/>
                </a:solidFill>
                <a:latin typeface="Santander Text" panose="020B0504020201020104" pitchFamily="34" charset="0"/>
              </a:rPr>
              <a:t>AUTOMATIZACIÓN</a:t>
            </a:r>
            <a:br>
              <a:rPr lang="es-MX" sz="800">
                <a:solidFill>
                  <a:srgbClr val="212121"/>
                </a:solidFill>
                <a:latin typeface="Santander Text" panose="020B0504020201020104" pitchFamily="34" charset="0"/>
              </a:rPr>
            </a:br>
            <a:r>
              <a:rPr lang="es-MX" sz="800">
                <a:solidFill>
                  <a:srgbClr val="212121"/>
                </a:solidFill>
                <a:latin typeface="Santander Text" panose="020B0504020201020104" pitchFamily="34" charset="0"/>
              </a:rPr>
              <a:t>/ EJECUCIÓN </a:t>
            </a:r>
          </a:p>
        </p:txBody>
      </p:sp>
      <p:sp>
        <p:nvSpPr>
          <p:cNvPr id="3" name="Rectángulo 2">
            <a:extLst>
              <a:ext uri="{FF2B5EF4-FFF2-40B4-BE49-F238E27FC236}">
                <a16:creationId xmlns:a16="http://schemas.microsoft.com/office/drawing/2014/main" id="{F35A6489-09DC-D8E7-0228-0F7BE27DCA8E}"/>
              </a:ext>
            </a:extLst>
          </p:cNvPr>
          <p:cNvSpPr/>
          <p:nvPr/>
        </p:nvSpPr>
        <p:spPr>
          <a:xfrm>
            <a:off x="7779509" y="5282494"/>
            <a:ext cx="1162879" cy="360000"/>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s-MX" sz="800">
                <a:solidFill>
                  <a:srgbClr val="212121"/>
                </a:solidFill>
                <a:latin typeface="Santander Text" panose="020B0504020201020104" pitchFamily="34" charset="0"/>
              </a:rPr>
              <a:t>REPORTES</a:t>
            </a:r>
            <a:br>
              <a:rPr lang="es-MX" sz="800">
                <a:solidFill>
                  <a:srgbClr val="212121"/>
                </a:solidFill>
                <a:latin typeface="Santander Text" panose="020B0504020201020104" pitchFamily="34" charset="0"/>
              </a:rPr>
            </a:br>
            <a:r>
              <a:rPr lang="es-MX" sz="800">
                <a:solidFill>
                  <a:srgbClr val="212121"/>
                </a:solidFill>
                <a:latin typeface="Santander Text" panose="020B0504020201020104" pitchFamily="34" charset="0"/>
              </a:rPr>
              <a:t>AVANCE</a:t>
            </a:r>
          </a:p>
        </p:txBody>
      </p:sp>
      <p:sp>
        <p:nvSpPr>
          <p:cNvPr id="6" name="Rectángulo 5">
            <a:extLst>
              <a:ext uri="{FF2B5EF4-FFF2-40B4-BE49-F238E27FC236}">
                <a16:creationId xmlns:a16="http://schemas.microsoft.com/office/drawing/2014/main" id="{3EEE2F8F-B248-E515-EB3C-0A87CFB94F30}"/>
              </a:ext>
            </a:extLst>
          </p:cNvPr>
          <p:cNvSpPr/>
          <p:nvPr/>
        </p:nvSpPr>
        <p:spPr>
          <a:xfrm>
            <a:off x="7779510" y="5752885"/>
            <a:ext cx="1162878" cy="360000"/>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s-MX" sz="800">
                <a:solidFill>
                  <a:srgbClr val="212121"/>
                </a:solidFill>
                <a:latin typeface="Santander Text" panose="020B0504020201020104" pitchFamily="34" charset="0"/>
              </a:rPr>
              <a:t>CIERRE</a:t>
            </a:r>
            <a:br>
              <a:rPr lang="es-MX" sz="800">
                <a:solidFill>
                  <a:srgbClr val="212121"/>
                </a:solidFill>
                <a:latin typeface="Santander Text" panose="020B0504020201020104" pitchFamily="34" charset="0"/>
              </a:rPr>
            </a:br>
            <a:r>
              <a:rPr lang="es-MX" sz="800">
                <a:solidFill>
                  <a:srgbClr val="212121"/>
                </a:solidFill>
                <a:latin typeface="Santander Text" panose="020B0504020201020104" pitchFamily="34" charset="0"/>
              </a:rPr>
              <a:t>PRUEBAS EN TEST</a:t>
            </a:r>
          </a:p>
        </p:txBody>
      </p:sp>
      <p:sp>
        <p:nvSpPr>
          <p:cNvPr id="7" name="Rectángulo 6">
            <a:extLst>
              <a:ext uri="{FF2B5EF4-FFF2-40B4-BE49-F238E27FC236}">
                <a16:creationId xmlns:a16="http://schemas.microsoft.com/office/drawing/2014/main" id="{5A81EB2D-EFFC-1E3F-E8A8-68A4717447AD}"/>
              </a:ext>
            </a:extLst>
          </p:cNvPr>
          <p:cNvSpPr/>
          <p:nvPr/>
        </p:nvSpPr>
        <p:spPr>
          <a:xfrm>
            <a:off x="7779509" y="4801015"/>
            <a:ext cx="1162879" cy="360000"/>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s-MX" sz="800">
                <a:solidFill>
                  <a:srgbClr val="212121"/>
                </a:solidFill>
                <a:latin typeface="Santander Text" panose="020B0504020201020104" pitchFamily="34" charset="0"/>
              </a:rPr>
              <a:t>EJECUCIÓN</a:t>
            </a:r>
            <a:br>
              <a:rPr lang="es-MX" sz="800">
                <a:solidFill>
                  <a:srgbClr val="212121"/>
                </a:solidFill>
                <a:latin typeface="Santander Text" panose="020B0504020201020104" pitchFamily="34" charset="0"/>
              </a:rPr>
            </a:br>
            <a:r>
              <a:rPr lang="es-MX" sz="800">
                <a:solidFill>
                  <a:srgbClr val="212121"/>
                </a:solidFill>
                <a:latin typeface="Santander Text" panose="020B0504020201020104" pitchFamily="34" charset="0"/>
              </a:rPr>
              <a:t>AUTOMATIZADA</a:t>
            </a:r>
          </a:p>
        </p:txBody>
      </p:sp>
    </p:spTree>
    <p:extLst>
      <p:ext uri="{BB962C8B-B14F-4D97-AF65-F5344CB8AC3E}">
        <p14:creationId xmlns:p14="http://schemas.microsoft.com/office/powerpoint/2010/main" val="3859566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1CF81C-B4EA-9D54-333A-D5ED380F185F}"/>
            </a:ext>
          </a:extLst>
        </p:cNvPr>
        <p:cNvGrpSpPr/>
        <p:nvPr/>
      </p:nvGrpSpPr>
      <p:grpSpPr>
        <a:xfrm>
          <a:off x="0" y="0"/>
          <a:ext cx="0" cy="0"/>
          <a:chOff x="0" y="0"/>
          <a:chExt cx="0" cy="0"/>
        </a:xfrm>
      </p:grpSpPr>
      <p:sp>
        <p:nvSpPr>
          <p:cNvPr id="12" name="CuadroTexto 2">
            <a:extLst>
              <a:ext uri="{FF2B5EF4-FFF2-40B4-BE49-F238E27FC236}">
                <a16:creationId xmlns:a16="http://schemas.microsoft.com/office/drawing/2014/main" id="{4397AD6F-08D9-FC60-BF4C-83287F9D8FE9}"/>
              </a:ext>
            </a:extLst>
          </p:cNvPr>
          <p:cNvSpPr txBox="1"/>
          <p:nvPr/>
        </p:nvSpPr>
        <p:spPr>
          <a:xfrm>
            <a:off x="3164585" y="1524059"/>
            <a:ext cx="1394239" cy="4607856"/>
          </a:xfrm>
          <a:prstGeom prst="rect">
            <a:avLst/>
          </a:prstGeom>
          <a:solidFill>
            <a:srgbClr val="F5F4B9"/>
          </a:solidFill>
        </p:spPr>
        <p:txBody>
          <a:bodyPr wrap="square" lIns="180000" tIns="180000" rIns="180000" bIns="180000" rtlCol="0" anchor="ctr">
            <a:noAutofit/>
          </a:bodyPr>
          <a:lstStyle/>
          <a:p>
            <a:pPr algn="ctr"/>
            <a:r>
              <a:rPr lang="es-MX" sz="2000" b="1">
                <a:solidFill>
                  <a:schemeClr val="accent5"/>
                </a:solidFill>
              </a:rPr>
              <a:t>QA</a:t>
            </a: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p:txBody>
      </p:sp>
      <p:sp>
        <p:nvSpPr>
          <p:cNvPr id="13" name="CuadroTexto 2">
            <a:extLst>
              <a:ext uri="{FF2B5EF4-FFF2-40B4-BE49-F238E27FC236}">
                <a16:creationId xmlns:a16="http://schemas.microsoft.com/office/drawing/2014/main" id="{C846FA2A-5E48-758F-FCE7-2C8B16616987}"/>
              </a:ext>
            </a:extLst>
          </p:cNvPr>
          <p:cNvSpPr txBox="1"/>
          <p:nvPr/>
        </p:nvSpPr>
        <p:spPr>
          <a:xfrm>
            <a:off x="4660855" y="1524059"/>
            <a:ext cx="1394239" cy="4607856"/>
          </a:xfrm>
          <a:prstGeom prst="rect">
            <a:avLst/>
          </a:prstGeom>
          <a:solidFill>
            <a:srgbClr val="F5F4B9"/>
          </a:solidFill>
        </p:spPr>
        <p:txBody>
          <a:bodyPr wrap="square" lIns="180000" tIns="180000" rIns="180000" bIns="180000" rtlCol="0" anchor="ctr">
            <a:noAutofit/>
          </a:bodyPr>
          <a:lstStyle/>
          <a:p>
            <a:pPr algn="ctr"/>
            <a:r>
              <a:rPr lang="es-MX" sz="2000" b="1">
                <a:solidFill>
                  <a:schemeClr val="accent5"/>
                </a:solidFill>
              </a:rPr>
              <a:t>QA_2</a:t>
            </a: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p:txBody>
      </p:sp>
      <p:sp>
        <p:nvSpPr>
          <p:cNvPr id="15" name="CuadroTexto 2">
            <a:extLst>
              <a:ext uri="{FF2B5EF4-FFF2-40B4-BE49-F238E27FC236}">
                <a16:creationId xmlns:a16="http://schemas.microsoft.com/office/drawing/2014/main" id="{B81CD23F-21E7-12E5-E04B-5AE317989E88}"/>
              </a:ext>
            </a:extLst>
          </p:cNvPr>
          <p:cNvSpPr txBox="1"/>
          <p:nvPr/>
        </p:nvSpPr>
        <p:spPr>
          <a:xfrm>
            <a:off x="6149086" y="1505029"/>
            <a:ext cx="1394239" cy="4607856"/>
          </a:xfrm>
          <a:prstGeom prst="rect">
            <a:avLst/>
          </a:prstGeom>
          <a:solidFill>
            <a:srgbClr val="F3D1AF"/>
          </a:solidFill>
        </p:spPr>
        <p:txBody>
          <a:bodyPr wrap="square" lIns="180000" tIns="180000" rIns="180000" bIns="180000" rtlCol="0" anchor="ctr">
            <a:noAutofit/>
          </a:bodyPr>
          <a:lstStyle/>
          <a:p>
            <a:pPr algn="ctr"/>
            <a:r>
              <a:rPr lang="es-MX" sz="2000" b="1">
                <a:solidFill>
                  <a:schemeClr val="accent5"/>
                </a:solidFill>
              </a:rPr>
              <a:t>UAT</a:t>
            </a: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p:txBody>
      </p:sp>
      <p:sp>
        <p:nvSpPr>
          <p:cNvPr id="23" name="CuadroTexto 2">
            <a:extLst>
              <a:ext uri="{FF2B5EF4-FFF2-40B4-BE49-F238E27FC236}">
                <a16:creationId xmlns:a16="http://schemas.microsoft.com/office/drawing/2014/main" id="{6A383269-625A-508D-0C0A-A383A895E444}"/>
              </a:ext>
            </a:extLst>
          </p:cNvPr>
          <p:cNvSpPr txBox="1"/>
          <p:nvPr/>
        </p:nvSpPr>
        <p:spPr>
          <a:xfrm>
            <a:off x="7639828" y="1524059"/>
            <a:ext cx="1394239" cy="4607856"/>
          </a:xfrm>
          <a:prstGeom prst="rect">
            <a:avLst/>
          </a:prstGeom>
          <a:solidFill>
            <a:srgbClr val="F9B5F4"/>
          </a:solidFill>
        </p:spPr>
        <p:txBody>
          <a:bodyPr wrap="square" lIns="180000" tIns="180000" rIns="180000" bIns="180000" rtlCol="0" anchor="ctr">
            <a:noAutofit/>
          </a:bodyPr>
          <a:lstStyle/>
          <a:p>
            <a:pPr algn="ctr"/>
            <a:r>
              <a:rPr lang="es-MX" sz="1600" b="1">
                <a:solidFill>
                  <a:schemeClr val="accent5"/>
                </a:solidFill>
              </a:rPr>
              <a:t>MIGRACION</a:t>
            </a: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p:txBody>
      </p:sp>
      <p:sp>
        <p:nvSpPr>
          <p:cNvPr id="30" name="CuadroTexto 2">
            <a:extLst>
              <a:ext uri="{FF2B5EF4-FFF2-40B4-BE49-F238E27FC236}">
                <a16:creationId xmlns:a16="http://schemas.microsoft.com/office/drawing/2014/main" id="{7F51ECC6-9E46-CBDF-1E81-1E46291209F7}"/>
              </a:ext>
            </a:extLst>
          </p:cNvPr>
          <p:cNvSpPr txBox="1"/>
          <p:nvPr/>
        </p:nvSpPr>
        <p:spPr>
          <a:xfrm>
            <a:off x="9133475" y="1543089"/>
            <a:ext cx="1394239" cy="4607856"/>
          </a:xfrm>
          <a:prstGeom prst="rect">
            <a:avLst/>
          </a:prstGeom>
          <a:solidFill>
            <a:srgbClr val="05BC57"/>
          </a:solidFill>
        </p:spPr>
        <p:txBody>
          <a:bodyPr wrap="square" lIns="180000" tIns="180000" rIns="180000" bIns="180000" rtlCol="0" anchor="ctr">
            <a:noAutofit/>
          </a:bodyPr>
          <a:lstStyle/>
          <a:p>
            <a:pPr algn="ctr"/>
            <a:r>
              <a:rPr lang="es-MX" b="1">
                <a:solidFill>
                  <a:schemeClr val="accent5"/>
                </a:solidFill>
              </a:rPr>
              <a:t>STAGGING</a:t>
            </a: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p:txBody>
      </p:sp>
      <p:sp>
        <p:nvSpPr>
          <p:cNvPr id="35" name="CuadroTexto 2">
            <a:extLst>
              <a:ext uri="{FF2B5EF4-FFF2-40B4-BE49-F238E27FC236}">
                <a16:creationId xmlns:a16="http://schemas.microsoft.com/office/drawing/2014/main" id="{58AC23EA-F1F1-4519-BC45-4739279BDB33}"/>
              </a:ext>
            </a:extLst>
          </p:cNvPr>
          <p:cNvSpPr txBox="1"/>
          <p:nvPr/>
        </p:nvSpPr>
        <p:spPr>
          <a:xfrm>
            <a:off x="10624329" y="1543089"/>
            <a:ext cx="1394239" cy="4607856"/>
          </a:xfrm>
          <a:prstGeom prst="rect">
            <a:avLst/>
          </a:prstGeom>
          <a:solidFill>
            <a:srgbClr val="05BC57"/>
          </a:solidFill>
        </p:spPr>
        <p:txBody>
          <a:bodyPr wrap="square" lIns="180000" tIns="180000" rIns="180000" bIns="180000" rtlCol="0" anchor="ctr">
            <a:noAutofit/>
          </a:bodyPr>
          <a:lstStyle/>
          <a:p>
            <a:pPr algn="ctr"/>
            <a:r>
              <a:rPr lang="es-MX" sz="2000" b="1">
                <a:solidFill>
                  <a:schemeClr val="accent5"/>
                </a:solidFill>
              </a:rPr>
              <a:t>PROD</a:t>
            </a: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p:txBody>
      </p:sp>
      <p:sp>
        <p:nvSpPr>
          <p:cNvPr id="9" name="CuadroTexto 2">
            <a:extLst>
              <a:ext uri="{FF2B5EF4-FFF2-40B4-BE49-F238E27FC236}">
                <a16:creationId xmlns:a16="http://schemas.microsoft.com/office/drawing/2014/main" id="{4B17AAD2-A4BE-32BE-795C-49896832BB5B}"/>
              </a:ext>
            </a:extLst>
          </p:cNvPr>
          <p:cNvSpPr txBox="1"/>
          <p:nvPr/>
        </p:nvSpPr>
        <p:spPr>
          <a:xfrm>
            <a:off x="173210" y="1524059"/>
            <a:ext cx="1394239" cy="4607856"/>
          </a:xfrm>
          <a:prstGeom prst="rect">
            <a:avLst/>
          </a:prstGeom>
          <a:solidFill>
            <a:schemeClr val="accent4">
              <a:lumMod val="60000"/>
              <a:lumOff val="40000"/>
            </a:schemeClr>
          </a:solidFill>
        </p:spPr>
        <p:txBody>
          <a:bodyPr wrap="square" lIns="180000" tIns="180000" rIns="180000" bIns="180000" rtlCol="0" anchor="ctr">
            <a:noAutofit/>
          </a:bodyPr>
          <a:lstStyle/>
          <a:p>
            <a:pPr algn="ctr"/>
            <a:r>
              <a:rPr lang="es-MX" sz="2000" b="1">
                <a:solidFill>
                  <a:schemeClr val="accent5"/>
                </a:solidFill>
              </a:rPr>
              <a:t>DEV</a:t>
            </a: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p:txBody>
      </p:sp>
      <p:sp>
        <p:nvSpPr>
          <p:cNvPr id="11" name="CuadroTexto 2">
            <a:extLst>
              <a:ext uri="{FF2B5EF4-FFF2-40B4-BE49-F238E27FC236}">
                <a16:creationId xmlns:a16="http://schemas.microsoft.com/office/drawing/2014/main" id="{E0ACB7D3-5D35-144A-68D9-38BF1777F204}"/>
              </a:ext>
            </a:extLst>
          </p:cNvPr>
          <p:cNvSpPr txBox="1"/>
          <p:nvPr/>
        </p:nvSpPr>
        <p:spPr>
          <a:xfrm>
            <a:off x="1673843" y="1505029"/>
            <a:ext cx="1394239" cy="4607856"/>
          </a:xfrm>
          <a:prstGeom prst="rect">
            <a:avLst/>
          </a:prstGeom>
          <a:solidFill>
            <a:schemeClr val="accent4">
              <a:lumMod val="60000"/>
              <a:lumOff val="40000"/>
            </a:schemeClr>
          </a:solidFill>
        </p:spPr>
        <p:txBody>
          <a:bodyPr wrap="square" lIns="180000" tIns="180000" rIns="180000" bIns="180000" rtlCol="0" anchor="ctr">
            <a:noAutofit/>
          </a:bodyPr>
          <a:lstStyle/>
          <a:p>
            <a:pPr algn="ctr"/>
            <a:r>
              <a:rPr lang="es-MX" sz="2000" b="1">
                <a:solidFill>
                  <a:schemeClr val="accent5"/>
                </a:solidFill>
              </a:rPr>
              <a:t>DEV_2</a:t>
            </a: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a:p>
            <a:pPr algn="ctr"/>
            <a:endParaRPr lang="es-MX" sz="900" b="1">
              <a:solidFill>
                <a:schemeClr val="accent5"/>
              </a:solidFill>
            </a:endParaRPr>
          </a:p>
        </p:txBody>
      </p:sp>
      <p:sp>
        <p:nvSpPr>
          <p:cNvPr id="8" name="Marcador de texto 7">
            <a:extLst>
              <a:ext uri="{FF2B5EF4-FFF2-40B4-BE49-F238E27FC236}">
                <a16:creationId xmlns:a16="http://schemas.microsoft.com/office/drawing/2014/main" id="{EABAD615-299C-2076-1856-3ED31F2D1996}"/>
              </a:ext>
            </a:extLst>
          </p:cNvPr>
          <p:cNvSpPr>
            <a:spLocks noGrp="1"/>
          </p:cNvSpPr>
          <p:nvPr>
            <p:ph type="body" sz="quarter" idx="14"/>
          </p:nvPr>
        </p:nvSpPr>
        <p:spPr/>
        <p:txBody>
          <a:bodyPr/>
          <a:lstStyle/>
          <a:p>
            <a:endParaRPr lang="es-PE"/>
          </a:p>
        </p:txBody>
      </p:sp>
      <p:sp>
        <p:nvSpPr>
          <p:cNvPr id="14" name="Marcador de número de diapositiva 3">
            <a:extLst>
              <a:ext uri="{FF2B5EF4-FFF2-40B4-BE49-F238E27FC236}">
                <a16:creationId xmlns:a16="http://schemas.microsoft.com/office/drawing/2014/main" id="{BDE47687-51A8-70F7-F5AE-E38B58DB6440}"/>
              </a:ext>
            </a:extLst>
          </p:cNvPr>
          <p:cNvSpPr txBox="1">
            <a:spLocks/>
          </p:cNvSpPr>
          <p:nvPr/>
        </p:nvSpPr>
        <p:spPr>
          <a:xfrm>
            <a:off x="8610600" y="6451239"/>
            <a:ext cx="3030538" cy="333609"/>
          </a:xfrm>
          <a:prstGeom prst="rect">
            <a:avLst/>
          </a:prstGeom>
        </p:spPr>
        <p:txBody>
          <a:bodyPr vert="horz" lIns="0" tIns="36000" rIns="0" bIns="0" rtlCol="0" anchor="t" anchorCtr="0">
            <a:noAutofit/>
          </a:bodyPr>
          <a:lstStyle>
            <a:lvl1pPr marL="0" indent="0" algn="l" defTabSz="911045" rtl="0" eaLnBrk="1" latinLnBrk="0" hangingPunct="1">
              <a:lnSpc>
                <a:spcPct val="100000"/>
              </a:lnSpc>
              <a:spcBef>
                <a:spcPts val="996"/>
              </a:spcBef>
              <a:buFont typeface="Webdings" panose="05030102010509060703" pitchFamily="18" charset="2"/>
              <a:buNone/>
              <a:defRPr sz="998" kern="1200">
                <a:solidFill>
                  <a:schemeClr val="bg2"/>
                </a:solidFill>
                <a:latin typeface="Santander Text"/>
                <a:ea typeface="+mn-ea"/>
                <a:cs typeface="+mn-cs"/>
              </a:defRPr>
            </a:lvl1pPr>
            <a:lvl2pPr marL="0" indent="0" algn="l" defTabSz="911045" rtl="0" eaLnBrk="1" latinLnBrk="0" hangingPunct="1">
              <a:lnSpc>
                <a:spcPct val="100000"/>
              </a:lnSpc>
              <a:spcBef>
                <a:spcPts val="498"/>
              </a:spcBef>
              <a:buClr>
                <a:schemeClr val="accent4"/>
              </a:buClr>
              <a:buSzPct val="110000"/>
              <a:buFont typeface="Webdings" panose="05030102010509060703" pitchFamily="18" charset="2"/>
              <a:buChar char="4"/>
              <a:defRPr sz="1597" kern="1200">
                <a:solidFill>
                  <a:schemeClr val="bg2"/>
                </a:solidFill>
                <a:latin typeface="Santander Text"/>
                <a:ea typeface="+mn-ea"/>
                <a:cs typeface="+mn-cs"/>
              </a:defRPr>
            </a:lvl2pPr>
            <a:lvl3pPr marL="174311" indent="188573" algn="l" defTabSz="911045" rtl="0" eaLnBrk="1" latinLnBrk="0" hangingPunct="1">
              <a:lnSpc>
                <a:spcPct val="90000"/>
              </a:lnSpc>
              <a:spcBef>
                <a:spcPts val="498"/>
              </a:spcBef>
              <a:buClr>
                <a:srgbClr val="8AB9CC"/>
              </a:buClr>
              <a:buFont typeface="Webdings" panose="05030102010509060703" pitchFamily="18" charset="2"/>
              <a:buChar char=""/>
              <a:defRPr sz="1597" kern="1200">
                <a:solidFill>
                  <a:schemeClr val="bg2"/>
                </a:solidFill>
                <a:latin typeface="Santander Text"/>
                <a:ea typeface="+mn-ea"/>
                <a:cs typeface="+mn-cs"/>
              </a:defRPr>
            </a:lvl3pPr>
            <a:lvl4pPr marL="362884" indent="174311" algn="l" defTabSz="911045" rtl="0" eaLnBrk="1" latinLnBrk="0" hangingPunct="1">
              <a:lnSpc>
                <a:spcPct val="100000"/>
              </a:lnSpc>
              <a:spcBef>
                <a:spcPts val="498"/>
              </a:spcBef>
              <a:buClr>
                <a:schemeClr val="accent4"/>
              </a:buClr>
              <a:buFont typeface="Arial" panose="020B0604020202020204" pitchFamily="34" charset="0"/>
              <a:buChar char="•"/>
              <a:defRPr sz="1597" kern="1200">
                <a:solidFill>
                  <a:schemeClr val="bg2"/>
                </a:solidFill>
                <a:latin typeface="Santander Text"/>
                <a:ea typeface="+mn-ea"/>
                <a:cs typeface="+mn-cs"/>
              </a:defRPr>
            </a:lvl4pPr>
            <a:lvl5pPr marL="537194" indent="174311" algn="l" defTabSz="911045" rtl="0" eaLnBrk="1" latinLnBrk="0" hangingPunct="1">
              <a:lnSpc>
                <a:spcPct val="90000"/>
              </a:lnSpc>
              <a:spcBef>
                <a:spcPts val="498"/>
              </a:spcBef>
              <a:buClr>
                <a:srgbClr val="8AB9CC"/>
              </a:buClr>
              <a:buFont typeface="Webdings" panose="05030102010509060703" pitchFamily="18" charset="2"/>
              <a:buChar char=""/>
              <a:defRPr sz="1597" kern="1200">
                <a:solidFill>
                  <a:schemeClr val="bg2"/>
                </a:solidFill>
                <a:latin typeface="Santander Text"/>
                <a:ea typeface="+mn-ea"/>
                <a:cs typeface="+mn-cs"/>
              </a:defRPr>
            </a:lvl5pPr>
            <a:lvl6pPr marL="2505377"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6pPr>
            <a:lvl7pPr marL="2960900"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7pPr>
            <a:lvl8pPr marL="3416423"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8pPr>
            <a:lvl9pPr marL="3871947"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9pPr>
          </a:lstStyle>
          <a:p>
            <a:pPr algn="r"/>
            <a:fld id="{921A6315-1B6D-4306-AE81-37B8137F3D65}" type="slidenum">
              <a:rPr lang="es-ES" sz="1100" smtClean="0"/>
              <a:pPr algn="r"/>
              <a:t>42</a:t>
            </a:fld>
            <a:endParaRPr lang="es-ES" sz="1100"/>
          </a:p>
        </p:txBody>
      </p:sp>
      <p:cxnSp>
        <p:nvCxnSpPr>
          <p:cNvPr id="37" name="Straight Connector 14">
            <a:extLst>
              <a:ext uri="{FF2B5EF4-FFF2-40B4-BE49-F238E27FC236}">
                <a16:creationId xmlns:a16="http://schemas.microsoft.com/office/drawing/2014/main" id="{B06D3D24-03F0-2921-3E1A-D78CCC0EF4BF}"/>
              </a:ext>
            </a:extLst>
          </p:cNvPr>
          <p:cNvCxnSpPr/>
          <p:nvPr/>
        </p:nvCxnSpPr>
        <p:spPr>
          <a:xfrm>
            <a:off x="550864" y="853361"/>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9" name="Title 5">
            <a:extLst>
              <a:ext uri="{FF2B5EF4-FFF2-40B4-BE49-F238E27FC236}">
                <a16:creationId xmlns:a16="http://schemas.microsoft.com/office/drawing/2014/main" id="{17B54CCA-4EFA-7C91-6ED7-3CE2FC36A2F2}"/>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MX"/>
              <a:t>Definición de Ambientes</a:t>
            </a:r>
            <a:endParaRPr lang="es-MX">
              <a:solidFill>
                <a:srgbClr val="203864"/>
              </a:solidFill>
            </a:endParaRPr>
          </a:p>
        </p:txBody>
      </p:sp>
      <p:cxnSp>
        <p:nvCxnSpPr>
          <p:cNvPr id="31" name="Conector recto 30">
            <a:extLst>
              <a:ext uri="{FF2B5EF4-FFF2-40B4-BE49-F238E27FC236}">
                <a16:creationId xmlns:a16="http://schemas.microsoft.com/office/drawing/2014/main" id="{747CCA93-88A5-B3C7-149E-CC3D243B635D}"/>
              </a:ext>
            </a:extLst>
          </p:cNvPr>
          <p:cNvCxnSpPr>
            <a:cxnSpLocks/>
          </p:cNvCxnSpPr>
          <p:nvPr/>
        </p:nvCxnSpPr>
        <p:spPr>
          <a:xfrm>
            <a:off x="183101" y="3121358"/>
            <a:ext cx="11704099" cy="0"/>
          </a:xfrm>
          <a:prstGeom prst="line">
            <a:avLst/>
          </a:prstGeom>
          <a:ln w="19050"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 name="Conector recto 31">
            <a:extLst>
              <a:ext uri="{FF2B5EF4-FFF2-40B4-BE49-F238E27FC236}">
                <a16:creationId xmlns:a16="http://schemas.microsoft.com/office/drawing/2014/main" id="{0A61DB1B-E48D-C576-ACEE-CA8AA82B52A3}"/>
              </a:ext>
            </a:extLst>
          </p:cNvPr>
          <p:cNvCxnSpPr>
            <a:cxnSpLocks/>
          </p:cNvCxnSpPr>
          <p:nvPr/>
        </p:nvCxnSpPr>
        <p:spPr>
          <a:xfrm>
            <a:off x="207964" y="4697621"/>
            <a:ext cx="11800936" cy="0"/>
          </a:xfrm>
          <a:prstGeom prst="line">
            <a:avLst/>
          </a:prstGeom>
          <a:ln w="19050"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4" name="Abrir llave 33">
            <a:extLst>
              <a:ext uri="{FF2B5EF4-FFF2-40B4-BE49-F238E27FC236}">
                <a16:creationId xmlns:a16="http://schemas.microsoft.com/office/drawing/2014/main" id="{EE5587D8-0E30-44BD-DD0B-2235C0BA6EA9}"/>
              </a:ext>
            </a:extLst>
          </p:cNvPr>
          <p:cNvSpPr/>
          <p:nvPr/>
        </p:nvSpPr>
        <p:spPr>
          <a:xfrm rot="5400000">
            <a:off x="1464041" y="-29504"/>
            <a:ext cx="307779" cy="2869661"/>
          </a:xfrm>
          <a:prstGeom prst="leftBrace">
            <a:avLst>
              <a:gd name="adj1" fmla="val 0"/>
              <a:gd name="adj2" fmla="val 50000"/>
            </a:avLst>
          </a:prstGeom>
        </p:spPr>
        <p:style>
          <a:lnRef idx="2">
            <a:schemeClr val="accent3"/>
          </a:lnRef>
          <a:fillRef idx="0">
            <a:schemeClr val="accent3"/>
          </a:fillRef>
          <a:effectRef idx="1">
            <a:schemeClr val="accent3"/>
          </a:effectRef>
          <a:fontRef idx="minor">
            <a:schemeClr val="tx1"/>
          </a:fontRef>
        </p:style>
        <p:txBody>
          <a:bodyPr rtlCol="0" anchor="ctr"/>
          <a:lstStyle/>
          <a:p>
            <a:pPr algn="ctr"/>
            <a:endParaRPr lang="es-PE"/>
          </a:p>
        </p:txBody>
      </p:sp>
      <p:sp>
        <p:nvSpPr>
          <p:cNvPr id="51" name="Abrir llave 50">
            <a:extLst>
              <a:ext uri="{FF2B5EF4-FFF2-40B4-BE49-F238E27FC236}">
                <a16:creationId xmlns:a16="http://schemas.microsoft.com/office/drawing/2014/main" id="{FBED16CF-BBF8-9F3E-D590-A49709D019E4}"/>
              </a:ext>
            </a:extLst>
          </p:cNvPr>
          <p:cNvSpPr/>
          <p:nvPr/>
        </p:nvSpPr>
        <p:spPr>
          <a:xfrm rot="5400000">
            <a:off x="5188021" y="-793070"/>
            <a:ext cx="330739" cy="4373833"/>
          </a:xfrm>
          <a:prstGeom prst="leftBrace">
            <a:avLst>
              <a:gd name="adj1" fmla="val 0"/>
              <a:gd name="adj2" fmla="val 50000"/>
            </a:avLst>
          </a:prstGeom>
        </p:spPr>
        <p:style>
          <a:lnRef idx="2">
            <a:schemeClr val="accent3"/>
          </a:lnRef>
          <a:fillRef idx="0">
            <a:schemeClr val="accent3"/>
          </a:fillRef>
          <a:effectRef idx="1">
            <a:schemeClr val="accent3"/>
          </a:effectRef>
          <a:fontRef idx="minor">
            <a:schemeClr val="tx1"/>
          </a:fontRef>
        </p:style>
        <p:txBody>
          <a:bodyPr rtlCol="0" anchor="ctr"/>
          <a:lstStyle/>
          <a:p>
            <a:pPr algn="ctr"/>
            <a:endParaRPr lang="es-PE"/>
          </a:p>
        </p:txBody>
      </p:sp>
      <p:sp>
        <p:nvSpPr>
          <p:cNvPr id="53" name="Abrir llave 52">
            <a:extLst>
              <a:ext uri="{FF2B5EF4-FFF2-40B4-BE49-F238E27FC236}">
                <a16:creationId xmlns:a16="http://schemas.microsoft.com/office/drawing/2014/main" id="{2D70469A-52AB-9E3C-CE3B-7D64CD037A17}"/>
              </a:ext>
            </a:extLst>
          </p:cNvPr>
          <p:cNvSpPr/>
          <p:nvPr/>
        </p:nvSpPr>
        <p:spPr>
          <a:xfrm rot="5400000">
            <a:off x="10422648" y="-85434"/>
            <a:ext cx="307777" cy="2933844"/>
          </a:xfrm>
          <a:prstGeom prst="leftBrace">
            <a:avLst>
              <a:gd name="adj1" fmla="val 0"/>
              <a:gd name="adj2" fmla="val 50000"/>
            </a:avLst>
          </a:prstGeom>
        </p:spPr>
        <p:style>
          <a:lnRef idx="2">
            <a:schemeClr val="accent3"/>
          </a:lnRef>
          <a:fillRef idx="0">
            <a:schemeClr val="accent3"/>
          </a:fillRef>
          <a:effectRef idx="1">
            <a:schemeClr val="accent3"/>
          </a:effectRef>
          <a:fontRef idx="minor">
            <a:schemeClr val="tx1"/>
          </a:fontRef>
        </p:style>
        <p:txBody>
          <a:bodyPr rtlCol="0" anchor="ctr"/>
          <a:lstStyle/>
          <a:p>
            <a:pPr algn="ctr"/>
            <a:endParaRPr lang="es-PE"/>
          </a:p>
        </p:txBody>
      </p:sp>
      <p:sp>
        <p:nvSpPr>
          <p:cNvPr id="54" name="CuadroTexto 53">
            <a:extLst>
              <a:ext uri="{FF2B5EF4-FFF2-40B4-BE49-F238E27FC236}">
                <a16:creationId xmlns:a16="http://schemas.microsoft.com/office/drawing/2014/main" id="{7E659782-D04E-DE9E-9571-ED150403D99B}"/>
              </a:ext>
            </a:extLst>
          </p:cNvPr>
          <p:cNvSpPr txBox="1"/>
          <p:nvPr/>
        </p:nvSpPr>
        <p:spPr>
          <a:xfrm>
            <a:off x="1371708" y="907053"/>
            <a:ext cx="492443" cy="307777"/>
          </a:xfrm>
          <a:prstGeom prst="rect">
            <a:avLst/>
          </a:prstGeom>
          <a:noFill/>
        </p:spPr>
        <p:txBody>
          <a:bodyPr wrap="none" rtlCol="0">
            <a:spAutoFit/>
          </a:bodyPr>
          <a:lstStyle/>
          <a:p>
            <a:r>
              <a:rPr lang="es-MX" sz="1400" b="1">
                <a:solidFill>
                  <a:schemeClr val="bg2"/>
                </a:solidFill>
              </a:rPr>
              <a:t>DEV</a:t>
            </a:r>
            <a:endParaRPr lang="es-PE" sz="1400" b="1">
              <a:solidFill>
                <a:schemeClr val="bg2"/>
              </a:solidFill>
            </a:endParaRPr>
          </a:p>
        </p:txBody>
      </p:sp>
      <p:sp>
        <p:nvSpPr>
          <p:cNvPr id="55" name="CuadroTexto 54">
            <a:extLst>
              <a:ext uri="{FF2B5EF4-FFF2-40B4-BE49-F238E27FC236}">
                <a16:creationId xmlns:a16="http://schemas.microsoft.com/office/drawing/2014/main" id="{B41928D5-9433-13A6-D8FE-615BD480D7AA}"/>
              </a:ext>
            </a:extLst>
          </p:cNvPr>
          <p:cNvSpPr txBox="1"/>
          <p:nvPr/>
        </p:nvSpPr>
        <p:spPr>
          <a:xfrm>
            <a:off x="5144839" y="917056"/>
            <a:ext cx="417102" cy="307777"/>
          </a:xfrm>
          <a:prstGeom prst="rect">
            <a:avLst/>
          </a:prstGeom>
          <a:noFill/>
        </p:spPr>
        <p:txBody>
          <a:bodyPr wrap="none" rtlCol="0">
            <a:spAutoFit/>
          </a:bodyPr>
          <a:lstStyle/>
          <a:p>
            <a:r>
              <a:rPr lang="es-MX" sz="1400" b="1">
                <a:solidFill>
                  <a:schemeClr val="bg2"/>
                </a:solidFill>
              </a:rPr>
              <a:t>QA</a:t>
            </a:r>
            <a:endParaRPr lang="es-PE" sz="1400" b="1">
              <a:solidFill>
                <a:schemeClr val="bg2"/>
              </a:solidFill>
            </a:endParaRPr>
          </a:p>
        </p:txBody>
      </p:sp>
      <p:sp>
        <p:nvSpPr>
          <p:cNvPr id="56" name="CuadroTexto 55">
            <a:extLst>
              <a:ext uri="{FF2B5EF4-FFF2-40B4-BE49-F238E27FC236}">
                <a16:creationId xmlns:a16="http://schemas.microsoft.com/office/drawing/2014/main" id="{2A72FE6F-9455-EED3-BF8F-208C5897123D}"/>
              </a:ext>
            </a:extLst>
          </p:cNvPr>
          <p:cNvSpPr txBox="1"/>
          <p:nvPr/>
        </p:nvSpPr>
        <p:spPr>
          <a:xfrm>
            <a:off x="7789617" y="907053"/>
            <a:ext cx="1094659" cy="307777"/>
          </a:xfrm>
          <a:prstGeom prst="rect">
            <a:avLst/>
          </a:prstGeom>
          <a:noFill/>
        </p:spPr>
        <p:txBody>
          <a:bodyPr wrap="none" rtlCol="0">
            <a:spAutoFit/>
          </a:bodyPr>
          <a:lstStyle/>
          <a:p>
            <a:r>
              <a:rPr lang="es-MX" sz="1400" b="1">
                <a:solidFill>
                  <a:schemeClr val="bg2"/>
                </a:solidFill>
              </a:rPr>
              <a:t>MIGRACION</a:t>
            </a:r>
            <a:endParaRPr lang="es-PE" sz="1400" b="1">
              <a:solidFill>
                <a:schemeClr val="bg2"/>
              </a:solidFill>
            </a:endParaRPr>
          </a:p>
        </p:txBody>
      </p:sp>
      <p:sp>
        <p:nvSpPr>
          <p:cNvPr id="58" name="CuadroTexto 57">
            <a:extLst>
              <a:ext uri="{FF2B5EF4-FFF2-40B4-BE49-F238E27FC236}">
                <a16:creationId xmlns:a16="http://schemas.microsoft.com/office/drawing/2014/main" id="{DEB73678-FFFF-9A48-3822-93A67255CC1E}"/>
              </a:ext>
            </a:extLst>
          </p:cNvPr>
          <p:cNvSpPr txBox="1"/>
          <p:nvPr/>
        </p:nvSpPr>
        <p:spPr>
          <a:xfrm>
            <a:off x="10316456" y="925685"/>
            <a:ext cx="615746" cy="307777"/>
          </a:xfrm>
          <a:prstGeom prst="rect">
            <a:avLst/>
          </a:prstGeom>
          <a:noFill/>
        </p:spPr>
        <p:txBody>
          <a:bodyPr wrap="none" rtlCol="0">
            <a:spAutoFit/>
          </a:bodyPr>
          <a:lstStyle/>
          <a:p>
            <a:r>
              <a:rPr lang="es-MX" sz="1400" b="1">
                <a:solidFill>
                  <a:schemeClr val="bg2"/>
                </a:solidFill>
              </a:rPr>
              <a:t>PROD</a:t>
            </a:r>
            <a:endParaRPr lang="es-PE" sz="1400" b="1">
              <a:solidFill>
                <a:schemeClr val="bg2"/>
              </a:solidFill>
            </a:endParaRPr>
          </a:p>
        </p:txBody>
      </p:sp>
      <p:sp>
        <p:nvSpPr>
          <p:cNvPr id="40" name="Abrir llave 39">
            <a:extLst>
              <a:ext uri="{FF2B5EF4-FFF2-40B4-BE49-F238E27FC236}">
                <a16:creationId xmlns:a16="http://schemas.microsoft.com/office/drawing/2014/main" id="{1394A374-BE3F-ABCD-8E70-EB3BF6BB07AB}"/>
              </a:ext>
            </a:extLst>
          </p:cNvPr>
          <p:cNvSpPr/>
          <p:nvPr/>
        </p:nvSpPr>
        <p:spPr>
          <a:xfrm rot="5400000">
            <a:off x="8143926" y="679888"/>
            <a:ext cx="368208" cy="1412069"/>
          </a:xfrm>
          <a:prstGeom prst="leftBrace">
            <a:avLst>
              <a:gd name="adj1" fmla="val 0"/>
              <a:gd name="adj2" fmla="val 50000"/>
            </a:avLst>
          </a:prstGeom>
        </p:spPr>
        <p:style>
          <a:lnRef idx="2">
            <a:schemeClr val="accent3"/>
          </a:lnRef>
          <a:fillRef idx="0">
            <a:schemeClr val="accent3"/>
          </a:fillRef>
          <a:effectRef idx="1">
            <a:schemeClr val="accent3"/>
          </a:effectRef>
          <a:fontRef idx="minor">
            <a:schemeClr val="tx1"/>
          </a:fontRef>
        </p:style>
        <p:txBody>
          <a:bodyPr rtlCol="0" anchor="ctr"/>
          <a:lstStyle/>
          <a:p>
            <a:pPr algn="ctr"/>
            <a:endParaRPr lang="es-PE"/>
          </a:p>
        </p:txBody>
      </p:sp>
      <p:sp>
        <p:nvSpPr>
          <p:cNvPr id="41" name="CuadroTexto 40">
            <a:extLst>
              <a:ext uri="{FF2B5EF4-FFF2-40B4-BE49-F238E27FC236}">
                <a16:creationId xmlns:a16="http://schemas.microsoft.com/office/drawing/2014/main" id="{223ADCD0-8902-1BEC-5FB0-D8FC6AA31120}"/>
              </a:ext>
            </a:extLst>
          </p:cNvPr>
          <p:cNvSpPr txBox="1"/>
          <p:nvPr/>
        </p:nvSpPr>
        <p:spPr>
          <a:xfrm>
            <a:off x="183100" y="3355153"/>
            <a:ext cx="1360460" cy="1015663"/>
          </a:xfrm>
          <a:prstGeom prst="rect">
            <a:avLst/>
          </a:prstGeom>
          <a:noFill/>
        </p:spPr>
        <p:txBody>
          <a:bodyPr wrap="square" rtlCol="0">
            <a:spAutoFit/>
          </a:bodyPr>
          <a:lstStyle/>
          <a:p>
            <a:pPr algn="ctr"/>
            <a:r>
              <a:rPr lang="es-MX" sz="1200">
                <a:solidFill>
                  <a:schemeClr val="accent5">
                    <a:lumMod val="50000"/>
                  </a:schemeClr>
                </a:solidFill>
              </a:rPr>
              <a:t>Despliegue continuo,</a:t>
            </a:r>
          </a:p>
          <a:p>
            <a:pPr algn="ctr"/>
            <a:r>
              <a:rPr lang="es-MX" sz="1200">
                <a:solidFill>
                  <a:schemeClr val="accent5">
                    <a:lumMod val="50000"/>
                  </a:schemeClr>
                </a:solidFill>
              </a:rPr>
              <a:t>test unitarios,</a:t>
            </a:r>
          </a:p>
          <a:p>
            <a:pPr algn="ctr"/>
            <a:r>
              <a:rPr lang="es-MX" sz="1200">
                <a:solidFill>
                  <a:schemeClr val="accent5">
                    <a:lumMod val="50000"/>
                  </a:schemeClr>
                </a:solidFill>
              </a:rPr>
              <a:t>no estable,</a:t>
            </a:r>
          </a:p>
          <a:p>
            <a:pPr algn="ctr"/>
            <a:r>
              <a:rPr lang="es-MX" sz="1200">
                <a:solidFill>
                  <a:schemeClr val="accent5">
                    <a:lumMod val="50000"/>
                  </a:schemeClr>
                </a:solidFill>
              </a:rPr>
              <a:t>Issues/fixes.</a:t>
            </a:r>
          </a:p>
        </p:txBody>
      </p:sp>
      <p:sp>
        <p:nvSpPr>
          <p:cNvPr id="42" name="CuadroTexto 41">
            <a:extLst>
              <a:ext uri="{FF2B5EF4-FFF2-40B4-BE49-F238E27FC236}">
                <a16:creationId xmlns:a16="http://schemas.microsoft.com/office/drawing/2014/main" id="{BA46CB13-C31D-1EC6-7D45-5E23BF7FCBEE}"/>
              </a:ext>
            </a:extLst>
          </p:cNvPr>
          <p:cNvSpPr txBox="1"/>
          <p:nvPr/>
        </p:nvSpPr>
        <p:spPr>
          <a:xfrm>
            <a:off x="1685225" y="3302170"/>
            <a:ext cx="1342139" cy="1200329"/>
          </a:xfrm>
          <a:prstGeom prst="rect">
            <a:avLst/>
          </a:prstGeom>
          <a:noFill/>
        </p:spPr>
        <p:txBody>
          <a:bodyPr wrap="square" rtlCol="0">
            <a:spAutoFit/>
          </a:bodyPr>
          <a:lstStyle/>
          <a:p>
            <a:pPr algn="ctr"/>
            <a:r>
              <a:rPr lang="es-MX" sz="1200">
                <a:solidFill>
                  <a:schemeClr val="accent5">
                    <a:lumMod val="50000"/>
                  </a:schemeClr>
                </a:solidFill>
              </a:rPr>
              <a:t>Despliegue controlado, pruebas tempranas, semi estable,</a:t>
            </a:r>
          </a:p>
          <a:p>
            <a:pPr algn="ctr"/>
            <a:r>
              <a:rPr lang="es-MX" sz="1200">
                <a:solidFill>
                  <a:schemeClr val="accent5">
                    <a:lumMod val="50000"/>
                  </a:schemeClr>
                </a:solidFill>
              </a:rPr>
              <a:t>alertas.</a:t>
            </a:r>
          </a:p>
        </p:txBody>
      </p:sp>
      <p:sp>
        <p:nvSpPr>
          <p:cNvPr id="49" name="CuadroTexto 48">
            <a:extLst>
              <a:ext uri="{FF2B5EF4-FFF2-40B4-BE49-F238E27FC236}">
                <a16:creationId xmlns:a16="http://schemas.microsoft.com/office/drawing/2014/main" id="{A9EB9AA7-3D78-2079-198F-65D19C8702FD}"/>
              </a:ext>
            </a:extLst>
          </p:cNvPr>
          <p:cNvSpPr txBox="1"/>
          <p:nvPr/>
        </p:nvSpPr>
        <p:spPr>
          <a:xfrm>
            <a:off x="3205721" y="3262420"/>
            <a:ext cx="1360408" cy="1200329"/>
          </a:xfrm>
          <a:prstGeom prst="rect">
            <a:avLst/>
          </a:prstGeom>
          <a:noFill/>
        </p:spPr>
        <p:txBody>
          <a:bodyPr wrap="square" rtlCol="0">
            <a:spAutoFit/>
          </a:bodyPr>
          <a:lstStyle/>
          <a:p>
            <a:pPr algn="ctr"/>
            <a:r>
              <a:rPr lang="es-MX" sz="1200">
                <a:solidFill>
                  <a:schemeClr val="accent5">
                    <a:lumMod val="50000"/>
                  </a:schemeClr>
                </a:solidFill>
              </a:rPr>
              <a:t>Despliegue continuo, pruebas funcionales, ciclos de prueba,</a:t>
            </a:r>
          </a:p>
          <a:p>
            <a:pPr algn="ctr"/>
            <a:r>
              <a:rPr lang="es-MX" sz="1200">
                <a:solidFill>
                  <a:schemeClr val="accent5">
                    <a:lumMod val="50000"/>
                  </a:schemeClr>
                </a:solidFill>
              </a:rPr>
              <a:t>detección de errores.</a:t>
            </a:r>
            <a:endParaRPr lang="es-PE" sz="1200">
              <a:solidFill>
                <a:schemeClr val="accent5">
                  <a:lumMod val="50000"/>
                </a:schemeClr>
              </a:solidFill>
            </a:endParaRPr>
          </a:p>
        </p:txBody>
      </p:sp>
      <p:sp>
        <p:nvSpPr>
          <p:cNvPr id="50" name="CuadroTexto 49">
            <a:extLst>
              <a:ext uri="{FF2B5EF4-FFF2-40B4-BE49-F238E27FC236}">
                <a16:creationId xmlns:a16="http://schemas.microsoft.com/office/drawing/2014/main" id="{FB99C68A-0F99-8AB0-1639-66C22A02B787}"/>
              </a:ext>
            </a:extLst>
          </p:cNvPr>
          <p:cNvSpPr txBox="1"/>
          <p:nvPr/>
        </p:nvSpPr>
        <p:spPr>
          <a:xfrm>
            <a:off x="4657798" y="3319298"/>
            <a:ext cx="1377565" cy="1169551"/>
          </a:xfrm>
          <a:prstGeom prst="rect">
            <a:avLst/>
          </a:prstGeom>
          <a:noFill/>
        </p:spPr>
        <p:txBody>
          <a:bodyPr wrap="square" rtlCol="0">
            <a:spAutoFit/>
          </a:bodyPr>
          <a:lstStyle/>
          <a:p>
            <a:pPr algn="ctr"/>
            <a:r>
              <a:rPr lang="es-MX" sz="1000">
                <a:solidFill>
                  <a:schemeClr val="accent5">
                    <a:lumMod val="50000"/>
                  </a:schemeClr>
                </a:solidFill>
              </a:rPr>
              <a:t>Despliegue controlado</a:t>
            </a:r>
          </a:p>
          <a:p>
            <a:pPr algn="ctr"/>
            <a:r>
              <a:rPr lang="es-MX" sz="1000">
                <a:solidFill>
                  <a:schemeClr val="accent5">
                    <a:lumMod val="50000"/>
                  </a:schemeClr>
                </a:solidFill>
              </a:rPr>
              <a:t>Validaciones modulares / e2e / integración con plataformas externas, pruebas de performance.</a:t>
            </a:r>
            <a:endParaRPr lang="es-PE" sz="1000">
              <a:solidFill>
                <a:schemeClr val="accent5">
                  <a:lumMod val="50000"/>
                </a:schemeClr>
              </a:solidFill>
            </a:endParaRPr>
          </a:p>
        </p:txBody>
      </p:sp>
      <p:sp>
        <p:nvSpPr>
          <p:cNvPr id="57" name="CuadroTexto 56">
            <a:extLst>
              <a:ext uri="{FF2B5EF4-FFF2-40B4-BE49-F238E27FC236}">
                <a16:creationId xmlns:a16="http://schemas.microsoft.com/office/drawing/2014/main" id="{6AA8815A-6BA6-319A-5093-AD7A0795C04B}"/>
              </a:ext>
            </a:extLst>
          </p:cNvPr>
          <p:cNvSpPr txBox="1"/>
          <p:nvPr/>
        </p:nvSpPr>
        <p:spPr>
          <a:xfrm>
            <a:off x="6159449" y="3397911"/>
            <a:ext cx="1388710" cy="1015663"/>
          </a:xfrm>
          <a:prstGeom prst="rect">
            <a:avLst/>
          </a:prstGeom>
          <a:noFill/>
        </p:spPr>
        <p:txBody>
          <a:bodyPr wrap="square" rtlCol="0">
            <a:spAutoFit/>
          </a:bodyPr>
          <a:lstStyle/>
          <a:p>
            <a:pPr algn="ctr"/>
            <a:r>
              <a:rPr lang="es-MX" sz="1200">
                <a:solidFill>
                  <a:schemeClr val="accent5">
                    <a:lumMod val="50000"/>
                  </a:schemeClr>
                </a:solidFill>
              </a:rPr>
              <a:t>Entrega de release versionados, aceptación del negocio o usuario final.</a:t>
            </a:r>
            <a:endParaRPr lang="es-PE" sz="1200">
              <a:solidFill>
                <a:schemeClr val="accent5">
                  <a:lumMod val="50000"/>
                </a:schemeClr>
              </a:solidFill>
            </a:endParaRPr>
          </a:p>
        </p:txBody>
      </p:sp>
      <p:sp>
        <p:nvSpPr>
          <p:cNvPr id="59" name="CuadroTexto 58">
            <a:extLst>
              <a:ext uri="{FF2B5EF4-FFF2-40B4-BE49-F238E27FC236}">
                <a16:creationId xmlns:a16="http://schemas.microsoft.com/office/drawing/2014/main" id="{447467B4-6FD3-B865-C3E1-1B7036E148A2}"/>
              </a:ext>
            </a:extLst>
          </p:cNvPr>
          <p:cNvSpPr txBox="1"/>
          <p:nvPr/>
        </p:nvSpPr>
        <p:spPr>
          <a:xfrm>
            <a:off x="7645356" y="3440683"/>
            <a:ext cx="1399223" cy="646331"/>
          </a:xfrm>
          <a:prstGeom prst="rect">
            <a:avLst/>
          </a:prstGeom>
          <a:noFill/>
        </p:spPr>
        <p:txBody>
          <a:bodyPr wrap="square" rtlCol="0">
            <a:spAutoFit/>
          </a:bodyPr>
          <a:lstStyle/>
          <a:p>
            <a:pPr algn="ctr"/>
            <a:r>
              <a:rPr lang="es-MX" sz="1200">
                <a:solidFill>
                  <a:schemeClr val="accent5">
                    <a:lumMod val="50000"/>
                  </a:schemeClr>
                </a:solidFill>
              </a:rPr>
              <a:t>Cambio controlado que no debería afectar las pruebas.</a:t>
            </a:r>
            <a:endParaRPr lang="es-PE" sz="1200">
              <a:solidFill>
                <a:schemeClr val="accent5">
                  <a:lumMod val="50000"/>
                </a:schemeClr>
              </a:solidFill>
            </a:endParaRPr>
          </a:p>
        </p:txBody>
      </p:sp>
      <p:sp>
        <p:nvSpPr>
          <p:cNvPr id="60" name="CuadroTexto 59">
            <a:extLst>
              <a:ext uri="{FF2B5EF4-FFF2-40B4-BE49-F238E27FC236}">
                <a16:creationId xmlns:a16="http://schemas.microsoft.com/office/drawing/2014/main" id="{CEE4AAE9-E610-8550-796F-70DCAE65D226}"/>
              </a:ext>
            </a:extLst>
          </p:cNvPr>
          <p:cNvSpPr txBox="1"/>
          <p:nvPr/>
        </p:nvSpPr>
        <p:spPr>
          <a:xfrm>
            <a:off x="9128680" y="3347145"/>
            <a:ext cx="1397257" cy="1015663"/>
          </a:xfrm>
          <a:prstGeom prst="rect">
            <a:avLst/>
          </a:prstGeom>
          <a:noFill/>
        </p:spPr>
        <p:txBody>
          <a:bodyPr wrap="square" rtlCol="0">
            <a:spAutoFit/>
          </a:bodyPr>
          <a:lstStyle/>
          <a:p>
            <a:pPr algn="ctr"/>
            <a:r>
              <a:rPr lang="es-MX" sz="1200">
                <a:solidFill>
                  <a:schemeClr val="accent5">
                    <a:lumMod val="50000"/>
                  </a:schemeClr>
                </a:solidFill>
              </a:rPr>
              <a:t>Releases finales, replica de producción,</a:t>
            </a:r>
          </a:p>
          <a:p>
            <a:pPr algn="ctr"/>
            <a:r>
              <a:rPr lang="es-MX" sz="1200">
                <a:solidFill>
                  <a:schemeClr val="accent5">
                    <a:lumMod val="50000"/>
                  </a:schemeClr>
                </a:solidFill>
              </a:rPr>
              <a:t> observabilidad, regresiones.</a:t>
            </a:r>
            <a:endParaRPr lang="es-PE" sz="1200">
              <a:solidFill>
                <a:schemeClr val="accent5">
                  <a:lumMod val="50000"/>
                </a:schemeClr>
              </a:solidFill>
            </a:endParaRPr>
          </a:p>
        </p:txBody>
      </p:sp>
      <p:sp>
        <p:nvSpPr>
          <p:cNvPr id="1029" name="CuadroTexto 1028">
            <a:extLst>
              <a:ext uri="{FF2B5EF4-FFF2-40B4-BE49-F238E27FC236}">
                <a16:creationId xmlns:a16="http://schemas.microsoft.com/office/drawing/2014/main" id="{33F85DA4-3001-025C-5961-B7AB2FE07C6A}"/>
              </a:ext>
            </a:extLst>
          </p:cNvPr>
          <p:cNvSpPr txBox="1"/>
          <p:nvPr/>
        </p:nvSpPr>
        <p:spPr>
          <a:xfrm>
            <a:off x="10622440" y="3565314"/>
            <a:ext cx="1386460" cy="461665"/>
          </a:xfrm>
          <a:prstGeom prst="rect">
            <a:avLst/>
          </a:prstGeom>
          <a:noFill/>
        </p:spPr>
        <p:txBody>
          <a:bodyPr wrap="square" rtlCol="0">
            <a:spAutoFit/>
          </a:bodyPr>
          <a:lstStyle/>
          <a:p>
            <a:pPr algn="ctr"/>
            <a:r>
              <a:rPr lang="es-MX" sz="1200">
                <a:solidFill>
                  <a:schemeClr val="accent5">
                    <a:lumMod val="50000"/>
                  </a:schemeClr>
                </a:solidFill>
              </a:rPr>
              <a:t>Operación estable, servicio activo.</a:t>
            </a:r>
            <a:endParaRPr lang="es-PE" sz="1200">
              <a:solidFill>
                <a:schemeClr val="accent5">
                  <a:lumMod val="50000"/>
                </a:schemeClr>
              </a:solidFill>
            </a:endParaRPr>
          </a:p>
        </p:txBody>
      </p:sp>
      <p:sp>
        <p:nvSpPr>
          <p:cNvPr id="1030" name="CuadroTexto 2">
            <a:extLst>
              <a:ext uri="{FF2B5EF4-FFF2-40B4-BE49-F238E27FC236}">
                <a16:creationId xmlns:a16="http://schemas.microsoft.com/office/drawing/2014/main" id="{9EC96B9F-2E0F-ED43-1613-0A89A28F32B2}"/>
              </a:ext>
            </a:extLst>
          </p:cNvPr>
          <p:cNvSpPr txBox="1"/>
          <p:nvPr/>
        </p:nvSpPr>
        <p:spPr>
          <a:xfrm>
            <a:off x="191043" y="4761060"/>
            <a:ext cx="2843259" cy="1346501"/>
          </a:xfrm>
          <a:prstGeom prst="rect">
            <a:avLst/>
          </a:prstGeom>
          <a:solidFill>
            <a:schemeClr val="accent4">
              <a:lumMod val="60000"/>
              <a:lumOff val="40000"/>
            </a:schemeClr>
          </a:solidFill>
        </p:spPr>
        <p:txBody>
          <a:bodyPr wrap="square" lIns="180000" tIns="180000" rIns="180000" bIns="180000" rtlCol="0" anchor="ctr">
            <a:noAutofit/>
          </a:bodyPr>
          <a:lstStyle/>
          <a:p>
            <a:pPr marL="171450" indent="-171450">
              <a:buFont typeface="Arial" panose="020B0604020202020204" pitchFamily="34" charset="0"/>
              <a:buChar char="•"/>
            </a:pPr>
            <a:r>
              <a:rPr lang="es-MX" sz="900">
                <a:solidFill>
                  <a:schemeClr val="accent5"/>
                </a:solidFill>
              </a:rPr>
              <a:t>Desarrollo de nuevas funcionalidades</a:t>
            </a:r>
          </a:p>
          <a:p>
            <a:pPr marL="171450" indent="-171450">
              <a:buFont typeface="Arial" panose="020B0604020202020204" pitchFamily="34" charset="0"/>
              <a:buChar char="•"/>
            </a:pPr>
            <a:r>
              <a:rPr lang="es-MX" sz="900">
                <a:solidFill>
                  <a:schemeClr val="accent5"/>
                </a:solidFill>
              </a:rPr>
              <a:t>Pruebas Unitarias</a:t>
            </a:r>
          </a:p>
          <a:p>
            <a:pPr marL="171450" indent="-171450">
              <a:buFont typeface="Arial" panose="020B0604020202020204" pitchFamily="34" charset="0"/>
              <a:buChar char="•"/>
            </a:pPr>
            <a:r>
              <a:rPr lang="es-MX" sz="900">
                <a:solidFill>
                  <a:schemeClr val="accent5"/>
                </a:solidFill>
              </a:rPr>
              <a:t>Pruebas técnicas básicas</a:t>
            </a:r>
          </a:p>
          <a:p>
            <a:pPr marL="171450" indent="-171450">
              <a:buFont typeface="Arial" panose="020B0604020202020204" pitchFamily="34" charset="0"/>
              <a:buChar char="•"/>
            </a:pPr>
            <a:r>
              <a:rPr lang="es-MX" sz="900">
                <a:solidFill>
                  <a:schemeClr val="accent5"/>
                </a:solidFill>
              </a:rPr>
              <a:t>Datos mockeados</a:t>
            </a:r>
          </a:p>
          <a:p>
            <a:pPr marL="171450" indent="-171450">
              <a:buFont typeface="Arial" panose="020B0604020202020204" pitchFamily="34" charset="0"/>
              <a:buChar char="•"/>
            </a:pPr>
            <a:r>
              <a:rPr lang="es-MX" sz="900">
                <a:solidFill>
                  <a:schemeClr val="accent5"/>
                </a:solidFill>
              </a:rPr>
              <a:t>Configuración flexible</a:t>
            </a:r>
          </a:p>
          <a:p>
            <a:pPr marL="171450" indent="-171450">
              <a:buFont typeface="Arial" panose="020B0604020202020204" pitchFamily="34" charset="0"/>
              <a:buChar char="•"/>
            </a:pPr>
            <a:r>
              <a:rPr lang="es-MX" sz="900">
                <a:solidFill>
                  <a:schemeClr val="accent5"/>
                </a:solidFill>
              </a:rPr>
              <a:t>Se permiten errores</a:t>
            </a:r>
          </a:p>
          <a:p>
            <a:pPr marL="171450" indent="-171450">
              <a:buFont typeface="Arial" panose="020B0604020202020204" pitchFamily="34" charset="0"/>
              <a:buChar char="•"/>
            </a:pPr>
            <a:r>
              <a:rPr lang="es-MX" sz="900">
                <a:solidFill>
                  <a:schemeClr val="accent5"/>
                </a:solidFill>
              </a:rPr>
              <a:t>Uso exclusivo del equipo de desarrollo</a:t>
            </a:r>
          </a:p>
        </p:txBody>
      </p:sp>
      <p:sp>
        <p:nvSpPr>
          <p:cNvPr id="1031" name="CuadroTexto 2">
            <a:extLst>
              <a:ext uri="{FF2B5EF4-FFF2-40B4-BE49-F238E27FC236}">
                <a16:creationId xmlns:a16="http://schemas.microsoft.com/office/drawing/2014/main" id="{E44B2334-8AF1-9483-CF7C-7B1BAC1AFA47}"/>
              </a:ext>
            </a:extLst>
          </p:cNvPr>
          <p:cNvSpPr txBox="1"/>
          <p:nvPr/>
        </p:nvSpPr>
        <p:spPr>
          <a:xfrm>
            <a:off x="3189828" y="4785414"/>
            <a:ext cx="2843259" cy="1346501"/>
          </a:xfrm>
          <a:prstGeom prst="rect">
            <a:avLst/>
          </a:prstGeom>
          <a:solidFill>
            <a:srgbClr val="F5F4B9"/>
          </a:solidFill>
        </p:spPr>
        <p:txBody>
          <a:bodyPr wrap="square" lIns="180000" tIns="180000" rIns="180000" bIns="180000" rtlCol="0" anchor="ctr">
            <a:noAutofit/>
          </a:bodyPr>
          <a:lstStyle/>
          <a:p>
            <a:pPr marL="171450" indent="-171450">
              <a:buFont typeface="Arial" panose="020B0604020202020204" pitchFamily="34" charset="0"/>
              <a:buChar char="•"/>
            </a:pPr>
            <a:r>
              <a:rPr lang="es-MX" sz="900">
                <a:solidFill>
                  <a:schemeClr val="accent5"/>
                </a:solidFill>
              </a:rPr>
              <a:t>Pruebas Funcionales</a:t>
            </a:r>
          </a:p>
          <a:p>
            <a:pPr marL="171450" indent="-171450">
              <a:buFont typeface="Arial" panose="020B0604020202020204" pitchFamily="34" charset="0"/>
              <a:buChar char="•"/>
            </a:pPr>
            <a:r>
              <a:rPr lang="es-MX" sz="900">
                <a:solidFill>
                  <a:schemeClr val="accent5"/>
                </a:solidFill>
              </a:rPr>
              <a:t>Pruebas de Regresión</a:t>
            </a:r>
          </a:p>
          <a:p>
            <a:pPr marL="171450" indent="-171450">
              <a:buFont typeface="Arial" panose="020B0604020202020204" pitchFamily="34" charset="0"/>
              <a:buChar char="•"/>
            </a:pPr>
            <a:r>
              <a:rPr lang="es-MX" sz="900">
                <a:solidFill>
                  <a:schemeClr val="accent5"/>
                </a:solidFill>
              </a:rPr>
              <a:t>Pruebas de Integración</a:t>
            </a:r>
          </a:p>
          <a:p>
            <a:pPr marL="171450" indent="-171450">
              <a:buFont typeface="Arial" panose="020B0604020202020204" pitchFamily="34" charset="0"/>
              <a:buChar char="•"/>
            </a:pPr>
            <a:r>
              <a:rPr lang="es-MX" sz="900">
                <a:solidFill>
                  <a:schemeClr val="accent5"/>
                </a:solidFill>
              </a:rPr>
              <a:t>Escenarios End 2 End</a:t>
            </a:r>
          </a:p>
          <a:p>
            <a:pPr marL="171450" indent="-171450">
              <a:buFont typeface="Arial" panose="020B0604020202020204" pitchFamily="34" charset="0"/>
              <a:buChar char="•"/>
            </a:pPr>
            <a:r>
              <a:rPr lang="es-MX" sz="900">
                <a:solidFill>
                  <a:schemeClr val="accent5"/>
                </a:solidFill>
              </a:rPr>
              <a:t>Pruebas Automatizadas</a:t>
            </a:r>
          </a:p>
          <a:p>
            <a:pPr marL="171450" indent="-171450">
              <a:buFont typeface="Arial" panose="020B0604020202020204" pitchFamily="34" charset="0"/>
              <a:buChar char="•"/>
            </a:pPr>
            <a:r>
              <a:rPr lang="es-MX" sz="900">
                <a:solidFill>
                  <a:schemeClr val="accent5"/>
                </a:solidFill>
              </a:rPr>
              <a:t>Datos controlados</a:t>
            </a:r>
          </a:p>
          <a:p>
            <a:pPr marL="171450" indent="-171450">
              <a:buFont typeface="Arial" panose="020B0604020202020204" pitchFamily="34" charset="0"/>
              <a:buChar char="•"/>
            </a:pPr>
            <a:r>
              <a:rPr lang="es-MX" sz="900">
                <a:solidFill>
                  <a:schemeClr val="accent5"/>
                </a:solidFill>
              </a:rPr>
              <a:t>Gestión de defectos.</a:t>
            </a:r>
          </a:p>
        </p:txBody>
      </p:sp>
      <p:sp>
        <p:nvSpPr>
          <p:cNvPr id="1032" name="CuadroTexto 2">
            <a:extLst>
              <a:ext uri="{FF2B5EF4-FFF2-40B4-BE49-F238E27FC236}">
                <a16:creationId xmlns:a16="http://schemas.microsoft.com/office/drawing/2014/main" id="{B75C59CE-9342-A826-82CB-B069C3C7D182}"/>
              </a:ext>
            </a:extLst>
          </p:cNvPr>
          <p:cNvSpPr txBox="1"/>
          <p:nvPr/>
        </p:nvSpPr>
        <p:spPr>
          <a:xfrm>
            <a:off x="6172440" y="4793126"/>
            <a:ext cx="2843259" cy="1346501"/>
          </a:xfrm>
          <a:prstGeom prst="rect">
            <a:avLst/>
          </a:prstGeom>
          <a:solidFill>
            <a:srgbClr val="F3D1AF"/>
          </a:solidFill>
        </p:spPr>
        <p:txBody>
          <a:bodyPr wrap="square" lIns="180000" tIns="180000" rIns="180000" bIns="180000" rtlCol="0" anchor="ctr">
            <a:noAutofit/>
          </a:bodyPr>
          <a:lstStyle/>
          <a:p>
            <a:pPr marL="171450" indent="-171450">
              <a:buFont typeface="Arial" panose="020B0604020202020204" pitchFamily="34" charset="0"/>
              <a:buChar char="•"/>
            </a:pPr>
            <a:r>
              <a:rPr lang="es-MX" sz="900">
                <a:solidFill>
                  <a:schemeClr val="accent5"/>
                </a:solidFill>
              </a:rPr>
              <a:t>Pruebas de aceptación de usuario</a:t>
            </a:r>
          </a:p>
          <a:p>
            <a:pPr marL="171450" indent="-171450">
              <a:buFont typeface="Arial" panose="020B0604020202020204" pitchFamily="34" charset="0"/>
              <a:buChar char="•"/>
            </a:pPr>
            <a:r>
              <a:rPr lang="es-MX" sz="900">
                <a:solidFill>
                  <a:schemeClr val="accent5"/>
                </a:solidFill>
              </a:rPr>
              <a:t>Casos de negocio reales</a:t>
            </a:r>
          </a:p>
          <a:p>
            <a:pPr marL="171450" indent="-171450">
              <a:buFont typeface="Arial" panose="020B0604020202020204" pitchFamily="34" charset="0"/>
              <a:buChar char="•"/>
            </a:pPr>
            <a:r>
              <a:rPr lang="es-MX" sz="900">
                <a:solidFill>
                  <a:schemeClr val="accent5"/>
                </a:solidFill>
              </a:rPr>
              <a:t>Validación de reglas de negocio</a:t>
            </a:r>
          </a:p>
          <a:p>
            <a:pPr marL="171450" indent="-171450">
              <a:buFont typeface="Arial" panose="020B0604020202020204" pitchFamily="34" charset="0"/>
              <a:buChar char="•"/>
            </a:pPr>
            <a:r>
              <a:rPr lang="es-MX" sz="900">
                <a:solidFill>
                  <a:schemeClr val="accent5"/>
                </a:solidFill>
              </a:rPr>
              <a:t>Aprobación Formal del (Go / No Go).</a:t>
            </a:r>
          </a:p>
        </p:txBody>
      </p:sp>
      <p:sp>
        <p:nvSpPr>
          <p:cNvPr id="1033" name="CuadroTexto 2">
            <a:extLst>
              <a:ext uri="{FF2B5EF4-FFF2-40B4-BE49-F238E27FC236}">
                <a16:creationId xmlns:a16="http://schemas.microsoft.com/office/drawing/2014/main" id="{35AE8155-B79B-6A58-F176-14319EDD3755}"/>
              </a:ext>
            </a:extLst>
          </p:cNvPr>
          <p:cNvSpPr txBox="1"/>
          <p:nvPr/>
        </p:nvSpPr>
        <p:spPr>
          <a:xfrm>
            <a:off x="9165641" y="4793126"/>
            <a:ext cx="2843259" cy="1346501"/>
          </a:xfrm>
          <a:prstGeom prst="rect">
            <a:avLst/>
          </a:prstGeom>
          <a:solidFill>
            <a:srgbClr val="05BC57"/>
          </a:solidFill>
        </p:spPr>
        <p:txBody>
          <a:bodyPr wrap="square" lIns="180000" tIns="180000" rIns="180000" bIns="180000" rtlCol="0" anchor="ctr">
            <a:noAutofit/>
          </a:bodyPr>
          <a:lstStyle/>
          <a:p>
            <a:pPr marL="171450" indent="-171450">
              <a:buFont typeface="Arial" panose="020B0604020202020204" pitchFamily="34" charset="0"/>
              <a:buChar char="•"/>
            </a:pPr>
            <a:r>
              <a:rPr lang="es-MX" sz="900">
                <a:solidFill>
                  <a:schemeClr val="accent5"/>
                </a:solidFill>
              </a:rPr>
              <a:t>Uso por usuarios finales</a:t>
            </a:r>
          </a:p>
          <a:p>
            <a:pPr marL="171450" indent="-171450">
              <a:buFont typeface="Arial" panose="020B0604020202020204" pitchFamily="34" charset="0"/>
              <a:buChar char="•"/>
            </a:pPr>
            <a:r>
              <a:rPr lang="es-MX" sz="900">
                <a:solidFill>
                  <a:schemeClr val="accent5"/>
                </a:solidFill>
              </a:rPr>
              <a:t>Alta Disponibilidad</a:t>
            </a:r>
          </a:p>
          <a:p>
            <a:pPr marL="171450" indent="-171450">
              <a:buFont typeface="Arial" panose="020B0604020202020204" pitchFamily="34" charset="0"/>
              <a:buChar char="•"/>
            </a:pPr>
            <a:r>
              <a:rPr lang="es-MX" sz="900">
                <a:solidFill>
                  <a:schemeClr val="accent5"/>
                </a:solidFill>
              </a:rPr>
              <a:t>Monitoreo activo</a:t>
            </a:r>
          </a:p>
          <a:p>
            <a:pPr marL="171450" indent="-171450">
              <a:buFont typeface="Arial" panose="020B0604020202020204" pitchFamily="34" charset="0"/>
              <a:buChar char="•"/>
            </a:pPr>
            <a:r>
              <a:rPr lang="es-MX" sz="900">
                <a:solidFill>
                  <a:schemeClr val="accent5"/>
                </a:solidFill>
              </a:rPr>
              <a:t>Gestión de incidencias</a:t>
            </a:r>
          </a:p>
          <a:p>
            <a:pPr marL="171450" indent="-171450">
              <a:buFont typeface="Arial" panose="020B0604020202020204" pitchFamily="34" charset="0"/>
              <a:buChar char="•"/>
            </a:pPr>
            <a:r>
              <a:rPr lang="es-MX" sz="900">
                <a:solidFill>
                  <a:schemeClr val="accent5"/>
                </a:solidFill>
              </a:rPr>
              <a:t>Accesos restringidos</a:t>
            </a:r>
          </a:p>
          <a:p>
            <a:pPr marL="171450" indent="-171450">
              <a:buFont typeface="Arial" panose="020B0604020202020204" pitchFamily="34" charset="0"/>
              <a:buChar char="•"/>
            </a:pPr>
            <a:r>
              <a:rPr lang="es-MX" sz="900">
                <a:solidFill>
                  <a:schemeClr val="accent5"/>
                </a:solidFill>
              </a:rPr>
              <a:t>Validación de despliegues</a:t>
            </a:r>
          </a:p>
        </p:txBody>
      </p:sp>
    </p:spTree>
    <p:extLst>
      <p:ext uri="{BB962C8B-B14F-4D97-AF65-F5344CB8AC3E}">
        <p14:creationId xmlns:p14="http://schemas.microsoft.com/office/powerpoint/2010/main" val="37961353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8064DD-2638-11AC-63BE-A8549D3BA921}"/>
            </a:ext>
          </a:extLst>
        </p:cNvPr>
        <p:cNvGrpSpPr/>
        <p:nvPr/>
      </p:nvGrpSpPr>
      <p:grpSpPr>
        <a:xfrm>
          <a:off x="0" y="0"/>
          <a:ext cx="0" cy="0"/>
          <a:chOff x="0" y="0"/>
          <a:chExt cx="0" cy="0"/>
        </a:xfrm>
      </p:grpSpPr>
      <p:sp>
        <p:nvSpPr>
          <p:cNvPr id="11" name="CuadroTexto 2">
            <a:extLst>
              <a:ext uri="{FF2B5EF4-FFF2-40B4-BE49-F238E27FC236}">
                <a16:creationId xmlns:a16="http://schemas.microsoft.com/office/drawing/2014/main" id="{B3E45716-C703-6DC2-E4D9-304FE8C95C20}"/>
              </a:ext>
            </a:extLst>
          </p:cNvPr>
          <p:cNvSpPr txBox="1"/>
          <p:nvPr/>
        </p:nvSpPr>
        <p:spPr>
          <a:xfrm>
            <a:off x="2151184" y="1598915"/>
            <a:ext cx="2404548" cy="4607856"/>
          </a:xfrm>
          <a:prstGeom prst="rect">
            <a:avLst/>
          </a:prstGeom>
          <a:solidFill>
            <a:schemeClr val="bg1">
              <a:lumMod val="95000"/>
            </a:schemeClr>
          </a:solidFill>
        </p:spPr>
        <p:txBody>
          <a:bodyPr wrap="square" lIns="180000" tIns="180000" rIns="180000" bIns="180000" rtlCol="0" anchor="ctr">
            <a:noAutofit/>
          </a:bodyPr>
          <a:lstStyle/>
          <a:p>
            <a:pPr algn="ctr"/>
            <a:endParaRPr lang="es-MX" sz="900" b="1">
              <a:solidFill>
                <a:schemeClr val="accent5"/>
              </a:solidFill>
            </a:endParaRPr>
          </a:p>
        </p:txBody>
      </p:sp>
      <p:sp>
        <p:nvSpPr>
          <p:cNvPr id="48" name="CuadroTexto 2">
            <a:extLst>
              <a:ext uri="{FF2B5EF4-FFF2-40B4-BE49-F238E27FC236}">
                <a16:creationId xmlns:a16="http://schemas.microsoft.com/office/drawing/2014/main" id="{C3DD876A-9553-8F07-66FC-4553F7C7CC8C}"/>
              </a:ext>
            </a:extLst>
          </p:cNvPr>
          <p:cNvSpPr txBox="1"/>
          <p:nvPr/>
        </p:nvSpPr>
        <p:spPr>
          <a:xfrm>
            <a:off x="9654337" y="1598915"/>
            <a:ext cx="2404548" cy="4607856"/>
          </a:xfrm>
          <a:prstGeom prst="rect">
            <a:avLst/>
          </a:prstGeom>
          <a:solidFill>
            <a:srgbClr val="0070C0"/>
          </a:solidFill>
        </p:spPr>
        <p:txBody>
          <a:bodyPr wrap="square" lIns="180000" tIns="180000" rIns="180000" bIns="180000" rtlCol="0" anchor="ctr">
            <a:noAutofit/>
          </a:bodyPr>
          <a:lstStyle/>
          <a:p>
            <a:pPr algn="ctr"/>
            <a:endParaRPr lang="es-MX" sz="900" b="1">
              <a:solidFill>
                <a:schemeClr val="accent5"/>
              </a:solidFill>
            </a:endParaRPr>
          </a:p>
        </p:txBody>
      </p:sp>
      <p:sp>
        <p:nvSpPr>
          <p:cNvPr id="47" name="CuadroTexto 2">
            <a:extLst>
              <a:ext uri="{FF2B5EF4-FFF2-40B4-BE49-F238E27FC236}">
                <a16:creationId xmlns:a16="http://schemas.microsoft.com/office/drawing/2014/main" id="{7B8DB028-7A15-CA92-9E69-3A03CD126669}"/>
              </a:ext>
            </a:extLst>
          </p:cNvPr>
          <p:cNvSpPr txBox="1"/>
          <p:nvPr/>
        </p:nvSpPr>
        <p:spPr>
          <a:xfrm>
            <a:off x="7153286" y="1598915"/>
            <a:ext cx="2404548" cy="4607856"/>
          </a:xfrm>
          <a:prstGeom prst="rect">
            <a:avLst/>
          </a:prstGeom>
          <a:solidFill>
            <a:srgbClr val="A1D6A4"/>
          </a:solidFill>
          <a:ln>
            <a:noFill/>
          </a:ln>
        </p:spPr>
        <p:txBody>
          <a:bodyPr wrap="square" lIns="180000" tIns="180000" rIns="180000" bIns="180000" rtlCol="0" anchor="ctr">
            <a:noAutofit/>
          </a:bodyPr>
          <a:lstStyle>
            <a:defPPr>
              <a:defRPr lang="es-PE"/>
            </a:defPPr>
            <a:lvl1pPr algn="ctr">
              <a:spcAft>
                <a:spcPts val="1200"/>
              </a:spcAft>
              <a:defRPr sz="1400" b="1">
                <a:solidFill>
                  <a:srgbClr val="212121"/>
                </a:solidFill>
                <a:latin typeface="Santander Text" panose="020B0504020201020104" pitchFamily="34" charset="0"/>
              </a:defRPr>
            </a:lvl1pPr>
          </a:lstStyle>
          <a:p>
            <a:endParaRPr lang="es-MX"/>
          </a:p>
        </p:txBody>
      </p:sp>
      <p:sp>
        <p:nvSpPr>
          <p:cNvPr id="46" name="CuadroTexto 2">
            <a:extLst>
              <a:ext uri="{FF2B5EF4-FFF2-40B4-BE49-F238E27FC236}">
                <a16:creationId xmlns:a16="http://schemas.microsoft.com/office/drawing/2014/main" id="{A9526965-74DB-A474-4130-7E55C6556472}"/>
              </a:ext>
            </a:extLst>
          </p:cNvPr>
          <p:cNvSpPr txBox="1"/>
          <p:nvPr/>
        </p:nvSpPr>
        <p:spPr>
          <a:xfrm>
            <a:off x="4652235" y="1598915"/>
            <a:ext cx="2404548" cy="4607856"/>
          </a:xfrm>
          <a:prstGeom prst="rect">
            <a:avLst/>
          </a:prstGeom>
          <a:solidFill>
            <a:schemeClr val="bg1">
              <a:lumMod val="95000"/>
            </a:schemeClr>
          </a:solidFill>
        </p:spPr>
        <p:txBody>
          <a:bodyPr wrap="square" lIns="180000" tIns="180000" rIns="180000" bIns="180000" rtlCol="0" anchor="ctr">
            <a:noAutofit/>
          </a:bodyPr>
          <a:lstStyle/>
          <a:p>
            <a:pPr algn="ctr"/>
            <a:endParaRPr lang="es-MX" sz="900" b="1">
              <a:solidFill>
                <a:schemeClr val="accent5"/>
              </a:solidFill>
            </a:endParaRPr>
          </a:p>
        </p:txBody>
      </p:sp>
      <p:sp>
        <p:nvSpPr>
          <p:cNvPr id="8" name="Marcador de texto 7">
            <a:extLst>
              <a:ext uri="{FF2B5EF4-FFF2-40B4-BE49-F238E27FC236}">
                <a16:creationId xmlns:a16="http://schemas.microsoft.com/office/drawing/2014/main" id="{7D922A40-FD30-9007-A19E-1D34C8E78D9A}"/>
              </a:ext>
            </a:extLst>
          </p:cNvPr>
          <p:cNvSpPr>
            <a:spLocks noGrp="1"/>
          </p:cNvSpPr>
          <p:nvPr>
            <p:ph type="body" sz="quarter" idx="14"/>
          </p:nvPr>
        </p:nvSpPr>
        <p:spPr/>
        <p:txBody>
          <a:bodyPr/>
          <a:lstStyle/>
          <a:p>
            <a:endParaRPr lang="es-PE"/>
          </a:p>
        </p:txBody>
      </p:sp>
      <p:sp>
        <p:nvSpPr>
          <p:cNvPr id="14" name="Marcador de número de diapositiva 3">
            <a:extLst>
              <a:ext uri="{FF2B5EF4-FFF2-40B4-BE49-F238E27FC236}">
                <a16:creationId xmlns:a16="http://schemas.microsoft.com/office/drawing/2014/main" id="{D3C25294-64DE-D0B2-3231-95F7FB87A835}"/>
              </a:ext>
            </a:extLst>
          </p:cNvPr>
          <p:cNvSpPr txBox="1">
            <a:spLocks/>
          </p:cNvSpPr>
          <p:nvPr/>
        </p:nvSpPr>
        <p:spPr>
          <a:xfrm>
            <a:off x="8610600" y="6451239"/>
            <a:ext cx="3030538" cy="333609"/>
          </a:xfrm>
          <a:prstGeom prst="rect">
            <a:avLst/>
          </a:prstGeom>
        </p:spPr>
        <p:txBody>
          <a:bodyPr vert="horz" lIns="0" tIns="36000" rIns="0" bIns="0" rtlCol="0" anchor="t" anchorCtr="0">
            <a:noAutofit/>
          </a:bodyPr>
          <a:lstStyle>
            <a:lvl1pPr marL="0" indent="0" algn="l" defTabSz="911045" rtl="0" eaLnBrk="1" latinLnBrk="0" hangingPunct="1">
              <a:lnSpc>
                <a:spcPct val="100000"/>
              </a:lnSpc>
              <a:spcBef>
                <a:spcPts val="996"/>
              </a:spcBef>
              <a:buFont typeface="Webdings" panose="05030102010509060703" pitchFamily="18" charset="2"/>
              <a:buNone/>
              <a:defRPr sz="998" kern="1200">
                <a:solidFill>
                  <a:schemeClr val="bg2"/>
                </a:solidFill>
                <a:latin typeface="Santander Text"/>
                <a:ea typeface="+mn-ea"/>
                <a:cs typeface="+mn-cs"/>
              </a:defRPr>
            </a:lvl1pPr>
            <a:lvl2pPr marL="0" indent="0" algn="l" defTabSz="911045" rtl="0" eaLnBrk="1" latinLnBrk="0" hangingPunct="1">
              <a:lnSpc>
                <a:spcPct val="100000"/>
              </a:lnSpc>
              <a:spcBef>
                <a:spcPts val="498"/>
              </a:spcBef>
              <a:buClr>
                <a:schemeClr val="accent4"/>
              </a:buClr>
              <a:buSzPct val="110000"/>
              <a:buFont typeface="Webdings" panose="05030102010509060703" pitchFamily="18" charset="2"/>
              <a:buChar char="4"/>
              <a:defRPr sz="1597" kern="1200">
                <a:solidFill>
                  <a:schemeClr val="bg2"/>
                </a:solidFill>
                <a:latin typeface="Santander Text"/>
                <a:ea typeface="+mn-ea"/>
                <a:cs typeface="+mn-cs"/>
              </a:defRPr>
            </a:lvl2pPr>
            <a:lvl3pPr marL="174311" indent="188573" algn="l" defTabSz="911045" rtl="0" eaLnBrk="1" latinLnBrk="0" hangingPunct="1">
              <a:lnSpc>
                <a:spcPct val="90000"/>
              </a:lnSpc>
              <a:spcBef>
                <a:spcPts val="498"/>
              </a:spcBef>
              <a:buClr>
                <a:srgbClr val="8AB9CC"/>
              </a:buClr>
              <a:buFont typeface="Webdings" panose="05030102010509060703" pitchFamily="18" charset="2"/>
              <a:buChar char=""/>
              <a:defRPr sz="1597" kern="1200">
                <a:solidFill>
                  <a:schemeClr val="bg2"/>
                </a:solidFill>
                <a:latin typeface="Santander Text"/>
                <a:ea typeface="+mn-ea"/>
                <a:cs typeface="+mn-cs"/>
              </a:defRPr>
            </a:lvl3pPr>
            <a:lvl4pPr marL="362884" indent="174311" algn="l" defTabSz="911045" rtl="0" eaLnBrk="1" latinLnBrk="0" hangingPunct="1">
              <a:lnSpc>
                <a:spcPct val="100000"/>
              </a:lnSpc>
              <a:spcBef>
                <a:spcPts val="498"/>
              </a:spcBef>
              <a:buClr>
                <a:schemeClr val="accent4"/>
              </a:buClr>
              <a:buFont typeface="Arial" panose="020B0604020202020204" pitchFamily="34" charset="0"/>
              <a:buChar char="•"/>
              <a:defRPr sz="1597" kern="1200">
                <a:solidFill>
                  <a:schemeClr val="bg2"/>
                </a:solidFill>
                <a:latin typeface="Santander Text"/>
                <a:ea typeface="+mn-ea"/>
                <a:cs typeface="+mn-cs"/>
              </a:defRPr>
            </a:lvl4pPr>
            <a:lvl5pPr marL="537194" indent="174311" algn="l" defTabSz="911045" rtl="0" eaLnBrk="1" latinLnBrk="0" hangingPunct="1">
              <a:lnSpc>
                <a:spcPct val="90000"/>
              </a:lnSpc>
              <a:spcBef>
                <a:spcPts val="498"/>
              </a:spcBef>
              <a:buClr>
                <a:srgbClr val="8AB9CC"/>
              </a:buClr>
              <a:buFont typeface="Webdings" panose="05030102010509060703" pitchFamily="18" charset="2"/>
              <a:buChar char=""/>
              <a:defRPr sz="1597" kern="1200">
                <a:solidFill>
                  <a:schemeClr val="bg2"/>
                </a:solidFill>
                <a:latin typeface="Santander Text"/>
                <a:ea typeface="+mn-ea"/>
                <a:cs typeface="+mn-cs"/>
              </a:defRPr>
            </a:lvl5pPr>
            <a:lvl6pPr marL="2505377"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6pPr>
            <a:lvl7pPr marL="2960900"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7pPr>
            <a:lvl8pPr marL="3416423"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8pPr>
            <a:lvl9pPr marL="3871947" indent="-227762" algn="l" defTabSz="911045" rtl="0" eaLnBrk="1" latinLnBrk="0" hangingPunct="1">
              <a:lnSpc>
                <a:spcPct val="90000"/>
              </a:lnSpc>
              <a:spcBef>
                <a:spcPts val="498"/>
              </a:spcBef>
              <a:buFont typeface="Arial" panose="020B0604020202020204" pitchFamily="34" charset="0"/>
              <a:buChar char="•"/>
              <a:defRPr sz="1794" kern="1200">
                <a:solidFill>
                  <a:schemeClr val="tx1"/>
                </a:solidFill>
                <a:latin typeface="+mn-lt"/>
                <a:ea typeface="+mn-ea"/>
                <a:cs typeface="+mn-cs"/>
              </a:defRPr>
            </a:lvl9pPr>
          </a:lstStyle>
          <a:p>
            <a:pPr algn="r"/>
            <a:fld id="{921A6315-1B6D-4306-AE81-37B8137F3D65}" type="slidenum">
              <a:rPr lang="es-ES" sz="1100" smtClean="0"/>
              <a:pPr algn="r"/>
              <a:t>43</a:t>
            </a:fld>
            <a:endParaRPr lang="es-ES" sz="1100"/>
          </a:p>
        </p:txBody>
      </p:sp>
      <p:cxnSp>
        <p:nvCxnSpPr>
          <p:cNvPr id="37" name="Straight Connector 14">
            <a:extLst>
              <a:ext uri="{FF2B5EF4-FFF2-40B4-BE49-F238E27FC236}">
                <a16:creationId xmlns:a16="http://schemas.microsoft.com/office/drawing/2014/main" id="{A8E96779-9FFA-E239-8000-55E73E64B643}"/>
              </a:ext>
            </a:extLst>
          </p:cNvPr>
          <p:cNvCxnSpPr/>
          <p:nvPr/>
        </p:nvCxnSpPr>
        <p:spPr>
          <a:xfrm>
            <a:off x="550864" y="853361"/>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9" name="Title 5">
            <a:extLst>
              <a:ext uri="{FF2B5EF4-FFF2-40B4-BE49-F238E27FC236}">
                <a16:creationId xmlns:a16="http://schemas.microsoft.com/office/drawing/2014/main" id="{0EC523B8-29AE-748C-980B-68B00A4219F2}"/>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MX"/>
              <a:t>Plan Helios - ODS</a:t>
            </a:r>
            <a:endParaRPr lang="es-MX">
              <a:solidFill>
                <a:srgbClr val="203864"/>
              </a:solidFill>
            </a:endParaRPr>
          </a:p>
        </p:txBody>
      </p:sp>
      <p:cxnSp>
        <p:nvCxnSpPr>
          <p:cNvPr id="31" name="Conector recto 30">
            <a:extLst>
              <a:ext uri="{FF2B5EF4-FFF2-40B4-BE49-F238E27FC236}">
                <a16:creationId xmlns:a16="http://schemas.microsoft.com/office/drawing/2014/main" id="{C2C085E0-7EB2-D0C4-C02D-E028E14A77C5}"/>
              </a:ext>
            </a:extLst>
          </p:cNvPr>
          <p:cNvCxnSpPr>
            <a:cxnSpLocks/>
          </p:cNvCxnSpPr>
          <p:nvPr/>
        </p:nvCxnSpPr>
        <p:spPr>
          <a:xfrm>
            <a:off x="359937" y="2574706"/>
            <a:ext cx="11698948" cy="0"/>
          </a:xfrm>
          <a:prstGeom prst="line">
            <a:avLst/>
          </a:prstGeom>
          <a:ln w="19050"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 name="Conector recto 31">
            <a:extLst>
              <a:ext uri="{FF2B5EF4-FFF2-40B4-BE49-F238E27FC236}">
                <a16:creationId xmlns:a16="http://schemas.microsoft.com/office/drawing/2014/main" id="{25E19340-B337-11C0-2CC7-66B78309A022}"/>
              </a:ext>
            </a:extLst>
          </p:cNvPr>
          <p:cNvCxnSpPr>
            <a:cxnSpLocks/>
          </p:cNvCxnSpPr>
          <p:nvPr/>
        </p:nvCxnSpPr>
        <p:spPr>
          <a:xfrm>
            <a:off x="359937" y="5373482"/>
            <a:ext cx="11698948" cy="0"/>
          </a:xfrm>
          <a:prstGeom prst="line">
            <a:avLst/>
          </a:prstGeom>
          <a:ln w="19050"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4" name="Abrir llave 33">
            <a:extLst>
              <a:ext uri="{FF2B5EF4-FFF2-40B4-BE49-F238E27FC236}">
                <a16:creationId xmlns:a16="http://schemas.microsoft.com/office/drawing/2014/main" id="{7FF45C79-0DB7-F01D-19D1-F970D1506D1F}"/>
              </a:ext>
            </a:extLst>
          </p:cNvPr>
          <p:cNvSpPr/>
          <p:nvPr/>
        </p:nvSpPr>
        <p:spPr>
          <a:xfrm rot="5400000">
            <a:off x="3168311" y="240754"/>
            <a:ext cx="333208" cy="2515276"/>
          </a:xfrm>
          <a:prstGeom prst="leftBrace">
            <a:avLst>
              <a:gd name="adj1" fmla="val 0"/>
              <a:gd name="adj2" fmla="val 50000"/>
            </a:avLst>
          </a:prstGeom>
        </p:spPr>
        <p:style>
          <a:lnRef idx="2">
            <a:schemeClr val="accent3"/>
          </a:lnRef>
          <a:fillRef idx="0">
            <a:schemeClr val="accent3"/>
          </a:fillRef>
          <a:effectRef idx="1">
            <a:schemeClr val="accent3"/>
          </a:effectRef>
          <a:fontRef idx="minor">
            <a:schemeClr val="tx1"/>
          </a:fontRef>
        </p:style>
        <p:txBody>
          <a:bodyPr rtlCol="0" anchor="ctr"/>
          <a:lstStyle/>
          <a:p>
            <a:pPr algn="ctr"/>
            <a:endParaRPr lang="es-PE"/>
          </a:p>
        </p:txBody>
      </p:sp>
      <p:sp>
        <p:nvSpPr>
          <p:cNvPr id="51" name="Abrir llave 50">
            <a:extLst>
              <a:ext uri="{FF2B5EF4-FFF2-40B4-BE49-F238E27FC236}">
                <a16:creationId xmlns:a16="http://schemas.microsoft.com/office/drawing/2014/main" id="{88A6C9ED-FECE-6F6A-293F-ECE21C5EC16C}"/>
              </a:ext>
            </a:extLst>
          </p:cNvPr>
          <p:cNvSpPr/>
          <p:nvPr/>
        </p:nvSpPr>
        <p:spPr>
          <a:xfrm rot="5400000">
            <a:off x="5689804" y="295381"/>
            <a:ext cx="310988" cy="2404548"/>
          </a:xfrm>
          <a:prstGeom prst="leftBrace">
            <a:avLst>
              <a:gd name="adj1" fmla="val 0"/>
              <a:gd name="adj2" fmla="val 50000"/>
            </a:avLst>
          </a:prstGeom>
        </p:spPr>
        <p:style>
          <a:lnRef idx="2">
            <a:schemeClr val="accent3"/>
          </a:lnRef>
          <a:fillRef idx="0">
            <a:schemeClr val="accent3"/>
          </a:fillRef>
          <a:effectRef idx="1">
            <a:schemeClr val="accent3"/>
          </a:effectRef>
          <a:fontRef idx="minor">
            <a:schemeClr val="tx1"/>
          </a:fontRef>
        </p:style>
        <p:txBody>
          <a:bodyPr rtlCol="0" anchor="ctr"/>
          <a:lstStyle/>
          <a:p>
            <a:pPr algn="ctr"/>
            <a:endParaRPr lang="es-PE"/>
          </a:p>
        </p:txBody>
      </p:sp>
      <p:sp>
        <p:nvSpPr>
          <p:cNvPr id="52" name="Abrir llave 51">
            <a:extLst>
              <a:ext uri="{FF2B5EF4-FFF2-40B4-BE49-F238E27FC236}">
                <a16:creationId xmlns:a16="http://schemas.microsoft.com/office/drawing/2014/main" id="{A55B0563-FD5B-B6F8-AB35-C4BBF3B5C91D}"/>
              </a:ext>
            </a:extLst>
          </p:cNvPr>
          <p:cNvSpPr/>
          <p:nvPr/>
        </p:nvSpPr>
        <p:spPr>
          <a:xfrm rot="5400000">
            <a:off x="8200066" y="296118"/>
            <a:ext cx="310988" cy="2404548"/>
          </a:xfrm>
          <a:prstGeom prst="leftBrace">
            <a:avLst>
              <a:gd name="adj1" fmla="val 0"/>
              <a:gd name="adj2" fmla="val 50000"/>
            </a:avLst>
          </a:prstGeom>
        </p:spPr>
        <p:style>
          <a:lnRef idx="2">
            <a:schemeClr val="accent3"/>
          </a:lnRef>
          <a:fillRef idx="0">
            <a:schemeClr val="accent3"/>
          </a:fillRef>
          <a:effectRef idx="1">
            <a:schemeClr val="accent3"/>
          </a:effectRef>
          <a:fontRef idx="minor">
            <a:schemeClr val="tx1"/>
          </a:fontRef>
        </p:style>
        <p:txBody>
          <a:bodyPr rtlCol="0" anchor="ctr"/>
          <a:lstStyle/>
          <a:p>
            <a:pPr algn="ctr"/>
            <a:endParaRPr lang="es-PE"/>
          </a:p>
        </p:txBody>
      </p:sp>
      <p:sp>
        <p:nvSpPr>
          <p:cNvPr id="53" name="Abrir llave 52">
            <a:extLst>
              <a:ext uri="{FF2B5EF4-FFF2-40B4-BE49-F238E27FC236}">
                <a16:creationId xmlns:a16="http://schemas.microsoft.com/office/drawing/2014/main" id="{69B01411-F439-0A4C-636B-1F6327AE8D27}"/>
              </a:ext>
            </a:extLst>
          </p:cNvPr>
          <p:cNvSpPr/>
          <p:nvPr/>
        </p:nvSpPr>
        <p:spPr>
          <a:xfrm rot="5400000">
            <a:off x="10701117" y="283725"/>
            <a:ext cx="310988" cy="2404548"/>
          </a:xfrm>
          <a:prstGeom prst="leftBrace">
            <a:avLst>
              <a:gd name="adj1" fmla="val 0"/>
              <a:gd name="adj2" fmla="val 50000"/>
            </a:avLst>
          </a:prstGeom>
        </p:spPr>
        <p:style>
          <a:lnRef idx="2">
            <a:schemeClr val="accent3"/>
          </a:lnRef>
          <a:fillRef idx="0">
            <a:schemeClr val="accent3"/>
          </a:fillRef>
          <a:effectRef idx="1">
            <a:schemeClr val="accent3"/>
          </a:effectRef>
          <a:fontRef idx="minor">
            <a:schemeClr val="tx1"/>
          </a:fontRef>
        </p:style>
        <p:txBody>
          <a:bodyPr rtlCol="0" anchor="ctr"/>
          <a:lstStyle/>
          <a:p>
            <a:pPr algn="ctr"/>
            <a:endParaRPr lang="es-PE"/>
          </a:p>
        </p:txBody>
      </p:sp>
      <p:sp>
        <p:nvSpPr>
          <p:cNvPr id="54" name="CuadroTexto 53">
            <a:extLst>
              <a:ext uri="{FF2B5EF4-FFF2-40B4-BE49-F238E27FC236}">
                <a16:creationId xmlns:a16="http://schemas.microsoft.com/office/drawing/2014/main" id="{F5B4A41F-D848-25E6-C7D0-799055C576BA}"/>
              </a:ext>
            </a:extLst>
          </p:cNvPr>
          <p:cNvSpPr txBox="1"/>
          <p:nvPr/>
        </p:nvSpPr>
        <p:spPr>
          <a:xfrm>
            <a:off x="3084410" y="1022728"/>
            <a:ext cx="492443" cy="307777"/>
          </a:xfrm>
          <a:prstGeom prst="rect">
            <a:avLst/>
          </a:prstGeom>
          <a:noFill/>
        </p:spPr>
        <p:txBody>
          <a:bodyPr wrap="none" rtlCol="0">
            <a:spAutoFit/>
          </a:bodyPr>
          <a:lstStyle/>
          <a:p>
            <a:r>
              <a:rPr lang="es-MX" sz="1400" b="1">
                <a:solidFill>
                  <a:schemeClr val="bg2"/>
                </a:solidFill>
              </a:rPr>
              <a:t>DEV</a:t>
            </a:r>
            <a:endParaRPr lang="es-PE" sz="1400" b="1">
              <a:solidFill>
                <a:schemeClr val="bg2"/>
              </a:solidFill>
            </a:endParaRPr>
          </a:p>
        </p:txBody>
      </p:sp>
      <p:sp>
        <p:nvSpPr>
          <p:cNvPr id="55" name="CuadroTexto 54">
            <a:extLst>
              <a:ext uri="{FF2B5EF4-FFF2-40B4-BE49-F238E27FC236}">
                <a16:creationId xmlns:a16="http://schemas.microsoft.com/office/drawing/2014/main" id="{4E59B1F9-6CDA-2FBC-AAB1-600D24B0E77F}"/>
              </a:ext>
            </a:extLst>
          </p:cNvPr>
          <p:cNvSpPr txBox="1"/>
          <p:nvPr/>
        </p:nvSpPr>
        <p:spPr>
          <a:xfrm>
            <a:off x="5581315" y="1074589"/>
            <a:ext cx="527965" cy="307777"/>
          </a:xfrm>
          <a:prstGeom prst="rect">
            <a:avLst/>
          </a:prstGeom>
          <a:noFill/>
        </p:spPr>
        <p:txBody>
          <a:bodyPr wrap="none" rtlCol="0">
            <a:spAutoFit/>
          </a:bodyPr>
          <a:lstStyle/>
          <a:p>
            <a:r>
              <a:rPr lang="es-MX" sz="1400" b="1">
                <a:solidFill>
                  <a:schemeClr val="bg2"/>
                </a:solidFill>
              </a:rPr>
              <a:t>TEST</a:t>
            </a:r>
            <a:endParaRPr lang="es-PE" sz="1400" b="1">
              <a:solidFill>
                <a:schemeClr val="bg2"/>
              </a:solidFill>
            </a:endParaRPr>
          </a:p>
        </p:txBody>
      </p:sp>
      <p:sp>
        <p:nvSpPr>
          <p:cNvPr id="56" name="CuadroTexto 55">
            <a:extLst>
              <a:ext uri="{FF2B5EF4-FFF2-40B4-BE49-F238E27FC236}">
                <a16:creationId xmlns:a16="http://schemas.microsoft.com/office/drawing/2014/main" id="{FCA0D8A2-E174-398B-4FB8-0BAF887D45BF}"/>
              </a:ext>
            </a:extLst>
          </p:cNvPr>
          <p:cNvSpPr txBox="1"/>
          <p:nvPr/>
        </p:nvSpPr>
        <p:spPr>
          <a:xfrm>
            <a:off x="7948385" y="1079381"/>
            <a:ext cx="904799" cy="307777"/>
          </a:xfrm>
          <a:prstGeom prst="rect">
            <a:avLst/>
          </a:prstGeom>
          <a:noFill/>
        </p:spPr>
        <p:txBody>
          <a:bodyPr wrap="none" rtlCol="0">
            <a:spAutoFit/>
          </a:bodyPr>
          <a:lstStyle/>
          <a:p>
            <a:r>
              <a:rPr lang="es-MX" sz="1400" b="1">
                <a:solidFill>
                  <a:schemeClr val="bg2"/>
                </a:solidFill>
              </a:rPr>
              <a:t>E2E / UAT</a:t>
            </a:r>
            <a:endParaRPr lang="es-PE" sz="1400" b="1">
              <a:solidFill>
                <a:schemeClr val="bg2"/>
              </a:solidFill>
            </a:endParaRPr>
          </a:p>
        </p:txBody>
      </p:sp>
      <p:sp>
        <p:nvSpPr>
          <p:cNvPr id="58" name="CuadroTexto 57">
            <a:extLst>
              <a:ext uri="{FF2B5EF4-FFF2-40B4-BE49-F238E27FC236}">
                <a16:creationId xmlns:a16="http://schemas.microsoft.com/office/drawing/2014/main" id="{92F7F43B-05EC-EEEB-85DA-4C91E0C2877E}"/>
              </a:ext>
            </a:extLst>
          </p:cNvPr>
          <p:cNvSpPr txBox="1"/>
          <p:nvPr/>
        </p:nvSpPr>
        <p:spPr>
          <a:xfrm>
            <a:off x="10423704" y="1084462"/>
            <a:ext cx="865814" cy="307777"/>
          </a:xfrm>
          <a:prstGeom prst="rect">
            <a:avLst/>
          </a:prstGeom>
          <a:noFill/>
        </p:spPr>
        <p:txBody>
          <a:bodyPr wrap="none" rtlCol="0">
            <a:spAutoFit/>
          </a:bodyPr>
          <a:lstStyle/>
          <a:p>
            <a:r>
              <a:rPr lang="es-MX" sz="1400" b="1">
                <a:solidFill>
                  <a:schemeClr val="bg2"/>
                </a:solidFill>
              </a:rPr>
              <a:t>DRY RUN</a:t>
            </a:r>
            <a:endParaRPr lang="es-PE" sz="1400" b="1">
              <a:solidFill>
                <a:schemeClr val="bg2"/>
              </a:solidFill>
            </a:endParaRPr>
          </a:p>
        </p:txBody>
      </p:sp>
      <p:sp>
        <p:nvSpPr>
          <p:cNvPr id="2" name="Rectángulo 1">
            <a:extLst>
              <a:ext uri="{FF2B5EF4-FFF2-40B4-BE49-F238E27FC236}">
                <a16:creationId xmlns:a16="http://schemas.microsoft.com/office/drawing/2014/main" id="{21CD6CE7-198C-079C-E140-E25162735ED5}"/>
              </a:ext>
            </a:extLst>
          </p:cNvPr>
          <p:cNvSpPr/>
          <p:nvPr/>
        </p:nvSpPr>
        <p:spPr>
          <a:xfrm>
            <a:off x="359937" y="1729878"/>
            <a:ext cx="1440000" cy="720000"/>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s-MX" sz="1400" b="1">
                <a:solidFill>
                  <a:srgbClr val="212121"/>
                </a:solidFill>
                <a:latin typeface="Santander Text" panose="020B0504020201020104" pitchFamily="34" charset="0"/>
              </a:rPr>
              <a:t>MIDDLEWARE</a:t>
            </a:r>
          </a:p>
        </p:txBody>
      </p:sp>
      <p:sp>
        <p:nvSpPr>
          <p:cNvPr id="3" name="Rectángulo 2">
            <a:extLst>
              <a:ext uri="{FF2B5EF4-FFF2-40B4-BE49-F238E27FC236}">
                <a16:creationId xmlns:a16="http://schemas.microsoft.com/office/drawing/2014/main" id="{D00493F8-E786-8901-E0C8-C7A7EB60B7D5}"/>
              </a:ext>
            </a:extLst>
          </p:cNvPr>
          <p:cNvSpPr/>
          <p:nvPr/>
        </p:nvSpPr>
        <p:spPr>
          <a:xfrm>
            <a:off x="359937" y="2686499"/>
            <a:ext cx="1440000" cy="720000"/>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s-MX" sz="1400" b="1">
                <a:solidFill>
                  <a:srgbClr val="212121"/>
                </a:solidFill>
                <a:latin typeface="Santander Text" panose="020B0504020201020104" pitchFamily="34" charset="0"/>
              </a:rPr>
              <a:t>APIS GLOBALES</a:t>
            </a:r>
          </a:p>
        </p:txBody>
      </p:sp>
      <p:sp>
        <p:nvSpPr>
          <p:cNvPr id="6" name="Rectángulo 5">
            <a:extLst>
              <a:ext uri="{FF2B5EF4-FFF2-40B4-BE49-F238E27FC236}">
                <a16:creationId xmlns:a16="http://schemas.microsoft.com/office/drawing/2014/main" id="{BE4F7B49-499B-429D-108D-5AB0FEA03C21}"/>
              </a:ext>
            </a:extLst>
          </p:cNvPr>
          <p:cNvSpPr/>
          <p:nvPr/>
        </p:nvSpPr>
        <p:spPr>
          <a:xfrm>
            <a:off x="359937" y="3628272"/>
            <a:ext cx="1440000" cy="720000"/>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s-MX" sz="1400" b="1">
                <a:solidFill>
                  <a:srgbClr val="212121"/>
                </a:solidFill>
                <a:latin typeface="Santander Text" panose="020B0504020201020104" pitchFamily="34" charset="0"/>
              </a:rPr>
              <a:t>CORE</a:t>
            </a:r>
          </a:p>
        </p:txBody>
      </p:sp>
      <p:sp>
        <p:nvSpPr>
          <p:cNvPr id="7" name="Rectángulo 6">
            <a:extLst>
              <a:ext uri="{FF2B5EF4-FFF2-40B4-BE49-F238E27FC236}">
                <a16:creationId xmlns:a16="http://schemas.microsoft.com/office/drawing/2014/main" id="{EB6555BF-BFEB-C08E-EE9F-EC945E0CE49A}"/>
              </a:ext>
            </a:extLst>
          </p:cNvPr>
          <p:cNvSpPr/>
          <p:nvPr/>
        </p:nvSpPr>
        <p:spPr>
          <a:xfrm>
            <a:off x="359937" y="4525047"/>
            <a:ext cx="1440000" cy="720000"/>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s-MX" sz="1400" b="1">
                <a:solidFill>
                  <a:srgbClr val="212121"/>
                </a:solidFill>
                <a:latin typeface="Santander Text" panose="020B0504020201020104" pitchFamily="34" charset="0"/>
              </a:rPr>
              <a:t>AGREGADOR</a:t>
            </a:r>
            <a:endParaRPr lang="es-MX" sz="700" b="1">
              <a:solidFill>
                <a:srgbClr val="212121"/>
              </a:solidFill>
              <a:latin typeface="Santander Text" panose="020B0504020201020104" pitchFamily="34" charset="0"/>
            </a:endParaRPr>
          </a:p>
        </p:txBody>
      </p:sp>
      <p:sp>
        <p:nvSpPr>
          <p:cNvPr id="9" name="Rectángulo 8">
            <a:extLst>
              <a:ext uri="{FF2B5EF4-FFF2-40B4-BE49-F238E27FC236}">
                <a16:creationId xmlns:a16="http://schemas.microsoft.com/office/drawing/2014/main" id="{94BC3258-8366-0B2F-6D73-ECA7BE25F92C}"/>
              </a:ext>
            </a:extLst>
          </p:cNvPr>
          <p:cNvSpPr/>
          <p:nvPr/>
        </p:nvSpPr>
        <p:spPr>
          <a:xfrm>
            <a:off x="359937" y="5486771"/>
            <a:ext cx="1440000" cy="720000"/>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s-MX" sz="1400" b="1">
                <a:solidFill>
                  <a:srgbClr val="212121"/>
                </a:solidFill>
                <a:latin typeface="Santander Text" panose="020B0504020201020104" pitchFamily="34" charset="0"/>
              </a:rPr>
              <a:t>CCE</a:t>
            </a:r>
            <a:br>
              <a:rPr lang="es-MX" sz="1400" b="1">
                <a:solidFill>
                  <a:srgbClr val="212121"/>
                </a:solidFill>
                <a:latin typeface="Santander Text" panose="020B0504020201020104" pitchFamily="34" charset="0"/>
              </a:rPr>
            </a:br>
            <a:r>
              <a:rPr lang="es-MX" sz="1400" b="1">
                <a:solidFill>
                  <a:srgbClr val="212121"/>
                </a:solidFill>
                <a:latin typeface="Santander Text" panose="020B0504020201020104" pitchFamily="34" charset="0"/>
              </a:rPr>
              <a:t>LBTR</a:t>
            </a:r>
          </a:p>
        </p:txBody>
      </p:sp>
      <p:cxnSp>
        <p:nvCxnSpPr>
          <p:cNvPr id="13" name="Conector recto 12">
            <a:extLst>
              <a:ext uri="{FF2B5EF4-FFF2-40B4-BE49-F238E27FC236}">
                <a16:creationId xmlns:a16="http://schemas.microsoft.com/office/drawing/2014/main" id="{5E25BB88-81B0-E252-75E3-B911010F8B32}"/>
              </a:ext>
            </a:extLst>
          </p:cNvPr>
          <p:cNvCxnSpPr>
            <a:cxnSpLocks/>
          </p:cNvCxnSpPr>
          <p:nvPr/>
        </p:nvCxnSpPr>
        <p:spPr>
          <a:xfrm>
            <a:off x="359937" y="3522236"/>
            <a:ext cx="11698948" cy="0"/>
          </a:xfrm>
          <a:prstGeom prst="line">
            <a:avLst/>
          </a:prstGeom>
          <a:ln w="19050"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 name="Conector recto 14">
            <a:extLst>
              <a:ext uri="{FF2B5EF4-FFF2-40B4-BE49-F238E27FC236}">
                <a16:creationId xmlns:a16="http://schemas.microsoft.com/office/drawing/2014/main" id="{CA48EB59-CC7D-F3BF-B30E-64EED0309738}"/>
              </a:ext>
            </a:extLst>
          </p:cNvPr>
          <p:cNvCxnSpPr>
            <a:cxnSpLocks/>
          </p:cNvCxnSpPr>
          <p:nvPr/>
        </p:nvCxnSpPr>
        <p:spPr>
          <a:xfrm>
            <a:off x="359937" y="4441508"/>
            <a:ext cx="11698948" cy="0"/>
          </a:xfrm>
          <a:prstGeom prst="line">
            <a:avLst/>
          </a:prstGeom>
          <a:ln w="19050"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0" name="Rectángulo: esquinas redondeadas 29">
            <a:extLst>
              <a:ext uri="{FF2B5EF4-FFF2-40B4-BE49-F238E27FC236}">
                <a16:creationId xmlns:a16="http://schemas.microsoft.com/office/drawing/2014/main" id="{7A34BE44-311C-6F49-5039-6BEC963C57F3}"/>
              </a:ext>
            </a:extLst>
          </p:cNvPr>
          <p:cNvSpPr/>
          <p:nvPr/>
        </p:nvSpPr>
        <p:spPr>
          <a:xfrm>
            <a:off x="2769070" y="1780733"/>
            <a:ext cx="1123122" cy="57234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ODS</a:t>
            </a:r>
          </a:p>
          <a:p>
            <a:pPr algn="ctr"/>
            <a:r>
              <a:rPr lang="es-MX"/>
              <a:t>DEV</a:t>
            </a:r>
            <a:endParaRPr lang="es-PE"/>
          </a:p>
        </p:txBody>
      </p:sp>
      <p:sp>
        <p:nvSpPr>
          <p:cNvPr id="35" name="Rectángulo: esquinas redondeadas 34">
            <a:extLst>
              <a:ext uri="{FF2B5EF4-FFF2-40B4-BE49-F238E27FC236}">
                <a16:creationId xmlns:a16="http://schemas.microsoft.com/office/drawing/2014/main" id="{E1A56B89-F357-C3D7-456D-DC213C9E3A35}"/>
              </a:ext>
            </a:extLst>
          </p:cNvPr>
          <p:cNvSpPr/>
          <p:nvPr/>
        </p:nvSpPr>
        <p:spPr>
          <a:xfrm>
            <a:off x="5292948" y="1780733"/>
            <a:ext cx="1123122" cy="57234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ODS</a:t>
            </a:r>
          </a:p>
          <a:p>
            <a:pPr algn="ctr"/>
            <a:r>
              <a:rPr lang="es-MX"/>
              <a:t>QA</a:t>
            </a:r>
            <a:endParaRPr lang="es-PE"/>
          </a:p>
        </p:txBody>
      </p:sp>
      <p:sp>
        <p:nvSpPr>
          <p:cNvPr id="40" name="Rectángulo: esquinas redondeadas 39">
            <a:extLst>
              <a:ext uri="{FF2B5EF4-FFF2-40B4-BE49-F238E27FC236}">
                <a16:creationId xmlns:a16="http://schemas.microsoft.com/office/drawing/2014/main" id="{A4F0A96A-9D73-0872-D836-10996F86862A}"/>
              </a:ext>
            </a:extLst>
          </p:cNvPr>
          <p:cNvSpPr/>
          <p:nvPr/>
        </p:nvSpPr>
        <p:spPr>
          <a:xfrm>
            <a:off x="7792182" y="1785335"/>
            <a:ext cx="1123122" cy="57234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ODS</a:t>
            </a:r>
          </a:p>
          <a:p>
            <a:pPr algn="ctr"/>
            <a:r>
              <a:rPr lang="es-MX"/>
              <a:t>PRE</a:t>
            </a:r>
            <a:endParaRPr lang="es-PE"/>
          </a:p>
        </p:txBody>
      </p:sp>
      <p:cxnSp>
        <p:nvCxnSpPr>
          <p:cNvPr id="42" name="Conector recto de flecha 41">
            <a:extLst>
              <a:ext uri="{FF2B5EF4-FFF2-40B4-BE49-F238E27FC236}">
                <a16:creationId xmlns:a16="http://schemas.microsoft.com/office/drawing/2014/main" id="{46758226-8943-7659-C842-FA8A28944D07}"/>
              </a:ext>
            </a:extLst>
          </p:cNvPr>
          <p:cNvCxnSpPr>
            <a:cxnSpLocks/>
            <a:stCxn id="2" idx="3"/>
            <a:endCxn id="30" idx="1"/>
          </p:cNvCxnSpPr>
          <p:nvPr/>
        </p:nvCxnSpPr>
        <p:spPr>
          <a:xfrm flipV="1">
            <a:off x="1799937" y="2066906"/>
            <a:ext cx="969133" cy="0"/>
          </a:xfrm>
          <a:prstGeom prst="straightConnector1">
            <a:avLst/>
          </a:prstGeom>
          <a:ln w="19050">
            <a:prstDash val="dash"/>
            <a:tailEnd type="triangle"/>
          </a:ln>
        </p:spPr>
        <p:style>
          <a:lnRef idx="1">
            <a:schemeClr val="accent5"/>
          </a:lnRef>
          <a:fillRef idx="0">
            <a:schemeClr val="accent5"/>
          </a:fillRef>
          <a:effectRef idx="0">
            <a:schemeClr val="accent5"/>
          </a:effectRef>
          <a:fontRef idx="minor">
            <a:schemeClr val="tx1"/>
          </a:fontRef>
        </p:style>
      </p:cxnSp>
      <p:cxnSp>
        <p:nvCxnSpPr>
          <p:cNvPr id="49" name="Conector recto de flecha 48">
            <a:extLst>
              <a:ext uri="{FF2B5EF4-FFF2-40B4-BE49-F238E27FC236}">
                <a16:creationId xmlns:a16="http://schemas.microsoft.com/office/drawing/2014/main" id="{BC5D8504-0AD5-9DE5-6ED5-0A4C2E2C5216}"/>
              </a:ext>
            </a:extLst>
          </p:cNvPr>
          <p:cNvCxnSpPr>
            <a:cxnSpLocks/>
            <a:stCxn id="30" idx="3"/>
            <a:endCxn id="35" idx="1"/>
          </p:cNvCxnSpPr>
          <p:nvPr/>
        </p:nvCxnSpPr>
        <p:spPr>
          <a:xfrm>
            <a:off x="3892192" y="2066906"/>
            <a:ext cx="1400756" cy="0"/>
          </a:xfrm>
          <a:prstGeom prst="straightConnector1">
            <a:avLst/>
          </a:prstGeom>
          <a:ln w="19050">
            <a:prstDash val="dash"/>
            <a:tailEnd type="triangle"/>
          </a:ln>
        </p:spPr>
        <p:style>
          <a:lnRef idx="1">
            <a:schemeClr val="accent5"/>
          </a:lnRef>
          <a:fillRef idx="0">
            <a:schemeClr val="accent5"/>
          </a:fillRef>
          <a:effectRef idx="0">
            <a:schemeClr val="accent5"/>
          </a:effectRef>
          <a:fontRef idx="minor">
            <a:schemeClr val="tx1"/>
          </a:fontRef>
        </p:style>
      </p:cxnSp>
      <p:cxnSp>
        <p:nvCxnSpPr>
          <p:cNvPr id="50" name="Conector recto de flecha 49">
            <a:extLst>
              <a:ext uri="{FF2B5EF4-FFF2-40B4-BE49-F238E27FC236}">
                <a16:creationId xmlns:a16="http://schemas.microsoft.com/office/drawing/2014/main" id="{4F895A6C-8A04-41C2-7F11-92DA5BAE0698}"/>
              </a:ext>
            </a:extLst>
          </p:cNvPr>
          <p:cNvCxnSpPr>
            <a:cxnSpLocks/>
            <a:stCxn id="35" idx="3"/>
            <a:endCxn id="40" idx="1"/>
          </p:cNvCxnSpPr>
          <p:nvPr/>
        </p:nvCxnSpPr>
        <p:spPr>
          <a:xfrm>
            <a:off x="6416070" y="2066906"/>
            <a:ext cx="1376112" cy="0"/>
          </a:xfrm>
          <a:prstGeom prst="straightConnector1">
            <a:avLst/>
          </a:prstGeom>
          <a:ln w="19050">
            <a:prstDash val="dash"/>
            <a:tailEnd type="triangle"/>
          </a:ln>
        </p:spPr>
        <p:style>
          <a:lnRef idx="1">
            <a:schemeClr val="accent5"/>
          </a:lnRef>
          <a:fillRef idx="0">
            <a:schemeClr val="accent5"/>
          </a:fillRef>
          <a:effectRef idx="0">
            <a:schemeClr val="accent5"/>
          </a:effectRef>
          <a:fontRef idx="minor">
            <a:schemeClr val="tx1"/>
          </a:fontRef>
        </p:style>
      </p:cxnSp>
      <p:sp>
        <p:nvSpPr>
          <p:cNvPr id="1035" name="Rectángulo: esquinas redondeadas 1034">
            <a:extLst>
              <a:ext uri="{FF2B5EF4-FFF2-40B4-BE49-F238E27FC236}">
                <a16:creationId xmlns:a16="http://schemas.microsoft.com/office/drawing/2014/main" id="{A2204310-97A5-7682-E4E1-6B8C9553C023}"/>
              </a:ext>
            </a:extLst>
          </p:cNvPr>
          <p:cNvSpPr/>
          <p:nvPr/>
        </p:nvSpPr>
        <p:spPr>
          <a:xfrm>
            <a:off x="2769070" y="2756525"/>
            <a:ext cx="1123122" cy="57234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DEV</a:t>
            </a:r>
            <a:endParaRPr lang="es-PE"/>
          </a:p>
        </p:txBody>
      </p:sp>
      <p:sp>
        <p:nvSpPr>
          <p:cNvPr id="1037" name="Rectángulo: esquinas redondeadas 1036">
            <a:extLst>
              <a:ext uri="{FF2B5EF4-FFF2-40B4-BE49-F238E27FC236}">
                <a16:creationId xmlns:a16="http://schemas.microsoft.com/office/drawing/2014/main" id="{80188C76-A5CB-C9C5-1285-7506D962755A}"/>
              </a:ext>
            </a:extLst>
          </p:cNvPr>
          <p:cNvSpPr/>
          <p:nvPr/>
        </p:nvSpPr>
        <p:spPr>
          <a:xfrm>
            <a:off x="4906979" y="2762298"/>
            <a:ext cx="817960" cy="57234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TEST -QA</a:t>
            </a:r>
            <a:endParaRPr lang="es-PE"/>
          </a:p>
        </p:txBody>
      </p:sp>
      <p:sp>
        <p:nvSpPr>
          <p:cNvPr id="1038" name="Rectángulo: esquinas redondeadas 1037">
            <a:extLst>
              <a:ext uri="{FF2B5EF4-FFF2-40B4-BE49-F238E27FC236}">
                <a16:creationId xmlns:a16="http://schemas.microsoft.com/office/drawing/2014/main" id="{43B9DC1C-12FD-0619-39CA-CFB80CE25EE6}"/>
              </a:ext>
            </a:extLst>
          </p:cNvPr>
          <p:cNvSpPr/>
          <p:nvPr/>
        </p:nvSpPr>
        <p:spPr>
          <a:xfrm>
            <a:off x="6109280" y="2766463"/>
            <a:ext cx="817960" cy="572346"/>
          </a:xfrm>
          <a:prstGeom prst="roundRect">
            <a:avLst/>
          </a:prstGeom>
          <a:solidFill>
            <a:srgbClr val="FFC000"/>
          </a:solidFill>
          <a:ln>
            <a:solidFill>
              <a:srgbClr val="00B0F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solidFill>
                  <a:schemeClr val="tx2">
                    <a:lumMod val="50000"/>
                  </a:schemeClr>
                </a:solidFill>
              </a:rPr>
              <a:t>UAT’</a:t>
            </a:r>
            <a:endParaRPr lang="es-PE">
              <a:solidFill>
                <a:schemeClr val="tx2">
                  <a:lumMod val="50000"/>
                </a:schemeClr>
              </a:solidFill>
            </a:endParaRPr>
          </a:p>
        </p:txBody>
      </p:sp>
      <p:sp>
        <p:nvSpPr>
          <p:cNvPr id="1039" name="Rectángulo: esquinas redondeadas 1038">
            <a:extLst>
              <a:ext uri="{FF2B5EF4-FFF2-40B4-BE49-F238E27FC236}">
                <a16:creationId xmlns:a16="http://schemas.microsoft.com/office/drawing/2014/main" id="{42F02BB8-466E-8ADE-F5DC-D13380618109}"/>
              </a:ext>
            </a:extLst>
          </p:cNvPr>
          <p:cNvSpPr/>
          <p:nvPr/>
        </p:nvSpPr>
        <p:spPr>
          <a:xfrm>
            <a:off x="7792182" y="2759399"/>
            <a:ext cx="1123122" cy="57234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UAT</a:t>
            </a:r>
            <a:endParaRPr lang="es-PE"/>
          </a:p>
        </p:txBody>
      </p:sp>
      <p:sp>
        <p:nvSpPr>
          <p:cNvPr id="1040" name="Rectángulo: esquinas redondeadas 1039">
            <a:extLst>
              <a:ext uri="{FF2B5EF4-FFF2-40B4-BE49-F238E27FC236}">
                <a16:creationId xmlns:a16="http://schemas.microsoft.com/office/drawing/2014/main" id="{D96A2290-B07E-D427-551F-3E46CC635E92}"/>
              </a:ext>
            </a:extLst>
          </p:cNvPr>
          <p:cNvSpPr/>
          <p:nvPr/>
        </p:nvSpPr>
        <p:spPr>
          <a:xfrm>
            <a:off x="2769070" y="3688498"/>
            <a:ext cx="1123122" cy="57234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DEV</a:t>
            </a:r>
            <a:endParaRPr lang="es-PE"/>
          </a:p>
        </p:txBody>
      </p:sp>
      <p:sp>
        <p:nvSpPr>
          <p:cNvPr id="1041" name="Rectángulo: esquinas redondeadas 1040">
            <a:extLst>
              <a:ext uri="{FF2B5EF4-FFF2-40B4-BE49-F238E27FC236}">
                <a16:creationId xmlns:a16="http://schemas.microsoft.com/office/drawing/2014/main" id="{9F7914AC-FB6D-2290-28FA-E3D3AA009705}"/>
              </a:ext>
            </a:extLst>
          </p:cNvPr>
          <p:cNvSpPr/>
          <p:nvPr/>
        </p:nvSpPr>
        <p:spPr>
          <a:xfrm>
            <a:off x="5292948" y="3695444"/>
            <a:ext cx="1123122" cy="57234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TEST</a:t>
            </a:r>
            <a:endParaRPr lang="es-PE"/>
          </a:p>
        </p:txBody>
      </p:sp>
      <p:sp>
        <p:nvSpPr>
          <p:cNvPr id="1043" name="Rectángulo: esquinas redondeadas 1042">
            <a:extLst>
              <a:ext uri="{FF2B5EF4-FFF2-40B4-BE49-F238E27FC236}">
                <a16:creationId xmlns:a16="http://schemas.microsoft.com/office/drawing/2014/main" id="{8C82367F-D5B8-E135-BA49-950C6ED27E2D}"/>
              </a:ext>
            </a:extLst>
          </p:cNvPr>
          <p:cNvSpPr/>
          <p:nvPr/>
        </p:nvSpPr>
        <p:spPr>
          <a:xfrm>
            <a:off x="7792182" y="3688498"/>
            <a:ext cx="1123122" cy="57234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UAT</a:t>
            </a:r>
            <a:endParaRPr lang="es-PE"/>
          </a:p>
        </p:txBody>
      </p:sp>
      <p:sp>
        <p:nvSpPr>
          <p:cNvPr id="1044" name="Rectángulo: esquinas redondeadas 1043">
            <a:extLst>
              <a:ext uri="{FF2B5EF4-FFF2-40B4-BE49-F238E27FC236}">
                <a16:creationId xmlns:a16="http://schemas.microsoft.com/office/drawing/2014/main" id="{37B405A8-A3F4-1EFB-2374-2D1794D70472}"/>
              </a:ext>
            </a:extLst>
          </p:cNvPr>
          <p:cNvSpPr/>
          <p:nvPr/>
        </p:nvSpPr>
        <p:spPr>
          <a:xfrm>
            <a:off x="7792182" y="5087309"/>
            <a:ext cx="1123122" cy="57234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UAT</a:t>
            </a:r>
            <a:endParaRPr lang="es-PE"/>
          </a:p>
        </p:txBody>
      </p:sp>
      <p:sp>
        <p:nvSpPr>
          <p:cNvPr id="1045" name="Rectángulo: esquinas redondeadas 1044">
            <a:extLst>
              <a:ext uri="{FF2B5EF4-FFF2-40B4-BE49-F238E27FC236}">
                <a16:creationId xmlns:a16="http://schemas.microsoft.com/office/drawing/2014/main" id="{875F2B2F-76C2-08EF-6F2B-475533A07A12}"/>
              </a:ext>
            </a:extLst>
          </p:cNvPr>
          <p:cNvSpPr/>
          <p:nvPr/>
        </p:nvSpPr>
        <p:spPr>
          <a:xfrm>
            <a:off x="10422454" y="1780734"/>
            <a:ext cx="1123122" cy="3878921"/>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t>PROD</a:t>
            </a:r>
            <a:endParaRPr lang="es-PE"/>
          </a:p>
        </p:txBody>
      </p:sp>
      <p:cxnSp>
        <p:nvCxnSpPr>
          <p:cNvPr id="1046" name="Conector recto de flecha 1045">
            <a:extLst>
              <a:ext uri="{FF2B5EF4-FFF2-40B4-BE49-F238E27FC236}">
                <a16:creationId xmlns:a16="http://schemas.microsoft.com/office/drawing/2014/main" id="{FDC0D834-F2DB-5DAE-CD86-67282AB9FDC1}"/>
              </a:ext>
            </a:extLst>
          </p:cNvPr>
          <p:cNvCxnSpPr>
            <a:cxnSpLocks/>
          </p:cNvCxnSpPr>
          <p:nvPr/>
        </p:nvCxnSpPr>
        <p:spPr>
          <a:xfrm flipV="1">
            <a:off x="1799937" y="3042698"/>
            <a:ext cx="969133" cy="0"/>
          </a:xfrm>
          <a:prstGeom prst="straightConnector1">
            <a:avLst/>
          </a:prstGeom>
          <a:ln w="19050">
            <a:prstDash val="dash"/>
            <a:tailEnd type="triangle"/>
          </a:ln>
        </p:spPr>
        <p:style>
          <a:lnRef idx="1">
            <a:schemeClr val="accent5"/>
          </a:lnRef>
          <a:fillRef idx="0">
            <a:schemeClr val="accent5"/>
          </a:fillRef>
          <a:effectRef idx="0">
            <a:schemeClr val="accent5"/>
          </a:effectRef>
          <a:fontRef idx="minor">
            <a:schemeClr val="tx1"/>
          </a:fontRef>
        </p:style>
      </p:cxnSp>
      <p:cxnSp>
        <p:nvCxnSpPr>
          <p:cNvPr id="1047" name="Conector recto de flecha 1046">
            <a:extLst>
              <a:ext uri="{FF2B5EF4-FFF2-40B4-BE49-F238E27FC236}">
                <a16:creationId xmlns:a16="http://schemas.microsoft.com/office/drawing/2014/main" id="{751E5671-2D06-E735-53C2-3BF5911592EC}"/>
              </a:ext>
            </a:extLst>
          </p:cNvPr>
          <p:cNvCxnSpPr>
            <a:cxnSpLocks/>
          </p:cNvCxnSpPr>
          <p:nvPr/>
        </p:nvCxnSpPr>
        <p:spPr>
          <a:xfrm flipV="1">
            <a:off x="1799937" y="3988272"/>
            <a:ext cx="969133" cy="0"/>
          </a:xfrm>
          <a:prstGeom prst="straightConnector1">
            <a:avLst/>
          </a:prstGeom>
          <a:ln w="19050">
            <a:prstDash val="dash"/>
            <a:tailEnd type="triangle"/>
          </a:ln>
        </p:spPr>
        <p:style>
          <a:lnRef idx="1">
            <a:schemeClr val="accent5"/>
          </a:lnRef>
          <a:fillRef idx="0">
            <a:schemeClr val="accent5"/>
          </a:fillRef>
          <a:effectRef idx="0">
            <a:schemeClr val="accent5"/>
          </a:effectRef>
          <a:fontRef idx="minor">
            <a:schemeClr val="tx1"/>
          </a:fontRef>
        </p:style>
      </p:cxnSp>
      <p:cxnSp>
        <p:nvCxnSpPr>
          <p:cNvPr id="1048" name="Conector recto de flecha 1047">
            <a:extLst>
              <a:ext uri="{FF2B5EF4-FFF2-40B4-BE49-F238E27FC236}">
                <a16:creationId xmlns:a16="http://schemas.microsoft.com/office/drawing/2014/main" id="{ED285324-1786-D0A7-0568-4BD050F7F334}"/>
              </a:ext>
            </a:extLst>
          </p:cNvPr>
          <p:cNvCxnSpPr>
            <a:cxnSpLocks/>
            <a:endCxn id="1037" idx="1"/>
          </p:cNvCxnSpPr>
          <p:nvPr/>
        </p:nvCxnSpPr>
        <p:spPr>
          <a:xfrm>
            <a:off x="3892175" y="3035639"/>
            <a:ext cx="1014804" cy="0"/>
          </a:xfrm>
          <a:prstGeom prst="straightConnector1">
            <a:avLst/>
          </a:prstGeom>
          <a:ln w="19050">
            <a:prstDash val="dash"/>
            <a:tailEnd type="triangle"/>
          </a:ln>
        </p:spPr>
        <p:style>
          <a:lnRef idx="1">
            <a:schemeClr val="accent5"/>
          </a:lnRef>
          <a:fillRef idx="0">
            <a:schemeClr val="accent5"/>
          </a:fillRef>
          <a:effectRef idx="0">
            <a:schemeClr val="accent5"/>
          </a:effectRef>
          <a:fontRef idx="minor">
            <a:schemeClr val="tx1"/>
          </a:fontRef>
        </p:style>
      </p:cxnSp>
      <p:cxnSp>
        <p:nvCxnSpPr>
          <p:cNvPr id="1050" name="Conector recto de flecha 1049">
            <a:extLst>
              <a:ext uri="{FF2B5EF4-FFF2-40B4-BE49-F238E27FC236}">
                <a16:creationId xmlns:a16="http://schemas.microsoft.com/office/drawing/2014/main" id="{D9754A7E-AD2E-2000-53EA-211A78A37A56}"/>
              </a:ext>
            </a:extLst>
          </p:cNvPr>
          <p:cNvCxnSpPr>
            <a:cxnSpLocks/>
            <a:endCxn id="1038" idx="1"/>
          </p:cNvCxnSpPr>
          <p:nvPr/>
        </p:nvCxnSpPr>
        <p:spPr>
          <a:xfrm>
            <a:off x="5724939" y="3029223"/>
            <a:ext cx="384341" cy="0"/>
          </a:xfrm>
          <a:prstGeom prst="straightConnector1">
            <a:avLst/>
          </a:prstGeom>
          <a:ln w="38100" cap="flat" cmpd="sng" algn="ctr">
            <a:solidFill>
              <a:srgbClr val="00B0F0"/>
            </a:solidFill>
            <a:prstDash val="dashDot"/>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053" name="Conector recto de flecha 1052">
            <a:extLst>
              <a:ext uri="{FF2B5EF4-FFF2-40B4-BE49-F238E27FC236}">
                <a16:creationId xmlns:a16="http://schemas.microsoft.com/office/drawing/2014/main" id="{0018B7CC-EFC3-F5C2-E676-CB4178F7BF89}"/>
              </a:ext>
            </a:extLst>
          </p:cNvPr>
          <p:cNvCxnSpPr>
            <a:cxnSpLocks/>
            <a:endCxn id="1041" idx="1"/>
          </p:cNvCxnSpPr>
          <p:nvPr/>
        </p:nvCxnSpPr>
        <p:spPr>
          <a:xfrm>
            <a:off x="3882091" y="3981617"/>
            <a:ext cx="1410857" cy="0"/>
          </a:xfrm>
          <a:prstGeom prst="straightConnector1">
            <a:avLst/>
          </a:prstGeom>
          <a:ln w="19050">
            <a:prstDash val="dash"/>
            <a:tailEnd type="triangle"/>
          </a:ln>
        </p:spPr>
        <p:style>
          <a:lnRef idx="1">
            <a:schemeClr val="accent5"/>
          </a:lnRef>
          <a:fillRef idx="0">
            <a:schemeClr val="accent5"/>
          </a:fillRef>
          <a:effectRef idx="0">
            <a:schemeClr val="accent5"/>
          </a:effectRef>
          <a:fontRef idx="minor">
            <a:schemeClr val="tx1"/>
          </a:fontRef>
        </p:style>
      </p:cxnSp>
      <p:cxnSp>
        <p:nvCxnSpPr>
          <p:cNvPr id="1056" name="Conector recto de flecha 1055">
            <a:extLst>
              <a:ext uri="{FF2B5EF4-FFF2-40B4-BE49-F238E27FC236}">
                <a16:creationId xmlns:a16="http://schemas.microsoft.com/office/drawing/2014/main" id="{A3F1063F-7454-E417-D34D-A39F2143A49B}"/>
              </a:ext>
            </a:extLst>
          </p:cNvPr>
          <p:cNvCxnSpPr>
            <a:cxnSpLocks/>
          </p:cNvCxnSpPr>
          <p:nvPr/>
        </p:nvCxnSpPr>
        <p:spPr>
          <a:xfrm flipV="1">
            <a:off x="6407055" y="3988272"/>
            <a:ext cx="1385127" cy="0"/>
          </a:xfrm>
          <a:prstGeom prst="straightConnector1">
            <a:avLst/>
          </a:prstGeom>
          <a:ln w="19050">
            <a:prstDash val="dash"/>
            <a:tailEnd type="triangle"/>
          </a:ln>
        </p:spPr>
        <p:style>
          <a:lnRef idx="1">
            <a:schemeClr val="accent5"/>
          </a:lnRef>
          <a:fillRef idx="0">
            <a:schemeClr val="accent5"/>
          </a:fillRef>
          <a:effectRef idx="0">
            <a:schemeClr val="accent5"/>
          </a:effectRef>
          <a:fontRef idx="minor">
            <a:schemeClr val="tx1"/>
          </a:fontRef>
        </p:style>
      </p:cxnSp>
      <p:cxnSp>
        <p:nvCxnSpPr>
          <p:cNvPr id="1058" name="Conector recto de flecha 1057">
            <a:extLst>
              <a:ext uri="{FF2B5EF4-FFF2-40B4-BE49-F238E27FC236}">
                <a16:creationId xmlns:a16="http://schemas.microsoft.com/office/drawing/2014/main" id="{84A9A974-C136-4DDB-91FC-6F08D709B802}"/>
              </a:ext>
            </a:extLst>
          </p:cNvPr>
          <p:cNvCxnSpPr>
            <a:cxnSpLocks/>
            <a:endCxn id="1041" idx="0"/>
          </p:cNvCxnSpPr>
          <p:nvPr/>
        </p:nvCxnSpPr>
        <p:spPr>
          <a:xfrm flipH="1">
            <a:off x="5854509" y="3338809"/>
            <a:ext cx="663751" cy="356635"/>
          </a:xfrm>
          <a:prstGeom prst="straightConnector1">
            <a:avLst/>
          </a:prstGeom>
          <a:ln w="38100" cap="flat" cmpd="sng" algn="ctr">
            <a:solidFill>
              <a:srgbClr val="00B0F0"/>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061" name="Conector recto de flecha 1060">
            <a:extLst>
              <a:ext uri="{FF2B5EF4-FFF2-40B4-BE49-F238E27FC236}">
                <a16:creationId xmlns:a16="http://schemas.microsoft.com/office/drawing/2014/main" id="{E0770419-0E5F-64CA-A4ED-0B1B0272ABC4}"/>
              </a:ext>
            </a:extLst>
          </p:cNvPr>
          <p:cNvCxnSpPr>
            <a:cxnSpLocks/>
            <a:endCxn id="1039" idx="1"/>
          </p:cNvCxnSpPr>
          <p:nvPr/>
        </p:nvCxnSpPr>
        <p:spPr>
          <a:xfrm>
            <a:off x="6927240" y="3042698"/>
            <a:ext cx="864942" cy="2874"/>
          </a:xfrm>
          <a:prstGeom prst="straightConnector1">
            <a:avLst/>
          </a:prstGeom>
          <a:ln w="38100" cap="flat" cmpd="sng" algn="ctr">
            <a:solidFill>
              <a:srgbClr val="00B0F0"/>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065" name="Conector recto de flecha 1064">
            <a:extLst>
              <a:ext uri="{FF2B5EF4-FFF2-40B4-BE49-F238E27FC236}">
                <a16:creationId xmlns:a16="http://schemas.microsoft.com/office/drawing/2014/main" id="{B474F408-A819-0799-B6DC-8161F332D518}"/>
              </a:ext>
            </a:extLst>
          </p:cNvPr>
          <p:cNvCxnSpPr>
            <a:cxnSpLocks/>
          </p:cNvCxnSpPr>
          <p:nvPr/>
        </p:nvCxnSpPr>
        <p:spPr>
          <a:xfrm>
            <a:off x="8915304" y="2049908"/>
            <a:ext cx="1507150" cy="16998"/>
          </a:xfrm>
          <a:prstGeom prst="straightConnector1">
            <a:avLst/>
          </a:prstGeom>
          <a:ln w="19050">
            <a:prstDash val="dash"/>
            <a:tailEnd type="triangle"/>
          </a:ln>
        </p:spPr>
        <p:style>
          <a:lnRef idx="1">
            <a:schemeClr val="accent5"/>
          </a:lnRef>
          <a:fillRef idx="0">
            <a:schemeClr val="accent5"/>
          </a:fillRef>
          <a:effectRef idx="0">
            <a:schemeClr val="accent5"/>
          </a:effectRef>
          <a:fontRef idx="minor">
            <a:schemeClr val="tx1"/>
          </a:fontRef>
        </p:style>
      </p:cxnSp>
      <p:cxnSp>
        <p:nvCxnSpPr>
          <p:cNvPr id="1067" name="Conector recto de flecha 1066">
            <a:extLst>
              <a:ext uri="{FF2B5EF4-FFF2-40B4-BE49-F238E27FC236}">
                <a16:creationId xmlns:a16="http://schemas.microsoft.com/office/drawing/2014/main" id="{996B2BCF-6E23-B245-39D1-5420EDA5B374}"/>
              </a:ext>
            </a:extLst>
          </p:cNvPr>
          <p:cNvCxnSpPr>
            <a:cxnSpLocks/>
          </p:cNvCxnSpPr>
          <p:nvPr/>
        </p:nvCxnSpPr>
        <p:spPr>
          <a:xfrm>
            <a:off x="8915304" y="3046499"/>
            <a:ext cx="1507150" cy="16998"/>
          </a:xfrm>
          <a:prstGeom prst="straightConnector1">
            <a:avLst/>
          </a:prstGeom>
          <a:ln w="19050">
            <a:prstDash val="dash"/>
            <a:tailEnd type="triangle"/>
          </a:ln>
        </p:spPr>
        <p:style>
          <a:lnRef idx="1">
            <a:schemeClr val="accent5"/>
          </a:lnRef>
          <a:fillRef idx="0">
            <a:schemeClr val="accent5"/>
          </a:fillRef>
          <a:effectRef idx="0">
            <a:schemeClr val="accent5"/>
          </a:effectRef>
          <a:fontRef idx="minor">
            <a:schemeClr val="tx1"/>
          </a:fontRef>
        </p:style>
      </p:cxnSp>
      <p:cxnSp>
        <p:nvCxnSpPr>
          <p:cNvPr id="1068" name="Conector recto de flecha 1067">
            <a:extLst>
              <a:ext uri="{FF2B5EF4-FFF2-40B4-BE49-F238E27FC236}">
                <a16:creationId xmlns:a16="http://schemas.microsoft.com/office/drawing/2014/main" id="{1DDB7955-D214-0831-666A-C27E2F125509}"/>
              </a:ext>
            </a:extLst>
          </p:cNvPr>
          <p:cNvCxnSpPr>
            <a:cxnSpLocks/>
          </p:cNvCxnSpPr>
          <p:nvPr/>
        </p:nvCxnSpPr>
        <p:spPr>
          <a:xfrm>
            <a:off x="8915304" y="3950025"/>
            <a:ext cx="1507150" cy="16998"/>
          </a:xfrm>
          <a:prstGeom prst="straightConnector1">
            <a:avLst/>
          </a:prstGeom>
          <a:ln w="19050">
            <a:prstDash val="dash"/>
            <a:tailEnd type="triangle"/>
          </a:ln>
        </p:spPr>
        <p:style>
          <a:lnRef idx="1">
            <a:schemeClr val="accent5"/>
          </a:lnRef>
          <a:fillRef idx="0">
            <a:schemeClr val="accent5"/>
          </a:fillRef>
          <a:effectRef idx="0">
            <a:schemeClr val="accent5"/>
          </a:effectRef>
          <a:fontRef idx="minor">
            <a:schemeClr val="tx1"/>
          </a:fontRef>
        </p:style>
      </p:cxnSp>
      <p:cxnSp>
        <p:nvCxnSpPr>
          <p:cNvPr id="1069" name="Conector recto de flecha 1068">
            <a:extLst>
              <a:ext uri="{FF2B5EF4-FFF2-40B4-BE49-F238E27FC236}">
                <a16:creationId xmlns:a16="http://schemas.microsoft.com/office/drawing/2014/main" id="{E55A7673-7B18-4532-01DB-5A512722E001}"/>
              </a:ext>
            </a:extLst>
          </p:cNvPr>
          <p:cNvCxnSpPr>
            <a:cxnSpLocks/>
          </p:cNvCxnSpPr>
          <p:nvPr/>
        </p:nvCxnSpPr>
        <p:spPr>
          <a:xfrm>
            <a:off x="8915304" y="5352281"/>
            <a:ext cx="1507150" cy="16998"/>
          </a:xfrm>
          <a:prstGeom prst="straightConnector1">
            <a:avLst/>
          </a:prstGeom>
          <a:ln w="19050">
            <a:prstDash val="dash"/>
            <a:tailEnd type="triangle"/>
          </a:ln>
        </p:spPr>
        <p:style>
          <a:lnRef idx="1">
            <a:schemeClr val="accent5"/>
          </a:lnRef>
          <a:fillRef idx="0">
            <a:schemeClr val="accent5"/>
          </a:fillRef>
          <a:effectRef idx="0">
            <a:schemeClr val="accent5"/>
          </a:effectRef>
          <a:fontRef idx="minor">
            <a:schemeClr val="tx1"/>
          </a:fontRef>
        </p:style>
      </p:cxnSp>
      <p:cxnSp>
        <p:nvCxnSpPr>
          <p:cNvPr id="1070" name="Conector recto de flecha 1069">
            <a:extLst>
              <a:ext uri="{FF2B5EF4-FFF2-40B4-BE49-F238E27FC236}">
                <a16:creationId xmlns:a16="http://schemas.microsoft.com/office/drawing/2014/main" id="{754C6A5C-C1AB-C326-CA17-9D71B5ABE313}"/>
              </a:ext>
            </a:extLst>
          </p:cNvPr>
          <p:cNvCxnSpPr>
            <a:cxnSpLocks/>
            <a:endCxn id="1035" idx="0"/>
          </p:cNvCxnSpPr>
          <p:nvPr/>
        </p:nvCxnSpPr>
        <p:spPr>
          <a:xfrm>
            <a:off x="3330631" y="2353079"/>
            <a:ext cx="0" cy="4034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074" name="Conector recto de flecha 1073">
            <a:extLst>
              <a:ext uri="{FF2B5EF4-FFF2-40B4-BE49-F238E27FC236}">
                <a16:creationId xmlns:a16="http://schemas.microsoft.com/office/drawing/2014/main" id="{3F291295-B6D0-4627-0CF8-4461C3665040}"/>
              </a:ext>
            </a:extLst>
          </p:cNvPr>
          <p:cNvCxnSpPr>
            <a:cxnSpLocks/>
          </p:cNvCxnSpPr>
          <p:nvPr/>
        </p:nvCxnSpPr>
        <p:spPr>
          <a:xfrm>
            <a:off x="3330631" y="3316748"/>
            <a:ext cx="0" cy="4034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077" name="Conector recto de flecha 1076">
            <a:extLst>
              <a:ext uri="{FF2B5EF4-FFF2-40B4-BE49-F238E27FC236}">
                <a16:creationId xmlns:a16="http://schemas.microsoft.com/office/drawing/2014/main" id="{F1D8AD4A-EC8C-65E8-7448-76BCDC6DB189}"/>
              </a:ext>
            </a:extLst>
          </p:cNvPr>
          <p:cNvCxnSpPr>
            <a:cxnSpLocks/>
            <a:stCxn id="35" idx="2"/>
            <a:endCxn id="1038" idx="0"/>
          </p:cNvCxnSpPr>
          <p:nvPr/>
        </p:nvCxnSpPr>
        <p:spPr>
          <a:xfrm>
            <a:off x="5854509" y="2353079"/>
            <a:ext cx="663751" cy="413384"/>
          </a:xfrm>
          <a:prstGeom prst="straightConnector1">
            <a:avLst/>
          </a:prstGeom>
          <a:ln w="38100" cap="flat" cmpd="sng" algn="ctr">
            <a:solidFill>
              <a:srgbClr val="00B0F0"/>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3643033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DC02C8-7CAD-3B47-8F74-8059A7E9EB6F}"/>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61C5052A-ADED-A972-8974-F9019B9EB071}"/>
              </a:ext>
            </a:extLst>
          </p:cNvPr>
          <p:cNvSpPr>
            <a:spLocks noGrp="1"/>
          </p:cNvSpPr>
          <p:nvPr>
            <p:ph type="body" sz="quarter" idx="14"/>
          </p:nvPr>
        </p:nvSpPr>
        <p:spPr/>
        <p:txBody>
          <a:bodyPr/>
          <a:lstStyle/>
          <a:p>
            <a:endParaRPr lang="es-PE"/>
          </a:p>
        </p:txBody>
      </p:sp>
      <p:cxnSp>
        <p:nvCxnSpPr>
          <p:cNvPr id="37" name="Straight Connector 14">
            <a:extLst>
              <a:ext uri="{FF2B5EF4-FFF2-40B4-BE49-F238E27FC236}">
                <a16:creationId xmlns:a16="http://schemas.microsoft.com/office/drawing/2014/main" id="{787807A7-36AE-B192-B6D2-BE634A545578}"/>
              </a:ext>
            </a:extLst>
          </p:cNvPr>
          <p:cNvCxnSpPr/>
          <p:nvPr/>
        </p:nvCxnSpPr>
        <p:spPr>
          <a:xfrm>
            <a:off x="550864" y="853361"/>
            <a:ext cx="11090274"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9" name="Title 5">
            <a:extLst>
              <a:ext uri="{FF2B5EF4-FFF2-40B4-BE49-F238E27FC236}">
                <a16:creationId xmlns:a16="http://schemas.microsoft.com/office/drawing/2014/main" id="{5D9A8434-2F01-57F8-ED8B-E541E5E47427}"/>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 </a:t>
            </a:r>
            <a:r>
              <a:rPr lang="en-GB" b="0">
                <a:solidFill>
                  <a:srgbClr val="203864"/>
                </a:solidFill>
                <a:latin typeface="Santander Headline" panose="020B0504020201020104" pitchFamily="34" charset="0"/>
              </a:rPr>
              <a:t>Automatización de SERVICIOS</a:t>
            </a:r>
            <a:endParaRPr lang="es-MX">
              <a:solidFill>
                <a:srgbClr val="203864"/>
              </a:solidFill>
            </a:endParaRPr>
          </a:p>
        </p:txBody>
      </p:sp>
      <p:pic>
        <p:nvPicPr>
          <p:cNvPr id="2" name="Picture 2">
            <a:extLst>
              <a:ext uri="{FF2B5EF4-FFF2-40B4-BE49-F238E27FC236}">
                <a16:creationId xmlns:a16="http://schemas.microsoft.com/office/drawing/2014/main" id="{F4EE850B-A1B2-92E6-96C4-45A86EAFD7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864" y="853361"/>
            <a:ext cx="3295579" cy="5555898"/>
          </a:xfrm>
          <a:prstGeom prst="rect">
            <a:avLst/>
          </a:prstGeom>
          <a:noFill/>
          <a:extLst>
            <a:ext uri="{909E8E84-426E-40DD-AFC4-6F175D3DCCD1}">
              <a14:hiddenFill xmlns:a14="http://schemas.microsoft.com/office/drawing/2010/main">
                <a:solidFill>
                  <a:srgbClr val="FFFFFF"/>
                </a:solidFill>
              </a14:hiddenFill>
            </a:ext>
          </a:extLst>
        </p:spPr>
      </p:pic>
      <p:sp>
        <p:nvSpPr>
          <p:cNvPr id="3" name="Abrir llave 2">
            <a:extLst>
              <a:ext uri="{FF2B5EF4-FFF2-40B4-BE49-F238E27FC236}">
                <a16:creationId xmlns:a16="http://schemas.microsoft.com/office/drawing/2014/main" id="{DB8F8461-9644-5913-27AB-609A5883F54D}"/>
              </a:ext>
            </a:extLst>
          </p:cNvPr>
          <p:cNvSpPr/>
          <p:nvPr/>
        </p:nvSpPr>
        <p:spPr>
          <a:xfrm rot="10800000">
            <a:off x="1885320" y="4552132"/>
            <a:ext cx="2299051" cy="1777599"/>
          </a:xfrm>
          <a:prstGeom prst="leftBrace">
            <a:avLst>
              <a:gd name="adj1" fmla="val 0"/>
              <a:gd name="adj2" fmla="val 50000"/>
            </a:avLst>
          </a:prstGeom>
          <a:ln>
            <a:solidFill>
              <a:schemeClr val="accent1"/>
            </a:solidFill>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s-PE"/>
          </a:p>
        </p:txBody>
      </p:sp>
      <p:sp>
        <p:nvSpPr>
          <p:cNvPr id="6" name="Abrir llave 5">
            <a:extLst>
              <a:ext uri="{FF2B5EF4-FFF2-40B4-BE49-F238E27FC236}">
                <a16:creationId xmlns:a16="http://schemas.microsoft.com/office/drawing/2014/main" id="{A460A53F-AD44-63BF-46FB-2429732686C2}"/>
              </a:ext>
            </a:extLst>
          </p:cNvPr>
          <p:cNvSpPr/>
          <p:nvPr/>
        </p:nvSpPr>
        <p:spPr>
          <a:xfrm rot="10800000">
            <a:off x="1885320" y="2629645"/>
            <a:ext cx="2368627" cy="1842961"/>
          </a:xfrm>
          <a:prstGeom prst="leftBrace">
            <a:avLst>
              <a:gd name="adj1" fmla="val 0"/>
              <a:gd name="adj2" fmla="val 50000"/>
            </a:avLst>
          </a:prstGeom>
          <a:ln>
            <a:solidFill>
              <a:schemeClr val="accent1"/>
            </a:solidFill>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s-PE"/>
          </a:p>
        </p:txBody>
      </p:sp>
      <p:sp>
        <p:nvSpPr>
          <p:cNvPr id="7" name="Abrir llave 6">
            <a:extLst>
              <a:ext uri="{FF2B5EF4-FFF2-40B4-BE49-F238E27FC236}">
                <a16:creationId xmlns:a16="http://schemas.microsoft.com/office/drawing/2014/main" id="{D95CC9AE-F408-2BBF-DFB1-6E337E1B8F53}"/>
              </a:ext>
            </a:extLst>
          </p:cNvPr>
          <p:cNvSpPr/>
          <p:nvPr/>
        </p:nvSpPr>
        <p:spPr>
          <a:xfrm rot="10800000">
            <a:off x="1885319" y="1272208"/>
            <a:ext cx="2368627" cy="1277910"/>
          </a:xfrm>
          <a:prstGeom prst="leftBrace">
            <a:avLst>
              <a:gd name="adj1" fmla="val 0"/>
              <a:gd name="adj2" fmla="val 50000"/>
            </a:avLst>
          </a:prstGeom>
          <a:ln>
            <a:solidFill>
              <a:schemeClr val="accent1"/>
            </a:solidFill>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s-PE"/>
          </a:p>
        </p:txBody>
      </p:sp>
      <p:sp>
        <p:nvSpPr>
          <p:cNvPr id="9" name="CuadroTexto 2">
            <a:extLst>
              <a:ext uri="{FF2B5EF4-FFF2-40B4-BE49-F238E27FC236}">
                <a16:creationId xmlns:a16="http://schemas.microsoft.com/office/drawing/2014/main" id="{50A90563-99FE-BAEA-49F9-71810C415613}"/>
              </a:ext>
            </a:extLst>
          </p:cNvPr>
          <p:cNvSpPr txBox="1"/>
          <p:nvPr/>
        </p:nvSpPr>
        <p:spPr>
          <a:xfrm>
            <a:off x="4407987" y="1761760"/>
            <a:ext cx="1525674" cy="298803"/>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n-GB" sz="1100" b="0" i="0" u="none" strike="noStrike">
                <a:solidFill>
                  <a:srgbClr val="212121"/>
                </a:solidFill>
                <a:effectLst/>
                <a:latin typeface="Santander Text" panose="020B0504020201020104" pitchFamily="34" charset="0"/>
              </a:rPr>
              <a:t>CAPA BASE</a:t>
            </a:r>
          </a:p>
        </p:txBody>
      </p:sp>
      <p:sp>
        <p:nvSpPr>
          <p:cNvPr id="11" name="CuadroTexto 2">
            <a:extLst>
              <a:ext uri="{FF2B5EF4-FFF2-40B4-BE49-F238E27FC236}">
                <a16:creationId xmlns:a16="http://schemas.microsoft.com/office/drawing/2014/main" id="{2E54E6A3-3911-E5F3-0FCA-A3B73FEAF823}"/>
              </a:ext>
            </a:extLst>
          </p:cNvPr>
          <p:cNvSpPr txBox="1"/>
          <p:nvPr/>
        </p:nvSpPr>
        <p:spPr>
          <a:xfrm>
            <a:off x="4407987" y="3401723"/>
            <a:ext cx="1525674" cy="298803"/>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n-GB" sz="1100" b="0" i="0" u="none" strike="noStrike">
                <a:solidFill>
                  <a:srgbClr val="212121"/>
                </a:solidFill>
                <a:effectLst/>
                <a:latin typeface="Santander Text" panose="020B0504020201020104" pitchFamily="34" charset="0"/>
              </a:rPr>
              <a:t>CAPA DE LIBRERIAS</a:t>
            </a:r>
          </a:p>
        </p:txBody>
      </p:sp>
      <p:sp>
        <p:nvSpPr>
          <p:cNvPr id="12" name="CuadroTexto 2">
            <a:extLst>
              <a:ext uri="{FF2B5EF4-FFF2-40B4-BE49-F238E27FC236}">
                <a16:creationId xmlns:a16="http://schemas.microsoft.com/office/drawing/2014/main" id="{ECA2A2B5-259C-150A-C3B7-E9E083E153F6}"/>
              </a:ext>
            </a:extLst>
          </p:cNvPr>
          <p:cNvSpPr txBox="1"/>
          <p:nvPr/>
        </p:nvSpPr>
        <p:spPr>
          <a:xfrm>
            <a:off x="4407987" y="5291530"/>
            <a:ext cx="1525674" cy="298803"/>
          </a:xfrm>
          <a:prstGeom prst="rect">
            <a:avLst/>
          </a:prstGeom>
          <a:solidFill>
            <a:srgbClr val="A1D6A4"/>
          </a:solidFill>
          <a:ln>
            <a:solidFill>
              <a:schemeClr val="accent5">
                <a:lumMod val="50000"/>
              </a:schemeClr>
            </a:solidFill>
          </a:ln>
        </p:spPr>
        <p:txBody>
          <a:bodyPr wrap="square" lIns="180000" tIns="180000" rIns="180000" bIns="180000" rtlCol="0" anchor="ctr">
            <a:noAutofit/>
          </a:bodyPr>
          <a:lstStyle/>
          <a:p>
            <a:pPr algn="ctr">
              <a:spcAft>
                <a:spcPts val="1200"/>
              </a:spcAft>
            </a:pPr>
            <a:r>
              <a:rPr lang="en-GB" sz="1100" b="0" i="0" u="none" strike="noStrike">
                <a:solidFill>
                  <a:srgbClr val="212121"/>
                </a:solidFill>
                <a:effectLst/>
                <a:latin typeface="Santander Text" panose="020B0504020201020104" pitchFamily="34" charset="0"/>
              </a:rPr>
              <a:t>CAPA DE UTILITARIA</a:t>
            </a:r>
          </a:p>
        </p:txBody>
      </p:sp>
      <p:sp>
        <p:nvSpPr>
          <p:cNvPr id="13" name="CuadroTexto 2">
            <a:extLst>
              <a:ext uri="{FF2B5EF4-FFF2-40B4-BE49-F238E27FC236}">
                <a16:creationId xmlns:a16="http://schemas.microsoft.com/office/drawing/2014/main" id="{9DF5A2CC-9856-2561-9C62-9C5D9873D549}"/>
              </a:ext>
            </a:extLst>
          </p:cNvPr>
          <p:cNvSpPr txBox="1"/>
          <p:nvPr/>
        </p:nvSpPr>
        <p:spPr>
          <a:xfrm>
            <a:off x="6258341" y="1359941"/>
            <a:ext cx="5382795" cy="1035863"/>
          </a:xfrm>
          <a:prstGeom prst="rect">
            <a:avLst/>
          </a:prstGeom>
          <a:solidFill>
            <a:srgbClr val="9BC3D3">
              <a:lumMod val="20000"/>
              <a:lumOff val="80000"/>
            </a:srgbClr>
          </a:solidFill>
        </p:spPr>
        <p:txBody>
          <a:bodyPr wrap="square" lIns="180000" tIns="180000" rIns="180000" bIns="180000" rtlCol="0" anchor="ctr">
            <a:noAutofit/>
          </a:bodyPr>
          <a:lstStyle/>
          <a:p>
            <a:pPr marL="171450" indent="-171450">
              <a:spcAft>
                <a:spcPts val="1200"/>
              </a:spcAft>
              <a:buFont typeface="Arial" panose="020B0604020202020204" pitchFamily="34" charset="0"/>
              <a:buChar char="•"/>
            </a:pPr>
            <a:r>
              <a:rPr lang="en-GB" sz="1100" b="1">
                <a:solidFill>
                  <a:srgbClr val="212121"/>
                </a:solidFill>
                <a:latin typeface="Santander Text" panose="020B0504020201020104" pitchFamily="34" charset="0"/>
              </a:rPr>
              <a:t>Apis_steps: </a:t>
            </a:r>
            <a:r>
              <a:rPr lang="en-GB" sz="1100">
                <a:solidFill>
                  <a:srgbClr val="212121"/>
                </a:solidFill>
                <a:latin typeface="Santander Text" panose="020B0504020201020104" pitchFamily="34" charset="0"/>
              </a:rPr>
              <a:t>Contiene la implementación de los pasos que se definen en el .feature.</a:t>
            </a:r>
          </a:p>
          <a:p>
            <a:pPr marL="171450" indent="-171450">
              <a:spcAft>
                <a:spcPts val="1200"/>
              </a:spcAft>
              <a:buFont typeface="Arial" panose="020B0604020202020204" pitchFamily="34" charset="0"/>
              <a:buChar char="•"/>
            </a:pPr>
            <a:r>
              <a:rPr lang="en-GB" sz="1100" b="1">
                <a:solidFill>
                  <a:srgbClr val="212121"/>
                </a:solidFill>
                <a:latin typeface="Santander Text" panose="020B0504020201020104" pitchFamily="34" charset="0"/>
              </a:rPr>
              <a:t>Archivos Cucumber: </a:t>
            </a:r>
            <a:r>
              <a:rPr lang="en-GB" sz="1100">
                <a:solidFill>
                  <a:srgbClr val="212121"/>
                </a:solidFill>
                <a:latin typeface="Santander Text" panose="020B0504020201020104" pitchFamily="34" charset="0"/>
              </a:rPr>
              <a:t>Contiene las especificaciones de prueba en lenguaje natural (Gherkin).</a:t>
            </a:r>
          </a:p>
          <a:p>
            <a:pPr marL="171450" indent="-171450">
              <a:spcAft>
                <a:spcPts val="1200"/>
              </a:spcAft>
              <a:buFont typeface="Arial" panose="020B0604020202020204" pitchFamily="34" charset="0"/>
              <a:buChar char="•"/>
            </a:pPr>
            <a:r>
              <a:rPr lang="en-GB" sz="1100" b="1">
                <a:solidFill>
                  <a:srgbClr val="212121"/>
                </a:solidFill>
                <a:latin typeface="Santander Text" panose="020B0504020201020104" pitchFamily="34" charset="0"/>
              </a:rPr>
              <a:t>Environment: </a:t>
            </a:r>
            <a:r>
              <a:rPr lang="en-GB" sz="1100">
                <a:solidFill>
                  <a:srgbClr val="212121"/>
                </a:solidFill>
                <a:latin typeface="Santander Text" panose="020B0504020201020104" pitchFamily="34" charset="0"/>
              </a:rPr>
              <a:t>Contiene funciones especiales para el enlace con los utilitarios</a:t>
            </a:r>
          </a:p>
        </p:txBody>
      </p:sp>
      <p:sp>
        <p:nvSpPr>
          <p:cNvPr id="30" name="CuadroTexto 2">
            <a:extLst>
              <a:ext uri="{FF2B5EF4-FFF2-40B4-BE49-F238E27FC236}">
                <a16:creationId xmlns:a16="http://schemas.microsoft.com/office/drawing/2014/main" id="{9C487320-B419-C4E3-299A-23040E500A8A}"/>
              </a:ext>
            </a:extLst>
          </p:cNvPr>
          <p:cNvSpPr txBox="1"/>
          <p:nvPr/>
        </p:nvSpPr>
        <p:spPr>
          <a:xfrm>
            <a:off x="6258341" y="3066481"/>
            <a:ext cx="5382795" cy="969286"/>
          </a:xfrm>
          <a:prstGeom prst="rect">
            <a:avLst/>
          </a:prstGeom>
          <a:solidFill>
            <a:srgbClr val="9BC3D3">
              <a:lumMod val="20000"/>
              <a:lumOff val="80000"/>
            </a:srgbClr>
          </a:solidFill>
        </p:spPr>
        <p:txBody>
          <a:bodyPr wrap="square" lIns="180000" tIns="180000" rIns="180000" bIns="180000" rtlCol="0" anchor="ctr">
            <a:noAutofit/>
          </a:bodyPr>
          <a:lstStyle/>
          <a:p>
            <a:pPr marL="171450" indent="-171450">
              <a:spcAft>
                <a:spcPts val="1200"/>
              </a:spcAft>
              <a:buFont typeface="Arial" panose="020B0604020202020204" pitchFamily="34" charset="0"/>
              <a:buChar char="•"/>
            </a:pPr>
            <a:r>
              <a:rPr lang="en-GB" sz="1100">
                <a:solidFill>
                  <a:srgbClr val="212121"/>
                </a:solidFill>
                <a:latin typeface="Santander Text" panose="020B0504020201020104" pitchFamily="34" charset="0"/>
              </a:rPr>
              <a:t>Contiene componentes y funciones reutilizables de bajo nivel que interactúan con los desarrollos. </a:t>
            </a:r>
          </a:p>
        </p:txBody>
      </p:sp>
      <p:sp>
        <p:nvSpPr>
          <p:cNvPr id="35" name="CuadroTexto 2">
            <a:extLst>
              <a:ext uri="{FF2B5EF4-FFF2-40B4-BE49-F238E27FC236}">
                <a16:creationId xmlns:a16="http://schemas.microsoft.com/office/drawing/2014/main" id="{700F301E-532A-8047-C096-051A48A7233F}"/>
              </a:ext>
            </a:extLst>
          </p:cNvPr>
          <p:cNvSpPr txBox="1"/>
          <p:nvPr/>
        </p:nvSpPr>
        <p:spPr>
          <a:xfrm>
            <a:off x="6258341" y="4706443"/>
            <a:ext cx="5382795" cy="1425999"/>
          </a:xfrm>
          <a:prstGeom prst="rect">
            <a:avLst/>
          </a:prstGeom>
          <a:solidFill>
            <a:srgbClr val="9BC3D3">
              <a:lumMod val="20000"/>
              <a:lumOff val="80000"/>
            </a:srgbClr>
          </a:solidFill>
        </p:spPr>
        <p:txBody>
          <a:bodyPr wrap="square" lIns="180000" tIns="180000" rIns="180000" bIns="180000" rtlCol="0" anchor="ctr">
            <a:noAutofit/>
          </a:bodyPr>
          <a:lstStyle/>
          <a:p>
            <a:pPr marL="171450" indent="-171450">
              <a:spcAft>
                <a:spcPts val="1200"/>
              </a:spcAft>
              <a:buFont typeface="Arial" panose="020B0604020202020204" pitchFamily="34" charset="0"/>
              <a:buChar char="•"/>
            </a:pPr>
            <a:r>
              <a:rPr lang="en-GB" sz="1100" b="1">
                <a:solidFill>
                  <a:srgbClr val="212121"/>
                </a:solidFill>
                <a:latin typeface="Santander Text" panose="020B0504020201020104" pitchFamily="34" charset="0"/>
              </a:rPr>
              <a:t>Reports: </a:t>
            </a:r>
            <a:r>
              <a:rPr lang="en-GB" sz="1100">
                <a:solidFill>
                  <a:srgbClr val="212121"/>
                </a:solidFill>
                <a:latin typeface="Santander Text" panose="020B0504020201020104" pitchFamily="34" charset="0"/>
              </a:rPr>
              <a:t>Luego de la ejecución se genera una carpeta con la fecha y hora con el reporte de ejecución.</a:t>
            </a:r>
          </a:p>
          <a:p>
            <a:pPr marL="171450" indent="-171450">
              <a:spcAft>
                <a:spcPts val="1200"/>
              </a:spcAft>
              <a:buFont typeface="Arial" panose="020B0604020202020204" pitchFamily="34" charset="0"/>
              <a:buChar char="•"/>
            </a:pPr>
            <a:r>
              <a:rPr lang="en-GB" sz="1100" b="1">
                <a:solidFill>
                  <a:srgbClr val="212121"/>
                </a:solidFill>
                <a:latin typeface="Santander Text" panose="020B0504020201020104" pitchFamily="34" charset="0"/>
              </a:rPr>
              <a:t>Resources: </a:t>
            </a:r>
            <a:r>
              <a:rPr lang="en-GB" sz="1100">
                <a:solidFill>
                  <a:srgbClr val="212121"/>
                </a:solidFill>
                <a:latin typeface="Santander Text" panose="020B0504020201020104" pitchFamily="34" charset="0"/>
              </a:rPr>
              <a:t>Contiene los inputs de ejecuciones, templates de evidencias word y drivers para web.</a:t>
            </a:r>
          </a:p>
          <a:p>
            <a:pPr marL="171450" indent="-171450">
              <a:spcAft>
                <a:spcPts val="1200"/>
              </a:spcAft>
              <a:buFont typeface="Arial" panose="020B0604020202020204" pitchFamily="34" charset="0"/>
              <a:buChar char="•"/>
            </a:pPr>
            <a:r>
              <a:rPr lang="en-GB" sz="1100" b="1">
                <a:solidFill>
                  <a:srgbClr val="212121"/>
                </a:solidFill>
                <a:latin typeface="Santander Text" panose="020B0504020201020104" pitchFamily="34" charset="0"/>
              </a:rPr>
              <a:t>Adicionales: </a:t>
            </a:r>
            <a:r>
              <a:rPr lang="en-GB" sz="1100">
                <a:solidFill>
                  <a:srgbClr val="212121"/>
                </a:solidFill>
                <a:latin typeface="Santander Text" panose="020B0504020201020104" pitchFamily="34" charset="0"/>
              </a:rPr>
              <a:t>Contiene archivos complementarios del framework que se configuran según la necesidad de ejecución.</a:t>
            </a:r>
          </a:p>
        </p:txBody>
      </p:sp>
    </p:spTree>
    <p:extLst>
      <p:ext uri="{BB962C8B-B14F-4D97-AF65-F5344CB8AC3E}">
        <p14:creationId xmlns:p14="http://schemas.microsoft.com/office/powerpoint/2010/main" val="371007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7E615E-ABD0-71E3-5A07-6CC167571C6A}"/>
            </a:ext>
          </a:extLst>
        </p:cNvPr>
        <p:cNvGrpSpPr/>
        <p:nvPr/>
      </p:nvGrpSpPr>
      <p:grpSpPr>
        <a:xfrm>
          <a:off x="0" y="0"/>
          <a:ext cx="0" cy="0"/>
          <a:chOff x="0" y="0"/>
          <a:chExt cx="0" cy="0"/>
        </a:xfrm>
      </p:grpSpPr>
      <p:sp>
        <p:nvSpPr>
          <p:cNvPr id="113" name="Rectángulo 112">
            <a:extLst>
              <a:ext uri="{FF2B5EF4-FFF2-40B4-BE49-F238E27FC236}">
                <a16:creationId xmlns:a16="http://schemas.microsoft.com/office/drawing/2014/main" id="{3183042C-43F8-57E9-0CC9-CE01C76B24F1}"/>
              </a:ext>
            </a:extLst>
          </p:cNvPr>
          <p:cNvSpPr/>
          <p:nvPr/>
        </p:nvSpPr>
        <p:spPr>
          <a:xfrm>
            <a:off x="747030" y="1052993"/>
            <a:ext cx="10964445" cy="105409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grpSp>
        <p:nvGrpSpPr>
          <p:cNvPr id="119" name="Grupo 118">
            <a:extLst>
              <a:ext uri="{FF2B5EF4-FFF2-40B4-BE49-F238E27FC236}">
                <a16:creationId xmlns:a16="http://schemas.microsoft.com/office/drawing/2014/main" id="{D358E828-80D7-2FA5-88B1-2051B72F3F48}"/>
              </a:ext>
            </a:extLst>
          </p:cNvPr>
          <p:cNvGrpSpPr/>
          <p:nvPr/>
        </p:nvGrpSpPr>
        <p:grpSpPr>
          <a:xfrm>
            <a:off x="550864" y="1288309"/>
            <a:ext cx="11158372" cy="5534642"/>
            <a:chOff x="568489" y="290647"/>
            <a:chExt cx="11158372" cy="5534642"/>
          </a:xfrm>
        </p:grpSpPr>
        <p:sp>
          <p:nvSpPr>
            <p:cNvPr id="109" name="Rectángulo 108">
              <a:extLst>
                <a:ext uri="{FF2B5EF4-FFF2-40B4-BE49-F238E27FC236}">
                  <a16:creationId xmlns:a16="http://schemas.microsoft.com/office/drawing/2014/main" id="{00601BA3-E619-4B86-A9B7-773508CE004B}"/>
                </a:ext>
              </a:extLst>
            </p:cNvPr>
            <p:cNvSpPr/>
            <p:nvPr/>
          </p:nvSpPr>
          <p:spPr>
            <a:xfrm>
              <a:off x="10046485" y="1214798"/>
              <a:ext cx="1680376" cy="4516732"/>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7" name="Rectángulo 106">
              <a:extLst>
                <a:ext uri="{FF2B5EF4-FFF2-40B4-BE49-F238E27FC236}">
                  <a16:creationId xmlns:a16="http://schemas.microsoft.com/office/drawing/2014/main" id="{63340E67-65C5-4A48-27B1-CCA781E073D1}"/>
                </a:ext>
              </a:extLst>
            </p:cNvPr>
            <p:cNvSpPr/>
            <p:nvPr/>
          </p:nvSpPr>
          <p:spPr>
            <a:xfrm>
              <a:off x="8185214" y="1214798"/>
              <a:ext cx="1680376" cy="4516732"/>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5" name="Rectángulo 104">
              <a:extLst>
                <a:ext uri="{FF2B5EF4-FFF2-40B4-BE49-F238E27FC236}">
                  <a16:creationId xmlns:a16="http://schemas.microsoft.com/office/drawing/2014/main" id="{2A561B63-9E04-2555-0C48-19FE877F646F}"/>
                </a:ext>
              </a:extLst>
            </p:cNvPr>
            <p:cNvSpPr/>
            <p:nvPr/>
          </p:nvSpPr>
          <p:spPr>
            <a:xfrm>
              <a:off x="6323943" y="1214798"/>
              <a:ext cx="1680376" cy="4516732"/>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3" name="Rectángulo 102">
              <a:extLst>
                <a:ext uri="{FF2B5EF4-FFF2-40B4-BE49-F238E27FC236}">
                  <a16:creationId xmlns:a16="http://schemas.microsoft.com/office/drawing/2014/main" id="{381F4B9C-97D5-416E-B645-574494E55E3F}"/>
                </a:ext>
              </a:extLst>
            </p:cNvPr>
            <p:cNvSpPr/>
            <p:nvPr/>
          </p:nvSpPr>
          <p:spPr>
            <a:xfrm>
              <a:off x="4462672" y="1214798"/>
              <a:ext cx="1680376" cy="4516732"/>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0" name="Rectángulo 99">
              <a:extLst>
                <a:ext uri="{FF2B5EF4-FFF2-40B4-BE49-F238E27FC236}">
                  <a16:creationId xmlns:a16="http://schemas.microsoft.com/office/drawing/2014/main" id="{4C658659-0A59-4E6D-CB5B-E81AEE47B9DC}"/>
                </a:ext>
              </a:extLst>
            </p:cNvPr>
            <p:cNvSpPr/>
            <p:nvPr/>
          </p:nvSpPr>
          <p:spPr>
            <a:xfrm>
              <a:off x="2597430" y="1214798"/>
              <a:ext cx="1680376" cy="4516732"/>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99" name="Rectángulo 98">
              <a:extLst>
                <a:ext uri="{FF2B5EF4-FFF2-40B4-BE49-F238E27FC236}">
                  <a16:creationId xmlns:a16="http://schemas.microsoft.com/office/drawing/2014/main" id="{F454E615-40A9-03A4-A3F2-18AF2962C6A6}"/>
                </a:ext>
              </a:extLst>
            </p:cNvPr>
            <p:cNvSpPr/>
            <p:nvPr/>
          </p:nvSpPr>
          <p:spPr>
            <a:xfrm>
              <a:off x="771282" y="1216159"/>
              <a:ext cx="1680376" cy="4516732"/>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8" name="Rectángulo: esquinas redondeadas 7">
              <a:extLst>
                <a:ext uri="{FF2B5EF4-FFF2-40B4-BE49-F238E27FC236}">
                  <a16:creationId xmlns:a16="http://schemas.microsoft.com/office/drawing/2014/main" id="{A9571691-E967-BBE6-57CE-72DEB3F2C36E}"/>
                </a:ext>
              </a:extLst>
            </p:cNvPr>
            <p:cNvSpPr/>
            <p:nvPr/>
          </p:nvSpPr>
          <p:spPr>
            <a:xfrm>
              <a:off x="889311" y="290647"/>
              <a:ext cx="1478942" cy="405517"/>
            </a:xfrm>
            <a:prstGeom prst="roundRect">
              <a:avLst/>
            </a:prstGeom>
            <a:solidFill>
              <a:schemeClr val="tx1">
                <a:lumMod val="20000"/>
                <a:lumOff val="80000"/>
              </a:schemeClr>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Abraham Rivera</a:t>
              </a:r>
            </a:p>
            <a:p>
              <a:pPr algn="r"/>
              <a:r>
                <a:rPr lang="es-MX" sz="800" i="1">
                  <a:solidFill>
                    <a:schemeClr val="tx2">
                      <a:lumMod val="50000"/>
                    </a:schemeClr>
                  </a:solidFill>
                </a:rPr>
                <a:t>Líder QA SCB [I]</a:t>
              </a:r>
            </a:p>
          </p:txBody>
        </p:sp>
        <p:sp>
          <p:nvSpPr>
            <p:cNvPr id="9" name="Elipse 8">
              <a:extLst>
                <a:ext uri="{FF2B5EF4-FFF2-40B4-BE49-F238E27FC236}">
                  <a16:creationId xmlns:a16="http://schemas.microsoft.com/office/drawing/2014/main" id="{5FA60595-7091-4A64-9933-B9F58BBB8A2C}"/>
                </a:ext>
              </a:extLst>
            </p:cNvPr>
            <p:cNvSpPr/>
            <p:nvPr/>
          </p:nvSpPr>
          <p:spPr>
            <a:xfrm>
              <a:off x="1080142" y="370918"/>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 name="Rectángulo: esquinas redondeadas 9">
              <a:extLst>
                <a:ext uri="{FF2B5EF4-FFF2-40B4-BE49-F238E27FC236}">
                  <a16:creationId xmlns:a16="http://schemas.microsoft.com/office/drawing/2014/main" id="{3583484C-1F7A-B02B-D76C-8214F4E88233}"/>
                </a:ext>
              </a:extLst>
            </p:cNvPr>
            <p:cNvSpPr/>
            <p:nvPr/>
          </p:nvSpPr>
          <p:spPr>
            <a:xfrm>
              <a:off x="3605916" y="290648"/>
              <a:ext cx="1478942" cy="405517"/>
            </a:xfrm>
            <a:prstGeom prst="roundRect">
              <a:avLst/>
            </a:prstGeom>
            <a:solidFill>
              <a:schemeClr val="tx1">
                <a:lumMod val="20000"/>
                <a:lumOff val="80000"/>
              </a:schemeClr>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Saul Galan</a:t>
              </a:r>
            </a:p>
            <a:p>
              <a:pPr algn="r"/>
              <a:r>
                <a:rPr lang="es-MX" sz="800" i="1">
                  <a:solidFill>
                    <a:schemeClr val="tx2">
                      <a:lumMod val="50000"/>
                    </a:schemeClr>
                  </a:solidFill>
                </a:rPr>
                <a:t>Ing. QA SCB [I]</a:t>
              </a:r>
            </a:p>
          </p:txBody>
        </p:sp>
        <p:sp>
          <p:nvSpPr>
            <p:cNvPr id="11" name="Elipse 10">
              <a:extLst>
                <a:ext uri="{FF2B5EF4-FFF2-40B4-BE49-F238E27FC236}">
                  <a16:creationId xmlns:a16="http://schemas.microsoft.com/office/drawing/2014/main" id="{E529B393-EF51-BCAF-87D1-BCF675BE74FC}"/>
                </a:ext>
              </a:extLst>
            </p:cNvPr>
            <p:cNvSpPr/>
            <p:nvPr/>
          </p:nvSpPr>
          <p:spPr>
            <a:xfrm>
              <a:off x="3685430" y="370919"/>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2" name="Rectángulo: esquinas redondeadas 11">
              <a:extLst>
                <a:ext uri="{FF2B5EF4-FFF2-40B4-BE49-F238E27FC236}">
                  <a16:creationId xmlns:a16="http://schemas.microsoft.com/office/drawing/2014/main" id="{FBD4E9CF-1505-BD2A-D67F-F46319402A70}"/>
                </a:ext>
              </a:extLst>
            </p:cNvPr>
            <p:cNvSpPr/>
            <p:nvPr/>
          </p:nvSpPr>
          <p:spPr>
            <a:xfrm>
              <a:off x="6016486" y="290648"/>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Carlos Flores</a:t>
              </a:r>
              <a:br>
                <a:rPr lang="es-MX" sz="1000" b="1">
                  <a:solidFill>
                    <a:schemeClr val="tx2">
                      <a:lumMod val="50000"/>
                    </a:schemeClr>
                  </a:solidFill>
                </a:rPr>
              </a:br>
              <a:r>
                <a:rPr lang="es-MX" sz="800" i="1">
                  <a:solidFill>
                    <a:schemeClr val="tx2">
                      <a:lumMod val="50000"/>
                    </a:schemeClr>
                  </a:solidFill>
                </a:rPr>
                <a:t>Resp. Performance [E]</a:t>
              </a:r>
              <a:endParaRPr lang="es-MX" sz="1000" i="1">
                <a:solidFill>
                  <a:schemeClr val="tx2">
                    <a:lumMod val="50000"/>
                  </a:schemeClr>
                </a:solidFill>
              </a:endParaRPr>
            </a:p>
          </p:txBody>
        </p:sp>
        <p:sp>
          <p:nvSpPr>
            <p:cNvPr id="13" name="Elipse 12">
              <a:extLst>
                <a:ext uri="{FF2B5EF4-FFF2-40B4-BE49-F238E27FC236}">
                  <a16:creationId xmlns:a16="http://schemas.microsoft.com/office/drawing/2014/main" id="{197D96E5-15A6-9FF1-FD2E-ACBECAD772BB}"/>
                </a:ext>
              </a:extLst>
            </p:cNvPr>
            <p:cNvSpPr/>
            <p:nvPr/>
          </p:nvSpPr>
          <p:spPr>
            <a:xfrm>
              <a:off x="6096000" y="370919"/>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4" name="Rectángulo: esquinas redondeadas 13">
              <a:extLst>
                <a:ext uri="{FF2B5EF4-FFF2-40B4-BE49-F238E27FC236}">
                  <a16:creationId xmlns:a16="http://schemas.microsoft.com/office/drawing/2014/main" id="{1E91D281-2BE1-31F1-744D-5806F82008C7}"/>
                </a:ext>
              </a:extLst>
            </p:cNvPr>
            <p:cNvSpPr/>
            <p:nvPr/>
          </p:nvSpPr>
          <p:spPr>
            <a:xfrm>
              <a:off x="8444107" y="290648"/>
              <a:ext cx="1520600"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800" b="1">
                  <a:solidFill>
                    <a:schemeClr val="tx2">
                      <a:lumMod val="50000"/>
                    </a:schemeClr>
                  </a:solidFill>
                </a:rPr>
                <a:t>TBD</a:t>
              </a:r>
              <a:br>
                <a:rPr lang="es-MX" sz="800" b="1">
                  <a:solidFill>
                    <a:schemeClr val="tx2">
                      <a:lumMod val="50000"/>
                    </a:schemeClr>
                  </a:solidFill>
                </a:rPr>
              </a:br>
              <a:r>
                <a:rPr lang="es-MX" sz="800" i="1">
                  <a:solidFill>
                    <a:schemeClr val="tx2">
                      <a:lumMod val="50000"/>
                    </a:schemeClr>
                  </a:solidFill>
                </a:rPr>
                <a:t>Resp. Automatización [E]</a:t>
              </a:r>
            </a:p>
          </p:txBody>
        </p:sp>
        <p:sp>
          <p:nvSpPr>
            <p:cNvPr id="15" name="Elipse 14">
              <a:extLst>
                <a:ext uri="{FF2B5EF4-FFF2-40B4-BE49-F238E27FC236}">
                  <a16:creationId xmlns:a16="http://schemas.microsoft.com/office/drawing/2014/main" id="{FFFE4074-1E75-3A66-2694-F7E4CDA44CC3}"/>
                </a:ext>
              </a:extLst>
            </p:cNvPr>
            <p:cNvSpPr/>
            <p:nvPr/>
          </p:nvSpPr>
          <p:spPr>
            <a:xfrm>
              <a:off x="8523621" y="370919"/>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esquinas redondeadas 15">
              <a:extLst>
                <a:ext uri="{FF2B5EF4-FFF2-40B4-BE49-F238E27FC236}">
                  <a16:creationId xmlns:a16="http://schemas.microsoft.com/office/drawing/2014/main" id="{3866E3A7-8AB7-152B-131F-03B51EE5069E}"/>
                </a:ext>
              </a:extLst>
            </p:cNvPr>
            <p:cNvSpPr/>
            <p:nvPr/>
          </p:nvSpPr>
          <p:spPr>
            <a:xfrm>
              <a:off x="893201" y="1331849"/>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Dayan Ipince</a:t>
              </a:r>
            </a:p>
            <a:p>
              <a:pPr algn="r"/>
              <a:r>
                <a:rPr lang="es-MX" sz="800" i="1">
                  <a:solidFill>
                    <a:schemeClr val="tx2">
                      <a:lumMod val="50000"/>
                    </a:schemeClr>
                  </a:solidFill>
                </a:rPr>
                <a:t>Líder QA CD [E]</a:t>
              </a:r>
            </a:p>
          </p:txBody>
        </p:sp>
        <p:sp>
          <p:nvSpPr>
            <p:cNvPr id="17" name="Elipse 16">
              <a:extLst>
                <a:ext uri="{FF2B5EF4-FFF2-40B4-BE49-F238E27FC236}">
                  <a16:creationId xmlns:a16="http://schemas.microsoft.com/office/drawing/2014/main" id="{7B010A81-1CF3-AE45-446D-9EE3992DDDC8}"/>
                </a:ext>
              </a:extLst>
            </p:cNvPr>
            <p:cNvSpPr/>
            <p:nvPr/>
          </p:nvSpPr>
          <p:spPr>
            <a:xfrm>
              <a:off x="972715" y="1412120"/>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8" name="Rectángulo: esquinas redondeadas 17">
              <a:extLst>
                <a:ext uri="{FF2B5EF4-FFF2-40B4-BE49-F238E27FC236}">
                  <a16:creationId xmlns:a16="http://schemas.microsoft.com/office/drawing/2014/main" id="{8E8B7559-AD41-9115-EA3E-72C9BC7A5A11}"/>
                </a:ext>
              </a:extLst>
            </p:cNvPr>
            <p:cNvSpPr/>
            <p:nvPr/>
          </p:nvSpPr>
          <p:spPr>
            <a:xfrm>
              <a:off x="902345" y="1822180"/>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Ivett Torres</a:t>
              </a:r>
            </a:p>
            <a:p>
              <a:pPr algn="r"/>
              <a:r>
                <a:rPr lang="es-MX" sz="800" i="1">
                  <a:solidFill>
                    <a:schemeClr val="tx2">
                      <a:lumMod val="50000"/>
                    </a:schemeClr>
                  </a:solidFill>
                </a:rPr>
                <a:t>QA Sr. [E]</a:t>
              </a:r>
            </a:p>
          </p:txBody>
        </p:sp>
        <p:sp>
          <p:nvSpPr>
            <p:cNvPr id="19" name="Elipse 18">
              <a:extLst>
                <a:ext uri="{FF2B5EF4-FFF2-40B4-BE49-F238E27FC236}">
                  <a16:creationId xmlns:a16="http://schemas.microsoft.com/office/drawing/2014/main" id="{087F97D8-482C-E352-4804-40520ECBB3A7}"/>
                </a:ext>
              </a:extLst>
            </p:cNvPr>
            <p:cNvSpPr/>
            <p:nvPr/>
          </p:nvSpPr>
          <p:spPr>
            <a:xfrm>
              <a:off x="972715" y="1902451"/>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0" name="Rectángulo: esquinas redondeadas 19">
              <a:extLst>
                <a:ext uri="{FF2B5EF4-FFF2-40B4-BE49-F238E27FC236}">
                  <a16:creationId xmlns:a16="http://schemas.microsoft.com/office/drawing/2014/main" id="{FDE62095-C575-5BC4-6E11-082881504EDB}"/>
                </a:ext>
              </a:extLst>
            </p:cNvPr>
            <p:cNvSpPr/>
            <p:nvPr/>
          </p:nvSpPr>
          <p:spPr>
            <a:xfrm>
              <a:off x="893201" y="2312511"/>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Claudio Ponte</a:t>
              </a:r>
            </a:p>
            <a:p>
              <a:pPr algn="r"/>
              <a:r>
                <a:rPr lang="es-MX" sz="800" i="1">
                  <a:solidFill>
                    <a:schemeClr val="tx2">
                      <a:lumMod val="50000"/>
                    </a:schemeClr>
                  </a:solidFill>
                </a:rPr>
                <a:t>Automatizador Sr. [E]</a:t>
              </a:r>
            </a:p>
          </p:txBody>
        </p:sp>
        <p:sp>
          <p:nvSpPr>
            <p:cNvPr id="21" name="Elipse 20">
              <a:extLst>
                <a:ext uri="{FF2B5EF4-FFF2-40B4-BE49-F238E27FC236}">
                  <a16:creationId xmlns:a16="http://schemas.microsoft.com/office/drawing/2014/main" id="{327ACF4D-1FE6-9BF9-25AB-96EBA2994D6E}"/>
                </a:ext>
              </a:extLst>
            </p:cNvPr>
            <p:cNvSpPr/>
            <p:nvPr/>
          </p:nvSpPr>
          <p:spPr>
            <a:xfrm>
              <a:off x="972715" y="2392782"/>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2" name="Rectángulo: esquinas redondeadas 21">
              <a:extLst>
                <a:ext uri="{FF2B5EF4-FFF2-40B4-BE49-F238E27FC236}">
                  <a16:creationId xmlns:a16="http://schemas.microsoft.com/office/drawing/2014/main" id="{0AFE1D17-F7CA-D90F-39E2-308145D893B9}"/>
                </a:ext>
              </a:extLst>
            </p:cNvPr>
            <p:cNvSpPr/>
            <p:nvPr/>
          </p:nvSpPr>
          <p:spPr>
            <a:xfrm>
              <a:off x="893201" y="2798299"/>
              <a:ext cx="1478942" cy="405517"/>
            </a:xfrm>
            <a:prstGeom prst="roundRect">
              <a:avLst/>
            </a:prstGeom>
            <a:solidFill>
              <a:srgbClr val="99CCFF"/>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Heidi Vega</a:t>
              </a:r>
            </a:p>
            <a:p>
              <a:pPr algn="r"/>
              <a:r>
                <a:rPr lang="es-MX" sz="800" i="1">
                  <a:solidFill>
                    <a:schemeClr val="tx2">
                      <a:lumMod val="50000"/>
                    </a:schemeClr>
                  </a:solidFill>
                </a:rPr>
                <a:t>QA Ssr. [E]</a:t>
              </a:r>
            </a:p>
          </p:txBody>
        </p:sp>
        <p:sp>
          <p:nvSpPr>
            <p:cNvPr id="23" name="Elipse 22">
              <a:extLst>
                <a:ext uri="{FF2B5EF4-FFF2-40B4-BE49-F238E27FC236}">
                  <a16:creationId xmlns:a16="http://schemas.microsoft.com/office/drawing/2014/main" id="{6E33CBBC-6DDF-4AD1-5F9E-A5B4EE7FBDE3}"/>
                </a:ext>
              </a:extLst>
            </p:cNvPr>
            <p:cNvSpPr/>
            <p:nvPr/>
          </p:nvSpPr>
          <p:spPr>
            <a:xfrm>
              <a:off x="972715" y="2878570"/>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4" name="Rectángulo: esquinas redondeadas 23">
              <a:extLst>
                <a:ext uri="{FF2B5EF4-FFF2-40B4-BE49-F238E27FC236}">
                  <a16:creationId xmlns:a16="http://schemas.microsoft.com/office/drawing/2014/main" id="{04E26388-55A5-DD5D-8C6E-69DC540992BC}"/>
                </a:ext>
              </a:extLst>
            </p:cNvPr>
            <p:cNvSpPr/>
            <p:nvPr/>
          </p:nvSpPr>
          <p:spPr>
            <a:xfrm>
              <a:off x="893201" y="3284087"/>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a:p>
              <a:pPr algn="r"/>
              <a:r>
                <a:rPr lang="es-MX" sz="800" i="1">
                  <a:solidFill>
                    <a:schemeClr val="tx2">
                      <a:lumMod val="50000"/>
                    </a:schemeClr>
                  </a:solidFill>
                </a:rPr>
                <a:t>QA Sr. [E]</a:t>
              </a:r>
            </a:p>
          </p:txBody>
        </p:sp>
        <p:sp>
          <p:nvSpPr>
            <p:cNvPr id="25" name="Elipse 24">
              <a:extLst>
                <a:ext uri="{FF2B5EF4-FFF2-40B4-BE49-F238E27FC236}">
                  <a16:creationId xmlns:a16="http://schemas.microsoft.com/office/drawing/2014/main" id="{0B68476F-46E3-D7E0-D061-DD652D5755BB}"/>
                </a:ext>
              </a:extLst>
            </p:cNvPr>
            <p:cNvSpPr/>
            <p:nvPr/>
          </p:nvSpPr>
          <p:spPr>
            <a:xfrm>
              <a:off x="972715" y="3364358"/>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6" name="Rectángulo: esquinas redondeadas 25">
              <a:extLst>
                <a:ext uri="{FF2B5EF4-FFF2-40B4-BE49-F238E27FC236}">
                  <a16:creationId xmlns:a16="http://schemas.microsoft.com/office/drawing/2014/main" id="{0C165C69-AE91-9111-DE21-EAE9C13D4462}"/>
                </a:ext>
              </a:extLst>
            </p:cNvPr>
            <p:cNvSpPr/>
            <p:nvPr/>
          </p:nvSpPr>
          <p:spPr>
            <a:xfrm>
              <a:off x="893201" y="3774418"/>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a:p>
              <a:pPr algn="r"/>
              <a:r>
                <a:rPr lang="es-MX" sz="800" i="1">
                  <a:solidFill>
                    <a:schemeClr val="tx2">
                      <a:lumMod val="50000"/>
                    </a:schemeClr>
                  </a:solidFill>
                </a:rPr>
                <a:t>QA Sr. [E]</a:t>
              </a:r>
            </a:p>
          </p:txBody>
        </p:sp>
        <p:sp>
          <p:nvSpPr>
            <p:cNvPr id="27" name="Elipse 26">
              <a:extLst>
                <a:ext uri="{FF2B5EF4-FFF2-40B4-BE49-F238E27FC236}">
                  <a16:creationId xmlns:a16="http://schemas.microsoft.com/office/drawing/2014/main" id="{3A7F9F57-3ADC-9C02-620E-92D6F9A310A6}"/>
                </a:ext>
              </a:extLst>
            </p:cNvPr>
            <p:cNvSpPr/>
            <p:nvPr/>
          </p:nvSpPr>
          <p:spPr>
            <a:xfrm>
              <a:off x="972715" y="3854689"/>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8" name="Rectángulo: esquinas redondeadas 27">
              <a:extLst>
                <a:ext uri="{FF2B5EF4-FFF2-40B4-BE49-F238E27FC236}">
                  <a16:creationId xmlns:a16="http://schemas.microsoft.com/office/drawing/2014/main" id="{46DEA237-7A3C-E574-4F70-BD1C0672C855}"/>
                </a:ext>
              </a:extLst>
            </p:cNvPr>
            <p:cNvSpPr/>
            <p:nvPr/>
          </p:nvSpPr>
          <p:spPr>
            <a:xfrm>
              <a:off x="893201" y="4264749"/>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a:p>
              <a:pPr algn="r"/>
              <a:r>
                <a:rPr lang="es-MX" sz="800" i="1">
                  <a:solidFill>
                    <a:schemeClr val="tx2">
                      <a:lumMod val="50000"/>
                    </a:schemeClr>
                  </a:solidFill>
                </a:rPr>
                <a:t>QA Ssr. [E]</a:t>
              </a:r>
            </a:p>
          </p:txBody>
        </p:sp>
        <p:sp>
          <p:nvSpPr>
            <p:cNvPr id="29" name="Elipse 28">
              <a:extLst>
                <a:ext uri="{FF2B5EF4-FFF2-40B4-BE49-F238E27FC236}">
                  <a16:creationId xmlns:a16="http://schemas.microsoft.com/office/drawing/2014/main" id="{B7D3B6A1-5322-1924-581F-B6CF8B8D1CAF}"/>
                </a:ext>
              </a:extLst>
            </p:cNvPr>
            <p:cNvSpPr/>
            <p:nvPr/>
          </p:nvSpPr>
          <p:spPr>
            <a:xfrm>
              <a:off x="972715" y="4345020"/>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0" name="Rectángulo: esquinas redondeadas 29">
              <a:extLst>
                <a:ext uri="{FF2B5EF4-FFF2-40B4-BE49-F238E27FC236}">
                  <a16:creationId xmlns:a16="http://schemas.microsoft.com/office/drawing/2014/main" id="{745A8558-9902-64D8-C6ED-6D0673CDA5C1}"/>
                </a:ext>
              </a:extLst>
            </p:cNvPr>
            <p:cNvSpPr/>
            <p:nvPr/>
          </p:nvSpPr>
          <p:spPr>
            <a:xfrm>
              <a:off x="893201" y="4750537"/>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a:p>
              <a:pPr algn="r"/>
              <a:r>
                <a:rPr lang="es-MX" sz="800" i="1">
                  <a:solidFill>
                    <a:schemeClr val="tx2">
                      <a:lumMod val="50000"/>
                    </a:schemeClr>
                  </a:solidFill>
                </a:rPr>
                <a:t>QA Ssr. [E]</a:t>
              </a:r>
            </a:p>
          </p:txBody>
        </p:sp>
        <p:sp>
          <p:nvSpPr>
            <p:cNvPr id="31" name="Elipse 30">
              <a:extLst>
                <a:ext uri="{FF2B5EF4-FFF2-40B4-BE49-F238E27FC236}">
                  <a16:creationId xmlns:a16="http://schemas.microsoft.com/office/drawing/2014/main" id="{91B95761-E65C-C8F5-3FCB-DE597725CFB2}"/>
                </a:ext>
              </a:extLst>
            </p:cNvPr>
            <p:cNvSpPr/>
            <p:nvPr/>
          </p:nvSpPr>
          <p:spPr>
            <a:xfrm>
              <a:off x="972715" y="4830808"/>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2" name="Rectángulo: esquinas redondeadas 31">
              <a:extLst>
                <a:ext uri="{FF2B5EF4-FFF2-40B4-BE49-F238E27FC236}">
                  <a16:creationId xmlns:a16="http://schemas.microsoft.com/office/drawing/2014/main" id="{C0547634-AC1F-D736-EEF5-8FB07081EA5C}"/>
                </a:ext>
              </a:extLst>
            </p:cNvPr>
            <p:cNvSpPr/>
            <p:nvPr/>
          </p:nvSpPr>
          <p:spPr>
            <a:xfrm>
              <a:off x="893201" y="5236325"/>
              <a:ext cx="1478942" cy="405517"/>
            </a:xfrm>
            <a:prstGeom prst="roundRect">
              <a:avLst/>
            </a:prstGeom>
            <a:solidFill>
              <a:schemeClr val="tx2">
                <a:lumMod val="50000"/>
              </a:schemeClr>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bg1"/>
                  </a:solidFill>
                </a:rPr>
                <a:t>TBD</a:t>
              </a:r>
            </a:p>
            <a:p>
              <a:pPr algn="r"/>
              <a:r>
                <a:rPr lang="es-MX" sz="800" i="1">
                  <a:solidFill>
                    <a:schemeClr val="bg1"/>
                  </a:solidFill>
                </a:rPr>
                <a:t>Automatizador Ssr. (E)</a:t>
              </a:r>
              <a:endParaRPr lang="es-PE" sz="800" i="1">
                <a:solidFill>
                  <a:schemeClr val="bg1"/>
                </a:solidFill>
              </a:endParaRPr>
            </a:p>
          </p:txBody>
        </p:sp>
        <p:sp>
          <p:nvSpPr>
            <p:cNvPr id="33" name="Elipse 32">
              <a:extLst>
                <a:ext uri="{FF2B5EF4-FFF2-40B4-BE49-F238E27FC236}">
                  <a16:creationId xmlns:a16="http://schemas.microsoft.com/office/drawing/2014/main" id="{E685D4BC-0733-4294-8357-7A5B5E1FBF16}"/>
                </a:ext>
              </a:extLst>
            </p:cNvPr>
            <p:cNvSpPr/>
            <p:nvPr/>
          </p:nvSpPr>
          <p:spPr>
            <a:xfrm>
              <a:off x="972715" y="5316596"/>
              <a:ext cx="256666" cy="256666"/>
            </a:xfrm>
            <a:prstGeom prst="ellipse">
              <a:avLst/>
            </a:prstGeom>
            <a:solidFill>
              <a:schemeClr val="bg1">
                <a:lumMod val="7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4" name="Rectángulo: esquinas redondeadas 33">
              <a:extLst>
                <a:ext uri="{FF2B5EF4-FFF2-40B4-BE49-F238E27FC236}">
                  <a16:creationId xmlns:a16="http://schemas.microsoft.com/office/drawing/2014/main" id="{9806723E-A277-97AD-EDAE-F1ACB2364010}"/>
                </a:ext>
              </a:extLst>
            </p:cNvPr>
            <p:cNvSpPr/>
            <p:nvPr/>
          </p:nvSpPr>
          <p:spPr>
            <a:xfrm>
              <a:off x="2707420" y="1331849"/>
              <a:ext cx="1478942" cy="405517"/>
            </a:xfrm>
            <a:prstGeom prst="roundRect">
              <a:avLst/>
            </a:prstGeom>
            <a:solidFill>
              <a:srgbClr val="99CCFF"/>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Karen Villaca</a:t>
              </a:r>
            </a:p>
            <a:p>
              <a:pPr algn="r"/>
              <a:r>
                <a:rPr lang="es-MX" sz="800" i="1">
                  <a:solidFill>
                    <a:schemeClr val="tx2">
                      <a:lumMod val="50000"/>
                    </a:schemeClr>
                  </a:solidFill>
                </a:rPr>
                <a:t>Líder QA Core [E]</a:t>
              </a:r>
            </a:p>
          </p:txBody>
        </p:sp>
        <p:sp>
          <p:nvSpPr>
            <p:cNvPr id="35" name="Elipse 34">
              <a:extLst>
                <a:ext uri="{FF2B5EF4-FFF2-40B4-BE49-F238E27FC236}">
                  <a16:creationId xmlns:a16="http://schemas.microsoft.com/office/drawing/2014/main" id="{91081CE2-236F-96D0-3A90-35D691C9A91D}"/>
                </a:ext>
              </a:extLst>
            </p:cNvPr>
            <p:cNvSpPr/>
            <p:nvPr/>
          </p:nvSpPr>
          <p:spPr>
            <a:xfrm>
              <a:off x="2786934" y="1412120"/>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6" name="Rectángulo: esquinas redondeadas 35">
              <a:extLst>
                <a:ext uri="{FF2B5EF4-FFF2-40B4-BE49-F238E27FC236}">
                  <a16:creationId xmlns:a16="http://schemas.microsoft.com/office/drawing/2014/main" id="{D0E34F2F-053A-E9E7-B13F-46550460190B}"/>
                </a:ext>
              </a:extLst>
            </p:cNvPr>
            <p:cNvSpPr/>
            <p:nvPr/>
          </p:nvSpPr>
          <p:spPr>
            <a:xfrm>
              <a:off x="2707420" y="1822180"/>
              <a:ext cx="1478942" cy="405517"/>
            </a:xfrm>
            <a:prstGeom prst="roundRect">
              <a:avLst/>
            </a:prstGeom>
            <a:solidFill>
              <a:srgbClr val="99CCFF"/>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Jair Tarazona</a:t>
              </a:r>
            </a:p>
            <a:p>
              <a:pPr algn="r"/>
              <a:r>
                <a:rPr lang="es-MX" sz="800" i="1">
                  <a:solidFill>
                    <a:schemeClr val="tx2">
                      <a:lumMod val="50000"/>
                    </a:schemeClr>
                  </a:solidFill>
                </a:rPr>
                <a:t>QA Ssr. [E]</a:t>
              </a:r>
            </a:p>
          </p:txBody>
        </p:sp>
        <p:sp>
          <p:nvSpPr>
            <p:cNvPr id="37" name="Elipse 36">
              <a:extLst>
                <a:ext uri="{FF2B5EF4-FFF2-40B4-BE49-F238E27FC236}">
                  <a16:creationId xmlns:a16="http://schemas.microsoft.com/office/drawing/2014/main" id="{2A9F32EF-B3A5-4D92-59B5-867EC8DBA6D4}"/>
                </a:ext>
              </a:extLst>
            </p:cNvPr>
            <p:cNvSpPr/>
            <p:nvPr/>
          </p:nvSpPr>
          <p:spPr>
            <a:xfrm>
              <a:off x="2786934" y="1902451"/>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8" name="Rectángulo: esquinas redondeadas 37">
              <a:extLst>
                <a:ext uri="{FF2B5EF4-FFF2-40B4-BE49-F238E27FC236}">
                  <a16:creationId xmlns:a16="http://schemas.microsoft.com/office/drawing/2014/main" id="{A186BAD4-1477-2BE7-6A43-F98078789F5A}"/>
                </a:ext>
              </a:extLst>
            </p:cNvPr>
            <p:cNvSpPr/>
            <p:nvPr/>
          </p:nvSpPr>
          <p:spPr>
            <a:xfrm>
              <a:off x="2707420" y="2312511"/>
              <a:ext cx="1478942" cy="405517"/>
            </a:xfrm>
            <a:prstGeom prst="roundRect">
              <a:avLst/>
            </a:prstGeom>
            <a:solidFill>
              <a:srgbClr val="99CCFF"/>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Lesly Vildoso</a:t>
              </a:r>
            </a:p>
            <a:p>
              <a:pPr algn="r"/>
              <a:r>
                <a:rPr lang="es-MX" sz="800" i="1">
                  <a:solidFill>
                    <a:schemeClr val="tx2">
                      <a:lumMod val="50000"/>
                    </a:schemeClr>
                  </a:solidFill>
                </a:rPr>
                <a:t>Líder QA Core [E]</a:t>
              </a:r>
            </a:p>
          </p:txBody>
        </p:sp>
        <p:sp>
          <p:nvSpPr>
            <p:cNvPr id="39" name="Elipse 38">
              <a:extLst>
                <a:ext uri="{FF2B5EF4-FFF2-40B4-BE49-F238E27FC236}">
                  <a16:creationId xmlns:a16="http://schemas.microsoft.com/office/drawing/2014/main" id="{051A8C91-8A3E-85F5-BE17-7AD5A1CB40A4}"/>
                </a:ext>
              </a:extLst>
            </p:cNvPr>
            <p:cNvSpPr/>
            <p:nvPr/>
          </p:nvSpPr>
          <p:spPr>
            <a:xfrm>
              <a:off x="2786934" y="2392782"/>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40" name="Rectángulo: esquinas redondeadas 39">
              <a:extLst>
                <a:ext uri="{FF2B5EF4-FFF2-40B4-BE49-F238E27FC236}">
                  <a16:creationId xmlns:a16="http://schemas.microsoft.com/office/drawing/2014/main" id="{0F0FB1E8-02A0-FB18-A170-3EA20EE7FD3C}"/>
                </a:ext>
              </a:extLst>
            </p:cNvPr>
            <p:cNvSpPr/>
            <p:nvPr/>
          </p:nvSpPr>
          <p:spPr>
            <a:xfrm>
              <a:off x="2707419" y="3283329"/>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Isis Morales</a:t>
              </a:r>
            </a:p>
            <a:p>
              <a:pPr algn="r"/>
              <a:r>
                <a:rPr lang="es-MX" sz="800" i="1">
                  <a:solidFill>
                    <a:schemeClr val="tx2">
                      <a:lumMod val="50000"/>
                    </a:schemeClr>
                  </a:solidFill>
                </a:rPr>
                <a:t>QA Sr. [E]</a:t>
              </a:r>
            </a:p>
          </p:txBody>
        </p:sp>
        <p:sp>
          <p:nvSpPr>
            <p:cNvPr id="42" name="Rectángulo: esquinas redondeadas 41">
              <a:extLst>
                <a:ext uri="{FF2B5EF4-FFF2-40B4-BE49-F238E27FC236}">
                  <a16:creationId xmlns:a16="http://schemas.microsoft.com/office/drawing/2014/main" id="{2A2287D9-7E87-542B-594E-B6547D40B1B8}"/>
                </a:ext>
              </a:extLst>
            </p:cNvPr>
            <p:cNvSpPr/>
            <p:nvPr/>
          </p:nvSpPr>
          <p:spPr>
            <a:xfrm>
              <a:off x="2707420" y="2799056"/>
              <a:ext cx="1478942" cy="405517"/>
            </a:xfrm>
            <a:prstGeom prst="roundRect">
              <a:avLst/>
            </a:prstGeom>
            <a:solidFill>
              <a:srgbClr val="99CCFF"/>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Fabiola Viacaba</a:t>
              </a:r>
            </a:p>
            <a:p>
              <a:pPr algn="r"/>
              <a:r>
                <a:rPr lang="es-MX" sz="800" i="1">
                  <a:solidFill>
                    <a:schemeClr val="tx2">
                      <a:lumMod val="50000"/>
                    </a:schemeClr>
                  </a:solidFill>
                </a:rPr>
                <a:t>QA Ssr. [E]</a:t>
              </a:r>
            </a:p>
          </p:txBody>
        </p:sp>
        <p:sp>
          <p:nvSpPr>
            <p:cNvPr id="43" name="Elipse 42">
              <a:extLst>
                <a:ext uri="{FF2B5EF4-FFF2-40B4-BE49-F238E27FC236}">
                  <a16:creationId xmlns:a16="http://schemas.microsoft.com/office/drawing/2014/main" id="{EEA41AA3-C768-0FC7-15B6-B754711501EB}"/>
                </a:ext>
              </a:extLst>
            </p:cNvPr>
            <p:cNvSpPr/>
            <p:nvPr/>
          </p:nvSpPr>
          <p:spPr>
            <a:xfrm>
              <a:off x="2786934" y="3364358"/>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44" name="Rectángulo: esquinas redondeadas 43">
              <a:extLst>
                <a:ext uri="{FF2B5EF4-FFF2-40B4-BE49-F238E27FC236}">
                  <a16:creationId xmlns:a16="http://schemas.microsoft.com/office/drawing/2014/main" id="{361F1371-F245-25A5-4D72-72BBBE1D18AB}"/>
                </a:ext>
              </a:extLst>
            </p:cNvPr>
            <p:cNvSpPr/>
            <p:nvPr/>
          </p:nvSpPr>
          <p:spPr>
            <a:xfrm>
              <a:off x="4545499" y="1331849"/>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Omar Mesones</a:t>
              </a:r>
            </a:p>
            <a:p>
              <a:pPr algn="r"/>
              <a:r>
                <a:rPr lang="es-MX" sz="800" i="1">
                  <a:solidFill>
                    <a:schemeClr val="tx2">
                      <a:lumMod val="50000"/>
                    </a:schemeClr>
                  </a:solidFill>
                </a:rPr>
                <a:t>Líder QA Integración [E]</a:t>
              </a:r>
            </a:p>
          </p:txBody>
        </p:sp>
        <p:sp>
          <p:nvSpPr>
            <p:cNvPr id="45" name="Elipse 44">
              <a:extLst>
                <a:ext uri="{FF2B5EF4-FFF2-40B4-BE49-F238E27FC236}">
                  <a16:creationId xmlns:a16="http://schemas.microsoft.com/office/drawing/2014/main" id="{0A38368C-36D0-3A16-9DC2-CD3F513E4095}"/>
                </a:ext>
              </a:extLst>
            </p:cNvPr>
            <p:cNvSpPr/>
            <p:nvPr/>
          </p:nvSpPr>
          <p:spPr>
            <a:xfrm>
              <a:off x="4625013" y="1412120"/>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46" name="Rectángulo: esquinas redondeadas 45">
              <a:extLst>
                <a:ext uri="{FF2B5EF4-FFF2-40B4-BE49-F238E27FC236}">
                  <a16:creationId xmlns:a16="http://schemas.microsoft.com/office/drawing/2014/main" id="{983BB00C-36FC-EE74-255E-94BF5501D128}"/>
                </a:ext>
              </a:extLst>
            </p:cNvPr>
            <p:cNvSpPr/>
            <p:nvPr/>
          </p:nvSpPr>
          <p:spPr>
            <a:xfrm>
              <a:off x="4545499" y="1822180"/>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Belén Muñoz</a:t>
              </a:r>
            </a:p>
            <a:p>
              <a:pPr algn="r"/>
              <a:r>
                <a:rPr lang="es-MX" sz="800" i="1">
                  <a:solidFill>
                    <a:schemeClr val="tx2">
                      <a:lumMod val="50000"/>
                    </a:schemeClr>
                  </a:solidFill>
                </a:rPr>
                <a:t>QA Ssr. [E]</a:t>
              </a:r>
            </a:p>
          </p:txBody>
        </p:sp>
        <p:sp>
          <p:nvSpPr>
            <p:cNvPr id="47" name="Elipse 46">
              <a:extLst>
                <a:ext uri="{FF2B5EF4-FFF2-40B4-BE49-F238E27FC236}">
                  <a16:creationId xmlns:a16="http://schemas.microsoft.com/office/drawing/2014/main" id="{067C3608-E4F2-BD0C-1FF9-1C8FC6C27791}"/>
                </a:ext>
              </a:extLst>
            </p:cNvPr>
            <p:cNvSpPr/>
            <p:nvPr/>
          </p:nvSpPr>
          <p:spPr>
            <a:xfrm>
              <a:off x="4625013" y="1902451"/>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48" name="Rectángulo: esquinas redondeadas 47">
              <a:extLst>
                <a:ext uri="{FF2B5EF4-FFF2-40B4-BE49-F238E27FC236}">
                  <a16:creationId xmlns:a16="http://schemas.microsoft.com/office/drawing/2014/main" id="{71BFF73C-FD57-6BE9-30CF-80689AEE8D53}"/>
                </a:ext>
              </a:extLst>
            </p:cNvPr>
            <p:cNvSpPr/>
            <p:nvPr/>
          </p:nvSpPr>
          <p:spPr>
            <a:xfrm>
              <a:off x="4545499" y="2312511"/>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Carolina Li</a:t>
              </a:r>
            </a:p>
            <a:p>
              <a:pPr algn="r"/>
              <a:r>
                <a:rPr lang="es-MX" sz="800" i="1">
                  <a:solidFill>
                    <a:schemeClr val="tx2">
                      <a:lumMod val="50000"/>
                    </a:schemeClr>
                  </a:solidFill>
                </a:rPr>
                <a:t>QA Ssr. [E]</a:t>
              </a:r>
              <a:r>
                <a:rPr lang="es-MX" sz="800" b="1">
                  <a:solidFill>
                    <a:schemeClr val="tx2">
                      <a:lumMod val="50000"/>
                    </a:schemeClr>
                  </a:solidFill>
                </a:rPr>
                <a:t> </a:t>
              </a:r>
            </a:p>
          </p:txBody>
        </p:sp>
        <p:sp>
          <p:nvSpPr>
            <p:cNvPr id="49" name="Elipse 48">
              <a:extLst>
                <a:ext uri="{FF2B5EF4-FFF2-40B4-BE49-F238E27FC236}">
                  <a16:creationId xmlns:a16="http://schemas.microsoft.com/office/drawing/2014/main" id="{4D920C46-BD9C-EED7-D785-BC6E8F9C32DB}"/>
                </a:ext>
              </a:extLst>
            </p:cNvPr>
            <p:cNvSpPr/>
            <p:nvPr/>
          </p:nvSpPr>
          <p:spPr>
            <a:xfrm>
              <a:off x="4625013" y="2392782"/>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50" name="Rectángulo: esquinas redondeadas 49">
              <a:extLst>
                <a:ext uri="{FF2B5EF4-FFF2-40B4-BE49-F238E27FC236}">
                  <a16:creationId xmlns:a16="http://schemas.microsoft.com/office/drawing/2014/main" id="{EFFC529F-4324-5130-635C-5D8B86ED86BD}"/>
                </a:ext>
              </a:extLst>
            </p:cNvPr>
            <p:cNvSpPr/>
            <p:nvPr/>
          </p:nvSpPr>
          <p:spPr>
            <a:xfrm>
              <a:off x="4545499" y="2798299"/>
              <a:ext cx="1478942" cy="405517"/>
            </a:xfrm>
            <a:prstGeom prst="roundRect">
              <a:avLst/>
            </a:prstGeom>
            <a:solidFill>
              <a:srgbClr val="FFCC99"/>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María Delgado</a:t>
              </a:r>
            </a:p>
            <a:p>
              <a:pPr algn="r"/>
              <a:r>
                <a:rPr lang="es-MX" sz="800" i="1">
                  <a:solidFill>
                    <a:schemeClr val="tx2">
                      <a:lumMod val="50000"/>
                    </a:schemeClr>
                  </a:solidFill>
                </a:rPr>
                <a:t>QA Sr. [E]</a:t>
              </a:r>
            </a:p>
          </p:txBody>
        </p:sp>
        <p:sp>
          <p:nvSpPr>
            <p:cNvPr id="51" name="Elipse 50">
              <a:extLst>
                <a:ext uri="{FF2B5EF4-FFF2-40B4-BE49-F238E27FC236}">
                  <a16:creationId xmlns:a16="http://schemas.microsoft.com/office/drawing/2014/main" id="{8C869945-D19D-F55F-1ADE-D82C6E83B26D}"/>
                </a:ext>
              </a:extLst>
            </p:cNvPr>
            <p:cNvSpPr/>
            <p:nvPr/>
          </p:nvSpPr>
          <p:spPr>
            <a:xfrm>
              <a:off x="4625013" y="2878570"/>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52" name="Rectángulo: esquinas redondeadas 51">
              <a:extLst>
                <a:ext uri="{FF2B5EF4-FFF2-40B4-BE49-F238E27FC236}">
                  <a16:creationId xmlns:a16="http://schemas.microsoft.com/office/drawing/2014/main" id="{C48F7E4B-A962-0A99-8D86-D3D5533BF5A9}"/>
                </a:ext>
              </a:extLst>
            </p:cNvPr>
            <p:cNvSpPr/>
            <p:nvPr/>
          </p:nvSpPr>
          <p:spPr>
            <a:xfrm>
              <a:off x="4545499" y="3284087"/>
              <a:ext cx="1478942" cy="405517"/>
            </a:xfrm>
            <a:prstGeom prst="roundRect">
              <a:avLst/>
            </a:prstGeom>
            <a:solidFill>
              <a:srgbClr val="FFCC99"/>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Cesar Rudas</a:t>
              </a:r>
            </a:p>
            <a:p>
              <a:pPr algn="r"/>
              <a:r>
                <a:rPr lang="es-MX" sz="800" i="1">
                  <a:solidFill>
                    <a:schemeClr val="tx2">
                      <a:lumMod val="50000"/>
                    </a:schemeClr>
                  </a:solidFill>
                </a:rPr>
                <a:t>Performance [E]</a:t>
              </a:r>
            </a:p>
          </p:txBody>
        </p:sp>
        <p:sp>
          <p:nvSpPr>
            <p:cNvPr id="53" name="Elipse 52">
              <a:extLst>
                <a:ext uri="{FF2B5EF4-FFF2-40B4-BE49-F238E27FC236}">
                  <a16:creationId xmlns:a16="http://schemas.microsoft.com/office/drawing/2014/main" id="{26DAC9A5-E681-75A0-0AB9-504EEEEC6BD5}"/>
                </a:ext>
              </a:extLst>
            </p:cNvPr>
            <p:cNvSpPr/>
            <p:nvPr/>
          </p:nvSpPr>
          <p:spPr>
            <a:xfrm>
              <a:off x="4625013" y="3364358"/>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54" name="Rectángulo: esquinas redondeadas 53">
              <a:extLst>
                <a:ext uri="{FF2B5EF4-FFF2-40B4-BE49-F238E27FC236}">
                  <a16:creationId xmlns:a16="http://schemas.microsoft.com/office/drawing/2014/main" id="{3771998C-A5AC-EB78-4327-D3201F324916}"/>
                </a:ext>
              </a:extLst>
            </p:cNvPr>
            <p:cNvSpPr/>
            <p:nvPr/>
          </p:nvSpPr>
          <p:spPr>
            <a:xfrm>
              <a:off x="4545499" y="3774418"/>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a:p>
              <a:pPr algn="r"/>
              <a:r>
                <a:rPr lang="es-MX" sz="800" i="1">
                  <a:solidFill>
                    <a:schemeClr val="tx2">
                      <a:lumMod val="50000"/>
                    </a:schemeClr>
                  </a:solidFill>
                </a:rPr>
                <a:t>Automatizador Ssr. [E]</a:t>
              </a:r>
            </a:p>
          </p:txBody>
        </p:sp>
        <p:sp>
          <p:nvSpPr>
            <p:cNvPr id="55" name="Elipse 54">
              <a:extLst>
                <a:ext uri="{FF2B5EF4-FFF2-40B4-BE49-F238E27FC236}">
                  <a16:creationId xmlns:a16="http://schemas.microsoft.com/office/drawing/2014/main" id="{2A471A9A-D0DE-C98E-A8B9-27E8501E6D69}"/>
                </a:ext>
              </a:extLst>
            </p:cNvPr>
            <p:cNvSpPr/>
            <p:nvPr/>
          </p:nvSpPr>
          <p:spPr>
            <a:xfrm>
              <a:off x="4625013" y="3854689"/>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56" name="Rectángulo: esquinas redondeadas 55">
              <a:extLst>
                <a:ext uri="{FF2B5EF4-FFF2-40B4-BE49-F238E27FC236}">
                  <a16:creationId xmlns:a16="http://schemas.microsoft.com/office/drawing/2014/main" id="{87780FE7-A138-C3DC-6991-2B36B87C9C66}"/>
                </a:ext>
              </a:extLst>
            </p:cNvPr>
            <p:cNvSpPr/>
            <p:nvPr/>
          </p:nvSpPr>
          <p:spPr>
            <a:xfrm>
              <a:off x="4545499" y="4264749"/>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a:p>
              <a:pPr algn="r"/>
              <a:r>
                <a:rPr lang="es-MX" sz="800" i="1">
                  <a:solidFill>
                    <a:schemeClr val="tx2">
                      <a:lumMod val="50000"/>
                    </a:schemeClr>
                  </a:solidFill>
                </a:rPr>
                <a:t>Automatizador Ssr. [E]</a:t>
              </a:r>
            </a:p>
          </p:txBody>
        </p:sp>
        <p:sp>
          <p:nvSpPr>
            <p:cNvPr id="57" name="Elipse 56">
              <a:extLst>
                <a:ext uri="{FF2B5EF4-FFF2-40B4-BE49-F238E27FC236}">
                  <a16:creationId xmlns:a16="http://schemas.microsoft.com/office/drawing/2014/main" id="{E9AFE3CE-27AF-8DF4-9225-5AC288A39E93}"/>
                </a:ext>
              </a:extLst>
            </p:cNvPr>
            <p:cNvSpPr/>
            <p:nvPr/>
          </p:nvSpPr>
          <p:spPr>
            <a:xfrm>
              <a:off x="4625013" y="4345020"/>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58" name="Rectángulo: esquinas redondeadas 57">
              <a:extLst>
                <a:ext uri="{FF2B5EF4-FFF2-40B4-BE49-F238E27FC236}">
                  <a16:creationId xmlns:a16="http://schemas.microsoft.com/office/drawing/2014/main" id="{3363A692-0373-C190-7D52-54CFB7604131}"/>
                </a:ext>
              </a:extLst>
            </p:cNvPr>
            <p:cNvSpPr/>
            <p:nvPr/>
          </p:nvSpPr>
          <p:spPr>
            <a:xfrm>
              <a:off x="4545499" y="4750537"/>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a:p>
              <a:pPr algn="r"/>
              <a:r>
                <a:rPr lang="es-MX" sz="800" i="1">
                  <a:solidFill>
                    <a:schemeClr val="tx2">
                      <a:lumMod val="50000"/>
                    </a:schemeClr>
                  </a:solidFill>
                </a:rPr>
                <a:t>Automatizador Ssr. [E]</a:t>
              </a:r>
            </a:p>
          </p:txBody>
        </p:sp>
        <p:sp>
          <p:nvSpPr>
            <p:cNvPr id="59" name="Elipse 58">
              <a:extLst>
                <a:ext uri="{FF2B5EF4-FFF2-40B4-BE49-F238E27FC236}">
                  <a16:creationId xmlns:a16="http://schemas.microsoft.com/office/drawing/2014/main" id="{70F6C863-6B51-BD7D-9EB6-BC886CE4032C}"/>
                </a:ext>
              </a:extLst>
            </p:cNvPr>
            <p:cNvSpPr/>
            <p:nvPr/>
          </p:nvSpPr>
          <p:spPr>
            <a:xfrm>
              <a:off x="4625013" y="4830808"/>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0" name="Rectángulo: esquinas redondeadas 59">
              <a:extLst>
                <a:ext uri="{FF2B5EF4-FFF2-40B4-BE49-F238E27FC236}">
                  <a16:creationId xmlns:a16="http://schemas.microsoft.com/office/drawing/2014/main" id="{98072829-42FA-36F9-8015-EA50D8D92901}"/>
                </a:ext>
              </a:extLst>
            </p:cNvPr>
            <p:cNvSpPr/>
            <p:nvPr/>
          </p:nvSpPr>
          <p:spPr>
            <a:xfrm>
              <a:off x="6423330" y="1331849"/>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900" b="1">
                  <a:solidFill>
                    <a:schemeClr val="tx2">
                      <a:lumMod val="50000"/>
                    </a:schemeClr>
                  </a:solidFill>
                </a:rPr>
                <a:t>Samantha Antenucci</a:t>
              </a:r>
            </a:p>
            <a:p>
              <a:pPr algn="r"/>
              <a:r>
                <a:rPr lang="es-MX" sz="800" i="1">
                  <a:solidFill>
                    <a:schemeClr val="tx2">
                      <a:lumMod val="50000"/>
                    </a:schemeClr>
                  </a:solidFill>
                </a:rPr>
                <a:t>Líder QA Space [E]</a:t>
              </a:r>
            </a:p>
          </p:txBody>
        </p:sp>
        <p:sp>
          <p:nvSpPr>
            <p:cNvPr id="61" name="Elipse 60">
              <a:extLst>
                <a:ext uri="{FF2B5EF4-FFF2-40B4-BE49-F238E27FC236}">
                  <a16:creationId xmlns:a16="http://schemas.microsoft.com/office/drawing/2014/main" id="{237CB81C-0847-0818-8076-579DFD79A8FC}"/>
                </a:ext>
              </a:extLst>
            </p:cNvPr>
            <p:cNvSpPr/>
            <p:nvPr/>
          </p:nvSpPr>
          <p:spPr>
            <a:xfrm>
              <a:off x="6502844" y="1412120"/>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2" name="Rectángulo: esquinas redondeadas 61">
              <a:extLst>
                <a:ext uri="{FF2B5EF4-FFF2-40B4-BE49-F238E27FC236}">
                  <a16:creationId xmlns:a16="http://schemas.microsoft.com/office/drawing/2014/main" id="{82EF1466-31DC-2F29-0F14-3C45088AD9B6}"/>
                </a:ext>
              </a:extLst>
            </p:cNvPr>
            <p:cNvSpPr/>
            <p:nvPr/>
          </p:nvSpPr>
          <p:spPr>
            <a:xfrm>
              <a:off x="6423330" y="1822180"/>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Vanessa Sovero</a:t>
              </a:r>
            </a:p>
            <a:p>
              <a:pPr algn="r"/>
              <a:r>
                <a:rPr lang="es-MX" sz="800" i="1">
                  <a:solidFill>
                    <a:schemeClr val="tx2">
                      <a:lumMod val="50000"/>
                    </a:schemeClr>
                  </a:solidFill>
                </a:rPr>
                <a:t>Líder QA Procesos [E]</a:t>
              </a:r>
            </a:p>
          </p:txBody>
        </p:sp>
        <p:sp>
          <p:nvSpPr>
            <p:cNvPr id="63" name="Elipse 62">
              <a:extLst>
                <a:ext uri="{FF2B5EF4-FFF2-40B4-BE49-F238E27FC236}">
                  <a16:creationId xmlns:a16="http://schemas.microsoft.com/office/drawing/2014/main" id="{68F660EE-1F41-D7B2-9E07-264BFA653432}"/>
                </a:ext>
              </a:extLst>
            </p:cNvPr>
            <p:cNvSpPr/>
            <p:nvPr/>
          </p:nvSpPr>
          <p:spPr>
            <a:xfrm>
              <a:off x="6502844" y="1902451"/>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4" name="Rectángulo: esquinas redondeadas 63">
              <a:extLst>
                <a:ext uri="{FF2B5EF4-FFF2-40B4-BE49-F238E27FC236}">
                  <a16:creationId xmlns:a16="http://schemas.microsoft.com/office/drawing/2014/main" id="{417001B1-8725-7D54-6151-1A80865EDF42}"/>
                </a:ext>
              </a:extLst>
            </p:cNvPr>
            <p:cNvSpPr/>
            <p:nvPr/>
          </p:nvSpPr>
          <p:spPr>
            <a:xfrm>
              <a:off x="6423330" y="2312511"/>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José Grados</a:t>
              </a:r>
            </a:p>
            <a:p>
              <a:pPr algn="r"/>
              <a:r>
                <a:rPr lang="es-MX" sz="700" i="1">
                  <a:solidFill>
                    <a:schemeClr val="tx2">
                      <a:lumMod val="50000"/>
                    </a:schemeClr>
                  </a:solidFill>
                </a:rPr>
                <a:t>Líder QA CyberFinantial [E]</a:t>
              </a:r>
            </a:p>
          </p:txBody>
        </p:sp>
        <p:sp>
          <p:nvSpPr>
            <p:cNvPr id="65" name="Elipse 64">
              <a:extLst>
                <a:ext uri="{FF2B5EF4-FFF2-40B4-BE49-F238E27FC236}">
                  <a16:creationId xmlns:a16="http://schemas.microsoft.com/office/drawing/2014/main" id="{AF30E298-DA63-8157-C0DF-8B3F7E09A281}"/>
                </a:ext>
              </a:extLst>
            </p:cNvPr>
            <p:cNvSpPr/>
            <p:nvPr/>
          </p:nvSpPr>
          <p:spPr>
            <a:xfrm>
              <a:off x="6502844" y="2392782"/>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6" name="Rectángulo: esquinas redondeadas 65">
              <a:extLst>
                <a:ext uri="{FF2B5EF4-FFF2-40B4-BE49-F238E27FC236}">
                  <a16:creationId xmlns:a16="http://schemas.microsoft.com/office/drawing/2014/main" id="{E9800B7B-B137-153A-7B63-06D9776A42F4}"/>
                </a:ext>
              </a:extLst>
            </p:cNvPr>
            <p:cNvSpPr/>
            <p:nvPr/>
          </p:nvSpPr>
          <p:spPr>
            <a:xfrm>
              <a:off x="6423330" y="2798299"/>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a:p>
              <a:pPr algn="r"/>
              <a:r>
                <a:rPr lang="es-MX" sz="800" i="1">
                  <a:solidFill>
                    <a:schemeClr val="tx2">
                      <a:lumMod val="50000"/>
                    </a:schemeClr>
                  </a:solidFill>
                </a:rPr>
                <a:t>QA Sr. [E]</a:t>
              </a:r>
            </a:p>
          </p:txBody>
        </p:sp>
        <p:sp>
          <p:nvSpPr>
            <p:cNvPr id="67" name="Elipse 66">
              <a:extLst>
                <a:ext uri="{FF2B5EF4-FFF2-40B4-BE49-F238E27FC236}">
                  <a16:creationId xmlns:a16="http://schemas.microsoft.com/office/drawing/2014/main" id="{47A77D82-201F-0C57-5243-B486E38EA3B8}"/>
                </a:ext>
              </a:extLst>
            </p:cNvPr>
            <p:cNvSpPr/>
            <p:nvPr/>
          </p:nvSpPr>
          <p:spPr>
            <a:xfrm>
              <a:off x="6502844" y="2878570"/>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8" name="Rectángulo: esquinas redondeadas 67">
              <a:extLst>
                <a:ext uri="{FF2B5EF4-FFF2-40B4-BE49-F238E27FC236}">
                  <a16:creationId xmlns:a16="http://schemas.microsoft.com/office/drawing/2014/main" id="{6864A90F-DDA4-70E6-700F-C42D5C29A53F}"/>
                </a:ext>
              </a:extLst>
            </p:cNvPr>
            <p:cNvSpPr/>
            <p:nvPr/>
          </p:nvSpPr>
          <p:spPr>
            <a:xfrm>
              <a:off x="6423330" y="3284087"/>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a:p>
              <a:pPr algn="r"/>
              <a:r>
                <a:rPr lang="es-MX" sz="800" i="1">
                  <a:solidFill>
                    <a:schemeClr val="tx2">
                      <a:lumMod val="50000"/>
                    </a:schemeClr>
                  </a:solidFill>
                </a:rPr>
                <a:t>QA Sr. [E]</a:t>
              </a:r>
            </a:p>
          </p:txBody>
        </p:sp>
        <p:sp>
          <p:nvSpPr>
            <p:cNvPr id="69" name="Elipse 68">
              <a:extLst>
                <a:ext uri="{FF2B5EF4-FFF2-40B4-BE49-F238E27FC236}">
                  <a16:creationId xmlns:a16="http://schemas.microsoft.com/office/drawing/2014/main" id="{26B2B87D-E168-2142-08E3-A380BAD894E3}"/>
                </a:ext>
              </a:extLst>
            </p:cNvPr>
            <p:cNvSpPr/>
            <p:nvPr/>
          </p:nvSpPr>
          <p:spPr>
            <a:xfrm>
              <a:off x="6502844" y="3364358"/>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70" name="Rectángulo: esquinas redondeadas 69">
              <a:extLst>
                <a:ext uri="{FF2B5EF4-FFF2-40B4-BE49-F238E27FC236}">
                  <a16:creationId xmlns:a16="http://schemas.microsoft.com/office/drawing/2014/main" id="{26CFDC5D-F836-FE6A-B498-E339054A2864}"/>
                </a:ext>
              </a:extLst>
            </p:cNvPr>
            <p:cNvSpPr/>
            <p:nvPr/>
          </p:nvSpPr>
          <p:spPr>
            <a:xfrm>
              <a:off x="6423330" y="3774418"/>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a:p>
              <a:pPr algn="r"/>
              <a:r>
                <a:rPr lang="es-MX" sz="800" i="1">
                  <a:solidFill>
                    <a:schemeClr val="tx2">
                      <a:lumMod val="50000"/>
                    </a:schemeClr>
                  </a:solidFill>
                </a:rPr>
                <a:t>QA Sr. [E]</a:t>
              </a:r>
            </a:p>
          </p:txBody>
        </p:sp>
        <p:sp>
          <p:nvSpPr>
            <p:cNvPr id="71" name="Elipse 70">
              <a:extLst>
                <a:ext uri="{FF2B5EF4-FFF2-40B4-BE49-F238E27FC236}">
                  <a16:creationId xmlns:a16="http://schemas.microsoft.com/office/drawing/2014/main" id="{DAB05918-A746-7433-7E09-C13D280C3D45}"/>
                </a:ext>
              </a:extLst>
            </p:cNvPr>
            <p:cNvSpPr/>
            <p:nvPr/>
          </p:nvSpPr>
          <p:spPr>
            <a:xfrm>
              <a:off x="6502844" y="3854689"/>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72" name="Rectángulo: esquinas redondeadas 71">
              <a:extLst>
                <a:ext uri="{FF2B5EF4-FFF2-40B4-BE49-F238E27FC236}">
                  <a16:creationId xmlns:a16="http://schemas.microsoft.com/office/drawing/2014/main" id="{433A59FD-CAF9-A778-AF37-2E11DF4BB852}"/>
                </a:ext>
              </a:extLst>
            </p:cNvPr>
            <p:cNvSpPr/>
            <p:nvPr/>
          </p:nvSpPr>
          <p:spPr>
            <a:xfrm>
              <a:off x="8287910" y="1331849"/>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Mariluz Hilario</a:t>
              </a:r>
            </a:p>
            <a:p>
              <a:pPr algn="r"/>
              <a:r>
                <a:rPr lang="es-MX" sz="800" i="1">
                  <a:solidFill>
                    <a:schemeClr val="tx2">
                      <a:lumMod val="50000"/>
                    </a:schemeClr>
                  </a:solidFill>
                </a:rPr>
                <a:t>Líder QA Cards [E]</a:t>
              </a:r>
            </a:p>
          </p:txBody>
        </p:sp>
        <p:sp>
          <p:nvSpPr>
            <p:cNvPr id="73" name="Elipse 72">
              <a:extLst>
                <a:ext uri="{FF2B5EF4-FFF2-40B4-BE49-F238E27FC236}">
                  <a16:creationId xmlns:a16="http://schemas.microsoft.com/office/drawing/2014/main" id="{25027286-9A8A-7753-6FB1-408D409E249F}"/>
                </a:ext>
              </a:extLst>
            </p:cNvPr>
            <p:cNvSpPr/>
            <p:nvPr/>
          </p:nvSpPr>
          <p:spPr>
            <a:xfrm>
              <a:off x="8367424" y="1412120"/>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74" name="Rectángulo: esquinas redondeadas 73">
              <a:extLst>
                <a:ext uri="{FF2B5EF4-FFF2-40B4-BE49-F238E27FC236}">
                  <a16:creationId xmlns:a16="http://schemas.microsoft.com/office/drawing/2014/main" id="{D9A9753F-09CC-E7EB-4A4D-39DE4C290BB1}"/>
                </a:ext>
              </a:extLst>
            </p:cNvPr>
            <p:cNvSpPr/>
            <p:nvPr/>
          </p:nvSpPr>
          <p:spPr>
            <a:xfrm>
              <a:off x="8287910" y="1822180"/>
              <a:ext cx="1478942" cy="405517"/>
            </a:xfrm>
            <a:prstGeom prst="roundRect">
              <a:avLst/>
            </a:prstGeom>
            <a:solidFill>
              <a:srgbClr val="C2F6FA"/>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Sergio Palomares</a:t>
              </a:r>
            </a:p>
            <a:p>
              <a:pPr algn="r"/>
              <a:r>
                <a:rPr lang="es-MX" sz="800" i="1">
                  <a:solidFill>
                    <a:schemeClr val="tx2">
                      <a:lumMod val="50000"/>
                    </a:schemeClr>
                  </a:solidFill>
                </a:rPr>
                <a:t>QA Ssr. [E]</a:t>
              </a:r>
            </a:p>
          </p:txBody>
        </p:sp>
        <p:sp>
          <p:nvSpPr>
            <p:cNvPr id="75" name="Elipse 74">
              <a:extLst>
                <a:ext uri="{FF2B5EF4-FFF2-40B4-BE49-F238E27FC236}">
                  <a16:creationId xmlns:a16="http://schemas.microsoft.com/office/drawing/2014/main" id="{A2BB8A44-64A3-3974-FB37-4053DF715294}"/>
                </a:ext>
              </a:extLst>
            </p:cNvPr>
            <p:cNvSpPr/>
            <p:nvPr/>
          </p:nvSpPr>
          <p:spPr>
            <a:xfrm>
              <a:off x="8367424" y="1902451"/>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76" name="Rectángulo: esquinas redondeadas 75">
              <a:extLst>
                <a:ext uri="{FF2B5EF4-FFF2-40B4-BE49-F238E27FC236}">
                  <a16:creationId xmlns:a16="http://schemas.microsoft.com/office/drawing/2014/main" id="{8AF64BA8-CA3D-96B4-1BFE-E1A843C61B2C}"/>
                </a:ext>
              </a:extLst>
            </p:cNvPr>
            <p:cNvSpPr/>
            <p:nvPr/>
          </p:nvSpPr>
          <p:spPr>
            <a:xfrm>
              <a:off x="10160449" y="1331849"/>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Omar Montaño</a:t>
              </a:r>
            </a:p>
            <a:p>
              <a:pPr algn="r"/>
              <a:r>
                <a:rPr lang="es-MX" sz="600" i="1">
                  <a:solidFill>
                    <a:schemeClr val="tx2">
                      <a:lumMod val="50000"/>
                    </a:schemeClr>
                  </a:solidFill>
                </a:rPr>
                <a:t>Líder QA Canales Asistidos [E]</a:t>
              </a:r>
            </a:p>
          </p:txBody>
        </p:sp>
        <p:sp>
          <p:nvSpPr>
            <p:cNvPr id="77" name="Elipse 76">
              <a:extLst>
                <a:ext uri="{FF2B5EF4-FFF2-40B4-BE49-F238E27FC236}">
                  <a16:creationId xmlns:a16="http://schemas.microsoft.com/office/drawing/2014/main" id="{40D01E34-9394-0BA3-D011-06571C4E729C}"/>
                </a:ext>
              </a:extLst>
            </p:cNvPr>
            <p:cNvSpPr/>
            <p:nvPr/>
          </p:nvSpPr>
          <p:spPr>
            <a:xfrm>
              <a:off x="10239963" y="1412120"/>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78" name="Rectángulo: esquinas redondeadas 77">
              <a:extLst>
                <a:ext uri="{FF2B5EF4-FFF2-40B4-BE49-F238E27FC236}">
                  <a16:creationId xmlns:a16="http://schemas.microsoft.com/office/drawing/2014/main" id="{813F4D31-7A30-2603-CEF1-6638495C6132}"/>
                </a:ext>
              </a:extLst>
            </p:cNvPr>
            <p:cNvSpPr/>
            <p:nvPr/>
          </p:nvSpPr>
          <p:spPr>
            <a:xfrm>
              <a:off x="10160449" y="1822180"/>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79" name="Elipse 78">
              <a:extLst>
                <a:ext uri="{FF2B5EF4-FFF2-40B4-BE49-F238E27FC236}">
                  <a16:creationId xmlns:a16="http://schemas.microsoft.com/office/drawing/2014/main" id="{3408CC04-08DC-7872-D938-E056AA620770}"/>
                </a:ext>
              </a:extLst>
            </p:cNvPr>
            <p:cNvSpPr/>
            <p:nvPr/>
          </p:nvSpPr>
          <p:spPr>
            <a:xfrm>
              <a:off x="10239963" y="1902451"/>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80" name="Rectángulo: esquinas redondeadas 79">
              <a:extLst>
                <a:ext uri="{FF2B5EF4-FFF2-40B4-BE49-F238E27FC236}">
                  <a16:creationId xmlns:a16="http://schemas.microsoft.com/office/drawing/2014/main" id="{1A830D34-9363-AB0E-C2AC-73E6AE32A7FB}"/>
                </a:ext>
              </a:extLst>
            </p:cNvPr>
            <p:cNvSpPr/>
            <p:nvPr/>
          </p:nvSpPr>
          <p:spPr>
            <a:xfrm>
              <a:off x="10160449" y="2312511"/>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81" name="Elipse 80">
              <a:extLst>
                <a:ext uri="{FF2B5EF4-FFF2-40B4-BE49-F238E27FC236}">
                  <a16:creationId xmlns:a16="http://schemas.microsoft.com/office/drawing/2014/main" id="{CF51F554-A758-8497-D5AF-D62940ABB786}"/>
                </a:ext>
              </a:extLst>
            </p:cNvPr>
            <p:cNvSpPr/>
            <p:nvPr/>
          </p:nvSpPr>
          <p:spPr>
            <a:xfrm>
              <a:off x="10239963" y="2392782"/>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82" name="Rectángulo: esquinas redondeadas 81">
              <a:extLst>
                <a:ext uri="{FF2B5EF4-FFF2-40B4-BE49-F238E27FC236}">
                  <a16:creationId xmlns:a16="http://schemas.microsoft.com/office/drawing/2014/main" id="{ED2873D4-3272-74D2-C32F-EA47809D1D19}"/>
                </a:ext>
              </a:extLst>
            </p:cNvPr>
            <p:cNvSpPr/>
            <p:nvPr/>
          </p:nvSpPr>
          <p:spPr>
            <a:xfrm>
              <a:off x="10160449" y="2798299"/>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83" name="Elipse 82">
              <a:extLst>
                <a:ext uri="{FF2B5EF4-FFF2-40B4-BE49-F238E27FC236}">
                  <a16:creationId xmlns:a16="http://schemas.microsoft.com/office/drawing/2014/main" id="{CDF6AE82-C2D0-9C1B-59A8-6736F7D13B05}"/>
                </a:ext>
              </a:extLst>
            </p:cNvPr>
            <p:cNvSpPr/>
            <p:nvPr/>
          </p:nvSpPr>
          <p:spPr>
            <a:xfrm>
              <a:off x="10239963" y="2878570"/>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84" name="Rectángulo: esquinas redondeadas 83">
              <a:extLst>
                <a:ext uri="{FF2B5EF4-FFF2-40B4-BE49-F238E27FC236}">
                  <a16:creationId xmlns:a16="http://schemas.microsoft.com/office/drawing/2014/main" id="{562C883A-15AF-11E8-0825-195F9DAFC4A9}"/>
                </a:ext>
              </a:extLst>
            </p:cNvPr>
            <p:cNvSpPr/>
            <p:nvPr/>
          </p:nvSpPr>
          <p:spPr>
            <a:xfrm>
              <a:off x="10160449" y="3284087"/>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85" name="Elipse 84">
              <a:extLst>
                <a:ext uri="{FF2B5EF4-FFF2-40B4-BE49-F238E27FC236}">
                  <a16:creationId xmlns:a16="http://schemas.microsoft.com/office/drawing/2014/main" id="{AC99703D-3DA8-CC65-8697-DC343AEB79A0}"/>
                </a:ext>
              </a:extLst>
            </p:cNvPr>
            <p:cNvSpPr/>
            <p:nvPr/>
          </p:nvSpPr>
          <p:spPr>
            <a:xfrm>
              <a:off x="10239963" y="3364358"/>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86" name="Rectángulo: esquinas redondeadas 85">
              <a:extLst>
                <a:ext uri="{FF2B5EF4-FFF2-40B4-BE49-F238E27FC236}">
                  <a16:creationId xmlns:a16="http://schemas.microsoft.com/office/drawing/2014/main" id="{AE912A24-1F29-80AF-FD82-73D452D928B3}"/>
                </a:ext>
              </a:extLst>
            </p:cNvPr>
            <p:cNvSpPr/>
            <p:nvPr/>
          </p:nvSpPr>
          <p:spPr>
            <a:xfrm>
              <a:off x="10160449" y="3774418"/>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87" name="Elipse 86">
              <a:extLst>
                <a:ext uri="{FF2B5EF4-FFF2-40B4-BE49-F238E27FC236}">
                  <a16:creationId xmlns:a16="http://schemas.microsoft.com/office/drawing/2014/main" id="{9E67C9DE-00FB-08B9-1AC6-2008654C9C50}"/>
                </a:ext>
              </a:extLst>
            </p:cNvPr>
            <p:cNvSpPr/>
            <p:nvPr/>
          </p:nvSpPr>
          <p:spPr>
            <a:xfrm>
              <a:off x="10239963" y="3854689"/>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cxnSp>
          <p:nvCxnSpPr>
            <p:cNvPr id="88" name="Conector recto 87">
              <a:extLst>
                <a:ext uri="{FF2B5EF4-FFF2-40B4-BE49-F238E27FC236}">
                  <a16:creationId xmlns:a16="http://schemas.microsoft.com/office/drawing/2014/main" id="{D024B35B-A8D0-A021-F0A9-F2F090A9F389}"/>
                </a:ext>
              </a:extLst>
            </p:cNvPr>
            <p:cNvCxnSpPr>
              <a:stCxn id="10" idx="3"/>
              <a:endCxn id="12" idx="1"/>
            </p:cNvCxnSpPr>
            <p:nvPr/>
          </p:nvCxnSpPr>
          <p:spPr>
            <a:xfrm>
              <a:off x="5084858" y="493407"/>
              <a:ext cx="931628"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89" name="Conector recto 88">
              <a:extLst>
                <a:ext uri="{FF2B5EF4-FFF2-40B4-BE49-F238E27FC236}">
                  <a16:creationId xmlns:a16="http://schemas.microsoft.com/office/drawing/2014/main" id="{C2C429A0-44BE-31A3-6EE3-17D06ABCE916}"/>
                </a:ext>
              </a:extLst>
            </p:cNvPr>
            <p:cNvCxnSpPr>
              <a:cxnSpLocks/>
              <a:stCxn id="12" idx="3"/>
              <a:endCxn id="14" idx="1"/>
            </p:cNvCxnSpPr>
            <p:nvPr/>
          </p:nvCxnSpPr>
          <p:spPr>
            <a:xfrm>
              <a:off x="7495428" y="493407"/>
              <a:ext cx="948679"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Conector recto 89">
              <a:extLst>
                <a:ext uri="{FF2B5EF4-FFF2-40B4-BE49-F238E27FC236}">
                  <a16:creationId xmlns:a16="http://schemas.microsoft.com/office/drawing/2014/main" id="{5F3ACFDD-718A-66CE-ED81-34C4504F0F07}"/>
                </a:ext>
              </a:extLst>
            </p:cNvPr>
            <p:cNvCxnSpPr>
              <a:stCxn id="8" idx="3"/>
              <a:endCxn id="10" idx="1"/>
            </p:cNvCxnSpPr>
            <p:nvPr/>
          </p:nvCxnSpPr>
          <p:spPr>
            <a:xfrm>
              <a:off x="2368253" y="493406"/>
              <a:ext cx="1237663" cy="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Conector recto 90">
              <a:extLst>
                <a:ext uri="{FF2B5EF4-FFF2-40B4-BE49-F238E27FC236}">
                  <a16:creationId xmlns:a16="http://schemas.microsoft.com/office/drawing/2014/main" id="{6DDA61CC-EA39-8B9C-48CD-B417333681B0}"/>
                </a:ext>
              </a:extLst>
            </p:cNvPr>
            <p:cNvCxnSpPr>
              <a:stCxn id="8" idx="2"/>
              <a:endCxn id="16" idx="0"/>
            </p:cNvCxnSpPr>
            <p:nvPr/>
          </p:nvCxnSpPr>
          <p:spPr>
            <a:xfrm>
              <a:off x="1628782" y="696164"/>
              <a:ext cx="3890" cy="63568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 name="Conector recto 91">
              <a:extLst>
                <a:ext uri="{FF2B5EF4-FFF2-40B4-BE49-F238E27FC236}">
                  <a16:creationId xmlns:a16="http://schemas.microsoft.com/office/drawing/2014/main" id="{E019CABE-5192-9523-2058-E7561729A957}"/>
                </a:ext>
              </a:extLst>
            </p:cNvPr>
            <p:cNvCxnSpPr>
              <a:cxnSpLocks/>
            </p:cNvCxnSpPr>
            <p:nvPr/>
          </p:nvCxnSpPr>
          <p:spPr>
            <a:xfrm>
              <a:off x="1631950" y="993917"/>
              <a:ext cx="9267970"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3" name="Conector recto 92">
              <a:extLst>
                <a:ext uri="{FF2B5EF4-FFF2-40B4-BE49-F238E27FC236}">
                  <a16:creationId xmlns:a16="http://schemas.microsoft.com/office/drawing/2014/main" id="{1A4FCA6C-439E-C928-467C-1394053B990A}"/>
                </a:ext>
              </a:extLst>
            </p:cNvPr>
            <p:cNvCxnSpPr>
              <a:cxnSpLocks/>
              <a:endCxn id="76" idx="0"/>
            </p:cNvCxnSpPr>
            <p:nvPr/>
          </p:nvCxnSpPr>
          <p:spPr>
            <a:xfrm>
              <a:off x="10899920" y="983456"/>
              <a:ext cx="0" cy="348393"/>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4" name="Conector recto 93">
              <a:extLst>
                <a:ext uri="{FF2B5EF4-FFF2-40B4-BE49-F238E27FC236}">
                  <a16:creationId xmlns:a16="http://schemas.microsoft.com/office/drawing/2014/main" id="{82C4AE49-637B-4B20-E9BD-641638E206AB}"/>
                </a:ext>
              </a:extLst>
            </p:cNvPr>
            <p:cNvCxnSpPr>
              <a:cxnSpLocks/>
            </p:cNvCxnSpPr>
            <p:nvPr/>
          </p:nvCxnSpPr>
          <p:spPr>
            <a:xfrm>
              <a:off x="9025402" y="997619"/>
              <a:ext cx="0" cy="33423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Conector recto 94">
              <a:extLst>
                <a:ext uri="{FF2B5EF4-FFF2-40B4-BE49-F238E27FC236}">
                  <a16:creationId xmlns:a16="http://schemas.microsoft.com/office/drawing/2014/main" id="{B8A6BEC7-5655-2894-7A24-3EF3C6258B78}"/>
                </a:ext>
              </a:extLst>
            </p:cNvPr>
            <p:cNvCxnSpPr>
              <a:cxnSpLocks/>
            </p:cNvCxnSpPr>
            <p:nvPr/>
          </p:nvCxnSpPr>
          <p:spPr>
            <a:xfrm>
              <a:off x="7074345" y="997619"/>
              <a:ext cx="0" cy="33423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Conector recto 95">
              <a:extLst>
                <a:ext uri="{FF2B5EF4-FFF2-40B4-BE49-F238E27FC236}">
                  <a16:creationId xmlns:a16="http://schemas.microsoft.com/office/drawing/2014/main" id="{8E0C11F0-01D0-08FA-316F-8554046352EF}"/>
                </a:ext>
              </a:extLst>
            </p:cNvPr>
            <p:cNvCxnSpPr>
              <a:cxnSpLocks/>
            </p:cNvCxnSpPr>
            <p:nvPr/>
          </p:nvCxnSpPr>
          <p:spPr>
            <a:xfrm>
              <a:off x="5302860" y="997619"/>
              <a:ext cx="0" cy="33423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Conector recto 96">
              <a:extLst>
                <a:ext uri="{FF2B5EF4-FFF2-40B4-BE49-F238E27FC236}">
                  <a16:creationId xmlns:a16="http://schemas.microsoft.com/office/drawing/2014/main" id="{BCE1FB51-7C61-6AB2-A0AF-0B71C584A417}"/>
                </a:ext>
              </a:extLst>
            </p:cNvPr>
            <p:cNvCxnSpPr>
              <a:cxnSpLocks/>
            </p:cNvCxnSpPr>
            <p:nvPr/>
          </p:nvCxnSpPr>
          <p:spPr>
            <a:xfrm>
              <a:off x="3437618" y="997619"/>
              <a:ext cx="0" cy="33423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01" name="CuadroTexto 100">
              <a:extLst>
                <a:ext uri="{FF2B5EF4-FFF2-40B4-BE49-F238E27FC236}">
                  <a16:creationId xmlns:a16="http://schemas.microsoft.com/office/drawing/2014/main" id="{56ACB613-2A73-F402-04DF-33E000D23D5D}"/>
                </a:ext>
              </a:extLst>
            </p:cNvPr>
            <p:cNvSpPr txBox="1"/>
            <p:nvPr/>
          </p:nvSpPr>
          <p:spPr>
            <a:xfrm rot="16200000">
              <a:off x="-367763" y="4612037"/>
              <a:ext cx="2149504" cy="276999"/>
            </a:xfrm>
            <a:prstGeom prst="rect">
              <a:avLst/>
            </a:prstGeom>
            <a:noFill/>
          </p:spPr>
          <p:txBody>
            <a:bodyPr wrap="square" rtlCol="0">
              <a:spAutoFit/>
            </a:bodyPr>
            <a:lstStyle/>
            <a:p>
              <a:r>
                <a:rPr lang="es-MX" sz="1200" b="1">
                  <a:solidFill>
                    <a:schemeClr val="tx2">
                      <a:lumMod val="50000"/>
                    </a:schemeClr>
                  </a:solidFill>
                  <a:latin typeface="Abadi ExtraLight" panose="020F0502020204030204" pitchFamily="34" charset="0"/>
                </a:rPr>
                <a:t>Canales Digitales</a:t>
              </a:r>
              <a:endParaRPr lang="es-PE" sz="1200" b="1">
                <a:solidFill>
                  <a:schemeClr val="tx2">
                    <a:lumMod val="50000"/>
                  </a:schemeClr>
                </a:solidFill>
                <a:latin typeface="Abadi ExtraLight" panose="020F0502020204030204" pitchFamily="34" charset="0"/>
              </a:endParaRPr>
            </a:p>
          </p:txBody>
        </p:sp>
        <p:sp>
          <p:nvSpPr>
            <p:cNvPr id="102" name="CuadroTexto 101">
              <a:extLst>
                <a:ext uri="{FF2B5EF4-FFF2-40B4-BE49-F238E27FC236}">
                  <a16:creationId xmlns:a16="http://schemas.microsoft.com/office/drawing/2014/main" id="{D0E1B66E-1B39-0B30-325C-F6CF739D5A5F}"/>
                </a:ext>
              </a:extLst>
            </p:cNvPr>
            <p:cNvSpPr txBox="1"/>
            <p:nvPr/>
          </p:nvSpPr>
          <p:spPr>
            <a:xfrm rot="16200000">
              <a:off x="1464371" y="4580047"/>
              <a:ext cx="2149504" cy="276999"/>
            </a:xfrm>
            <a:prstGeom prst="rect">
              <a:avLst/>
            </a:prstGeom>
            <a:noFill/>
          </p:spPr>
          <p:txBody>
            <a:bodyPr wrap="square" rtlCol="0">
              <a:spAutoFit/>
            </a:bodyPr>
            <a:lstStyle/>
            <a:p>
              <a:r>
                <a:rPr lang="es-MX" sz="1200" b="1">
                  <a:solidFill>
                    <a:schemeClr val="tx2">
                      <a:lumMod val="50000"/>
                    </a:schemeClr>
                  </a:solidFill>
                  <a:latin typeface="Abadi ExtraLight" panose="020F0502020204030204" pitchFamily="34" charset="0"/>
                </a:rPr>
                <a:t>Core Bantotal</a:t>
              </a:r>
              <a:endParaRPr lang="es-PE" sz="1200" b="1">
                <a:solidFill>
                  <a:schemeClr val="tx2">
                    <a:lumMod val="50000"/>
                  </a:schemeClr>
                </a:solidFill>
                <a:latin typeface="Abadi ExtraLight" panose="020F0502020204030204" pitchFamily="34" charset="0"/>
              </a:endParaRPr>
            </a:p>
          </p:txBody>
        </p:sp>
        <p:sp>
          <p:nvSpPr>
            <p:cNvPr id="104" name="CuadroTexto 103">
              <a:extLst>
                <a:ext uri="{FF2B5EF4-FFF2-40B4-BE49-F238E27FC236}">
                  <a16:creationId xmlns:a16="http://schemas.microsoft.com/office/drawing/2014/main" id="{45C55F57-EAA7-A822-D369-8D5AE38AB318}"/>
                </a:ext>
              </a:extLst>
            </p:cNvPr>
            <p:cNvSpPr txBox="1"/>
            <p:nvPr/>
          </p:nvSpPr>
          <p:spPr>
            <a:xfrm rot="16200000">
              <a:off x="3313044" y="4557277"/>
              <a:ext cx="2149504" cy="276999"/>
            </a:xfrm>
            <a:prstGeom prst="rect">
              <a:avLst/>
            </a:prstGeom>
            <a:noFill/>
          </p:spPr>
          <p:txBody>
            <a:bodyPr wrap="square" rtlCol="0">
              <a:spAutoFit/>
            </a:bodyPr>
            <a:lstStyle/>
            <a:p>
              <a:r>
                <a:rPr lang="es-MX" sz="1200" b="1">
                  <a:solidFill>
                    <a:schemeClr val="tx2">
                      <a:lumMod val="50000"/>
                    </a:schemeClr>
                  </a:solidFill>
                  <a:latin typeface="Abadi ExtraLight" panose="020F0502020204030204" pitchFamily="34" charset="0"/>
                </a:rPr>
                <a:t>Integración</a:t>
              </a:r>
              <a:endParaRPr lang="es-PE" sz="1200" b="1">
                <a:solidFill>
                  <a:schemeClr val="tx2">
                    <a:lumMod val="50000"/>
                  </a:schemeClr>
                </a:solidFill>
                <a:latin typeface="Abadi ExtraLight" panose="020F0502020204030204" pitchFamily="34" charset="0"/>
              </a:endParaRPr>
            </a:p>
          </p:txBody>
        </p:sp>
        <p:sp>
          <p:nvSpPr>
            <p:cNvPr id="106" name="CuadroTexto 105">
              <a:extLst>
                <a:ext uri="{FF2B5EF4-FFF2-40B4-BE49-F238E27FC236}">
                  <a16:creationId xmlns:a16="http://schemas.microsoft.com/office/drawing/2014/main" id="{8D189CC7-7EB6-3A7F-B3FB-C935F1651F4F}"/>
                </a:ext>
              </a:extLst>
            </p:cNvPr>
            <p:cNvSpPr txBox="1"/>
            <p:nvPr/>
          </p:nvSpPr>
          <p:spPr>
            <a:xfrm rot="16200000">
              <a:off x="5182927" y="4606369"/>
              <a:ext cx="2149504" cy="276999"/>
            </a:xfrm>
            <a:prstGeom prst="rect">
              <a:avLst/>
            </a:prstGeom>
            <a:noFill/>
          </p:spPr>
          <p:txBody>
            <a:bodyPr wrap="square" rtlCol="0">
              <a:spAutoFit/>
            </a:bodyPr>
            <a:lstStyle/>
            <a:p>
              <a:r>
                <a:rPr lang="es-MX" sz="1200" b="1">
                  <a:solidFill>
                    <a:schemeClr val="tx2">
                      <a:lumMod val="50000"/>
                    </a:schemeClr>
                  </a:solidFill>
                  <a:latin typeface="Abadi ExtraLight" panose="020F0502020204030204" pitchFamily="34" charset="0"/>
                </a:rPr>
                <a:t>Canales Asistidos / Procesos</a:t>
              </a:r>
              <a:endParaRPr lang="es-PE" sz="1200" b="1">
                <a:solidFill>
                  <a:schemeClr val="tx2">
                    <a:lumMod val="50000"/>
                  </a:schemeClr>
                </a:solidFill>
                <a:latin typeface="Abadi ExtraLight" panose="020F0502020204030204" pitchFamily="34" charset="0"/>
              </a:endParaRPr>
            </a:p>
          </p:txBody>
        </p:sp>
        <p:sp>
          <p:nvSpPr>
            <p:cNvPr id="108" name="CuadroTexto 107">
              <a:extLst>
                <a:ext uri="{FF2B5EF4-FFF2-40B4-BE49-F238E27FC236}">
                  <a16:creationId xmlns:a16="http://schemas.microsoft.com/office/drawing/2014/main" id="{8FC8D678-F116-F065-DB0E-93EA04F998E1}"/>
                </a:ext>
              </a:extLst>
            </p:cNvPr>
            <p:cNvSpPr txBox="1"/>
            <p:nvPr/>
          </p:nvSpPr>
          <p:spPr>
            <a:xfrm rot="16200000">
              <a:off x="7043868" y="4582517"/>
              <a:ext cx="2149504" cy="276999"/>
            </a:xfrm>
            <a:prstGeom prst="rect">
              <a:avLst/>
            </a:prstGeom>
            <a:noFill/>
          </p:spPr>
          <p:txBody>
            <a:bodyPr wrap="square" rtlCol="0">
              <a:spAutoFit/>
            </a:bodyPr>
            <a:lstStyle/>
            <a:p>
              <a:r>
                <a:rPr lang="es-MX" sz="1200" b="1">
                  <a:solidFill>
                    <a:schemeClr val="tx2">
                      <a:lumMod val="50000"/>
                    </a:schemeClr>
                  </a:solidFill>
                  <a:latin typeface="Abadi ExtraLight" panose="020F0502020204030204" pitchFamily="34" charset="0"/>
                </a:rPr>
                <a:t>Payments &amp; Cards</a:t>
              </a:r>
              <a:endParaRPr lang="es-PE" sz="1200" b="1">
                <a:solidFill>
                  <a:schemeClr val="tx2">
                    <a:lumMod val="50000"/>
                  </a:schemeClr>
                </a:solidFill>
                <a:latin typeface="Abadi ExtraLight" panose="020F0502020204030204" pitchFamily="34" charset="0"/>
              </a:endParaRPr>
            </a:p>
          </p:txBody>
        </p:sp>
        <p:sp>
          <p:nvSpPr>
            <p:cNvPr id="110" name="CuadroTexto 109">
              <a:extLst>
                <a:ext uri="{FF2B5EF4-FFF2-40B4-BE49-F238E27FC236}">
                  <a16:creationId xmlns:a16="http://schemas.microsoft.com/office/drawing/2014/main" id="{5867110D-CC44-177D-6E09-507A6B77DDC2}"/>
                </a:ext>
              </a:extLst>
            </p:cNvPr>
            <p:cNvSpPr txBox="1"/>
            <p:nvPr/>
          </p:nvSpPr>
          <p:spPr>
            <a:xfrm rot="16200000">
              <a:off x="8900184" y="4557277"/>
              <a:ext cx="2149504" cy="276999"/>
            </a:xfrm>
            <a:prstGeom prst="rect">
              <a:avLst/>
            </a:prstGeom>
            <a:noFill/>
          </p:spPr>
          <p:txBody>
            <a:bodyPr wrap="square" rtlCol="0">
              <a:spAutoFit/>
            </a:bodyPr>
            <a:lstStyle/>
            <a:p>
              <a:r>
                <a:rPr lang="es-MX" sz="1200" b="1">
                  <a:solidFill>
                    <a:schemeClr val="tx2">
                      <a:lumMod val="50000"/>
                    </a:schemeClr>
                  </a:solidFill>
                  <a:latin typeface="Abadi ExtraLight" panose="020F0502020204030204" pitchFamily="34" charset="0"/>
                </a:rPr>
                <a:t>Aplicaciones de Soporte</a:t>
              </a:r>
              <a:endParaRPr lang="es-PE" sz="1200" b="1">
                <a:solidFill>
                  <a:schemeClr val="tx2">
                    <a:lumMod val="50000"/>
                  </a:schemeClr>
                </a:solidFill>
                <a:latin typeface="Abadi ExtraLight" panose="020F0502020204030204" pitchFamily="34" charset="0"/>
              </a:endParaRPr>
            </a:p>
          </p:txBody>
        </p:sp>
        <p:sp>
          <p:nvSpPr>
            <p:cNvPr id="41" name="Elipse 40">
              <a:extLst>
                <a:ext uri="{FF2B5EF4-FFF2-40B4-BE49-F238E27FC236}">
                  <a16:creationId xmlns:a16="http://schemas.microsoft.com/office/drawing/2014/main" id="{72DD9D3C-F8A0-172E-1417-3B24274F835E}"/>
                </a:ext>
              </a:extLst>
            </p:cNvPr>
            <p:cNvSpPr/>
            <p:nvPr/>
          </p:nvSpPr>
          <p:spPr>
            <a:xfrm>
              <a:off x="2786934" y="2878570"/>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grpSp>
      <p:sp>
        <p:nvSpPr>
          <p:cNvPr id="120" name="Title 5">
            <a:extLst>
              <a:ext uri="{FF2B5EF4-FFF2-40B4-BE49-F238E27FC236}">
                <a16:creationId xmlns:a16="http://schemas.microsoft.com/office/drawing/2014/main" id="{97748004-8BE8-B879-7B5F-829C02D80178}"/>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 </a:t>
            </a:r>
            <a:r>
              <a:rPr lang="en-GB" b="0">
                <a:solidFill>
                  <a:srgbClr val="203864"/>
                </a:solidFill>
                <a:latin typeface="Santander Headline" panose="020B0504020201020104" pitchFamily="34" charset="0"/>
              </a:rPr>
              <a:t>Equipo</a:t>
            </a:r>
            <a:endParaRPr lang="es-MX">
              <a:solidFill>
                <a:srgbClr val="203864"/>
              </a:solidFill>
            </a:endParaRPr>
          </a:p>
        </p:txBody>
      </p:sp>
      <p:sp>
        <p:nvSpPr>
          <p:cNvPr id="3" name="Rectángulo: esquinas redondeadas 2">
            <a:extLst>
              <a:ext uri="{FF2B5EF4-FFF2-40B4-BE49-F238E27FC236}">
                <a16:creationId xmlns:a16="http://schemas.microsoft.com/office/drawing/2014/main" id="{ADFA1D46-9072-7DBF-8741-43931BA7FDF1}"/>
              </a:ext>
            </a:extLst>
          </p:cNvPr>
          <p:cNvSpPr/>
          <p:nvPr/>
        </p:nvSpPr>
        <p:spPr>
          <a:xfrm>
            <a:off x="11798870" y="153499"/>
            <a:ext cx="393129" cy="182364"/>
          </a:xfrm>
          <a:prstGeom prst="roundRect">
            <a:avLst/>
          </a:prstGeom>
          <a:solidFill>
            <a:srgbClr val="EBF5DB"/>
          </a:solidFill>
          <a:ln w="3175">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000">
                <a:solidFill>
                  <a:schemeClr val="bg2">
                    <a:lumMod val="50000"/>
                  </a:schemeClr>
                </a:solidFill>
              </a:rPr>
              <a:t>12</a:t>
            </a:r>
            <a:endParaRPr lang="es-PE" sz="1000">
              <a:solidFill>
                <a:schemeClr val="bg2">
                  <a:lumMod val="50000"/>
                </a:schemeClr>
              </a:solidFill>
            </a:endParaRPr>
          </a:p>
        </p:txBody>
      </p:sp>
      <p:sp>
        <p:nvSpPr>
          <p:cNvPr id="4" name="Rectángulo: esquinas redondeadas 3">
            <a:extLst>
              <a:ext uri="{FF2B5EF4-FFF2-40B4-BE49-F238E27FC236}">
                <a16:creationId xmlns:a16="http://schemas.microsoft.com/office/drawing/2014/main" id="{47EE5A07-5B11-8B37-E017-88F38109994C}"/>
              </a:ext>
            </a:extLst>
          </p:cNvPr>
          <p:cNvSpPr/>
          <p:nvPr/>
        </p:nvSpPr>
        <p:spPr>
          <a:xfrm>
            <a:off x="11798870" y="354457"/>
            <a:ext cx="393129" cy="170216"/>
          </a:xfrm>
          <a:prstGeom prst="roundRect">
            <a:avLst/>
          </a:prstGeom>
          <a:solidFill>
            <a:srgbClr val="99CCFF"/>
          </a:solidFill>
          <a:ln w="3175">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200">
                <a:solidFill>
                  <a:schemeClr val="bg2">
                    <a:lumMod val="50000"/>
                  </a:schemeClr>
                </a:solidFill>
              </a:rPr>
              <a:t>5</a:t>
            </a:r>
            <a:endParaRPr lang="es-PE" sz="1200">
              <a:solidFill>
                <a:schemeClr val="bg2">
                  <a:lumMod val="50000"/>
                </a:schemeClr>
              </a:solidFill>
            </a:endParaRPr>
          </a:p>
        </p:txBody>
      </p:sp>
      <p:sp>
        <p:nvSpPr>
          <p:cNvPr id="5" name="Rectángulo: esquinas redondeadas 4">
            <a:extLst>
              <a:ext uri="{FF2B5EF4-FFF2-40B4-BE49-F238E27FC236}">
                <a16:creationId xmlns:a16="http://schemas.microsoft.com/office/drawing/2014/main" id="{A354197A-4F05-D63F-2C04-2E44C350715E}"/>
              </a:ext>
            </a:extLst>
          </p:cNvPr>
          <p:cNvSpPr/>
          <p:nvPr/>
        </p:nvSpPr>
        <p:spPr>
          <a:xfrm>
            <a:off x="11798871" y="547463"/>
            <a:ext cx="393128" cy="191339"/>
          </a:xfrm>
          <a:prstGeom prst="roundRect">
            <a:avLst/>
          </a:prstGeom>
          <a:solidFill>
            <a:srgbClr val="FFCC99"/>
          </a:solidFill>
          <a:ln w="3175">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200">
                <a:solidFill>
                  <a:schemeClr val="bg2">
                    <a:lumMod val="50000"/>
                  </a:schemeClr>
                </a:solidFill>
              </a:rPr>
              <a:t>2</a:t>
            </a:r>
            <a:endParaRPr lang="es-PE" sz="1200">
              <a:solidFill>
                <a:schemeClr val="bg2">
                  <a:lumMod val="50000"/>
                </a:schemeClr>
              </a:solidFill>
            </a:endParaRPr>
          </a:p>
        </p:txBody>
      </p:sp>
      <p:sp>
        <p:nvSpPr>
          <p:cNvPr id="6" name="Rectángulo: esquinas redondeadas 5">
            <a:extLst>
              <a:ext uri="{FF2B5EF4-FFF2-40B4-BE49-F238E27FC236}">
                <a16:creationId xmlns:a16="http://schemas.microsoft.com/office/drawing/2014/main" id="{CC38AD69-65DA-4539-77F3-E875BC61859E}"/>
              </a:ext>
            </a:extLst>
          </p:cNvPr>
          <p:cNvSpPr/>
          <p:nvPr/>
        </p:nvSpPr>
        <p:spPr>
          <a:xfrm>
            <a:off x="11798870" y="760126"/>
            <a:ext cx="393129" cy="185943"/>
          </a:xfrm>
          <a:prstGeom prst="roundRect">
            <a:avLst/>
          </a:prstGeom>
          <a:solidFill>
            <a:srgbClr val="C2F6FA"/>
          </a:solidFill>
          <a:ln w="3175">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200">
                <a:solidFill>
                  <a:schemeClr val="bg2">
                    <a:lumMod val="50000"/>
                  </a:schemeClr>
                </a:solidFill>
              </a:rPr>
              <a:t>1</a:t>
            </a:r>
            <a:endParaRPr lang="es-PE" sz="1200">
              <a:solidFill>
                <a:schemeClr val="bg2">
                  <a:lumMod val="50000"/>
                </a:schemeClr>
              </a:solidFill>
            </a:endParaRPr>
          </a:p>
        </p:txBody>
      </p:sp>
      <p:sp>
        <p:nvSpPr>
          <p:cNvPr id="7" name="CuadroTexto 6">
            <a:extLst>
              <a:ext uri="{FF2B5EF4-FFF2-40B4-BE49-F238E27FC236}">
                <a16:creationId xmlns:a16="http://schemas.microsoft.com/office/drawing/2014/main" id="{A6D55E35-FE41-C30C-5840-8DFF1D43C4CF}"/>
              </a:ext>
            </a:extLst>
          </p:cNvPr>
          <p:cNvSpPr txBox="1"/>
          <p:nvPr/>
        </p:nvSpPr>
        <p:spPr>
          <a:xfrm>
            <a:off x="11427648" y="106532"/>
            <a:ext cx="458780" cy="276999"/>
          </a:xfrm>
          <a:prstGeom prst="rect">
            <a:avLst/>
          </a:prstGeom>
          <a:noFill/>
        </p:spPr>
        <p:txBody>
          <a:bodyPr wrap="none" rtlCol="0">
            <a:spAutoFit/>
          </a:bodyPr>
          <a:lstStyle/>
          <a:p>
            <a:r>
              <a:rPr lang="es-MX" sz="1200" b="1">
                <a:solidFill>
                  <a:schemeClr val="bg2">
                    <a:lumMod val="50000"/>
                  </a:schemeClr>
                </a:solidFill>
              </a:rPr>
              <a:t>IDM</a:t>
            </a:r>
            <a:endParaRPr lang="es-PE" sz="1200" b="1">
              <a:solidFill>
                <a:schemeClr val="bg2">
                  <a:lumMod val="50000"/>
                </a:schemeClr>
              </a:solidFill>
            </a:endParaRPr>
          </a:p>
        </p:txBody>
      </p:sp>
      <p:sp>
        <p:nvSpPr>
          <p:cNvPr id="98" name="CuadroTexto 97">
            <a:extLst>
              <a:ext uri="{FF2B5EF4-FFF2-40B4-BE49-F238E27FC236}">
                <a16:creationId xmlns:a16="http://schemas.microsoft.com/office/drawing/2014/main" id="{6BCDE6B8-768B-1AF7-10F3-9B25FB86390B}"/>
              </a:ext>
            </a:extLst>
          </p:cNvPr>
          <p:cNvSpPr txBox="1"/>
          <p:nvPr/>
        </p:nvSpPr>
        <p:spPr>
          <a:xfrm>
            <a:off x="11300429" y="311627"/>
            <a:ext cx="577146" cy="276999"/>
          </a:xfrm>
          <a:prstGeom prst="rect">
            <a:avLst/>
          </a:prstGeom>
          <a:noFill/>
        </p:spPr>
        <p:txBody>
          <a:bodyPr wrap="none" rtlCol="0">
            <a:spAutoFit/>
          </a:bodyPr>
          <a:lstStyle/>
          <a:p>
            <a:r>
              <a:rPr lang="es-MX" sz="1200" b="1">
                <a:solidFill>
                  <a:schemeClr val="bg2">
                    <a:lumMod val="50000"/>
                  </a:schemeClr>
                </a:solidFill>
              </a:rPr>
              <a:t>VALTX</a:t>
            </a:r>
            <a:endParaRPr lang="es-PE" sz="1200" b="1">
              <a:solidFill>
                <a:schemeClr val="bg2">
                  <a:lumMod val="50000"/>
                </a:schemeClr>
              </a:solidFill>
            </a:endParaRPr>
          </a:p>
        </p:txBody>
      </p:sp>
      <p:sp>
        <p:nvSpPr>
          <p:cNvPr id="111" name="CuadroTexto 110">
            <a:extLst>
              <a:ext uri="{FF2B5EF4-FFF2-40B4-BE49-F238E27FC236}">
                <a16:creationId xmlns:a16="http://schemas.microsoft.com/office/drawing/2014/main" id="{115B14D6-1709-8AB8-6D23-373CEDF499EE}"/>
              </a:ext>
            </a:extLst>
          </p:cNvPr>
          <p:cNvSpPr txBox="1"/>
          <p:nvPr/>
        </p:nvSpPr>
        <p:spPr>
          <a:xfrm>
            <a:off x="11084843" y="504073"/>
            <a:ext cx="805670" cy="276999"/>
          </a:xfrm>
          <a:prstGeom prst="rect">
            <a:avLst/>
          </a:prstGeom>
          <a:noFill/>
        </p:spPr>
        <p:txBody>
          <a:bodyPr wrap="none" rtlCol="0">
            <a:spAutoFit/>
          </a:bodyPr>
          <a:lstStyle/>
          <a:p>
            <a:r>
              <a:rPr lang="es-MX" sz="1200" b="1">
                <a:solidFill>
                  <a:schemeClr val="bg2">
                    <a:lumMod val="50000"/>
                  </a:schemeClr>
                </a:solidFill>
              </a:rPr>
              <a:t>GLOBANT</a:t>
            </a:r>
            <a:endParaRPr lang="es-PE" sz="1200" b="1">
              <a:solidFill>
                <a:schemeClr val="bg2">
                  <a:lumMod val="50000"/>
                </a:schemeClr>
              </a:solidFill>
            </a:endParaRPr>
          </a:p>
        </p:txBody>
      </p:sp>
      <p:sp>
        <p:nvSpPr>
          <p:cNvPr id="112" name="CuadroTexto 111">
            <a:extLst>
              <a:ext uri="{FF2B5EF4-FFF2-40B4-BE49-F238E27FC236}">
                <a16:creationId xmlns:a16="http://schemas.microsoft.com/office/drawing/2014/main" id="{CBE35B0B-DD75-4112-B787-30CC9809204F}"/>
              </a:ext>
            </a:extLst>
          </p:cNvPr>
          <p:cNvSpPr txBox="1"/>
          <p:nvPr/>
        </p:nvSpPr>
        <p:spPr>
          <a:xfrm>
            <a:off x="11044886" y="704510"/>
            <a:ext cx="837089" cy="276999"/>
          </a:xfrm>
          <a:prstGeom prst="rect">
            <a:avLst/>
          </a:prstGeom>
          <a:noFill/>
        </p:spPr>
        <p:txBody>
          <a:bodyPr wrap="none" rtlCol="0">
            <a:spAutoFit/>
          </a:bodyPr>
          <a:lstStyle/>
          <a:p>
            <a:r>
              <a:rPr lang="es-MX" sz="1200" b="1">
                <a:solidFill>
                  <a:schemeClr val="bg2">
                    <a:lumMod val="50000"/>
                  </a:schemeClr>
                </a:solidFill>
              </a:rPr>
              <a:t>PERIFERIA</a:t>
            </a:r>
            <a:endParaRPr lang="es-PE" sz="1200" b="1">
              <a:solidFill>
                <a:schemeClr val="bg2">
                  <a:lumMod val="50000"/>
                </a:schemeClr>
              </a:solidFill>
            </a:endParaRPr>
          </a:p>
        </p:txBody>
      </p:sp>
    </p:spTree>
    <p:extLst>
      <p:ext uri="{BB962C8B-B14F-4D97-AF65-F5344CB8AC3E}">
        <p14:creationId xmlns:p14="http://schemas.microsoft.com/office/powerpoint/2010/main" val="39186190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454FC0-3E56-E277-2F62-A85A00937091}"/>
            </a:ext>
          </a:extLst>
        </p:cNvPr>
        <p:cNvGrpSpPr/>
        <p:nvPr/>
      </p:nvGrpSpPr>
      <p:grpSpPr>
        <a:xfrm>
          <a:off x="0" y="0"/>
          <a:ext cx="0" cy="0"/>
          <a:chOff x="0" y="0"/>
          <a:chExt cx="0" cy="0"/>
        </a:xfrm>
      </p:grpSpPr>
      <p:sp>
        <p:nvSpPr>
          <p:cNvPr id="3" name="AutoShape 8">
            <a:extLst>
              <a:ext uri="{FF2B5EF4-FFF2-40B4-BE49-F238E27FC236}">
                <a16:creationId xmlns:a16="http://schemas.microsoft.com/office/drawing/2014/main" id="{586E55E4-1687-EE93-2FD3-945B3F6BDC56}"/>
              </a:ext>
            </a:extLst>
          </p:cNvPr>
          <p:cNvSpPr>
            <a:spLocks noChangeArrowheads="1"/>
          </p:cNvSpPr>
          <p:nvPr/>
        </p:nvSpPr>
        <p:spPr bwMode="auto">
          <a:xfrm>
            <a:off x="4860975" y="1055017"/>
            <a:ext cx="2664000"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t" anchorCtr="0">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sz="1400" b="1" i="0" u="none" strike="noStrike" kern="1200" cap="none" spc="0" normalizeH="0" baseline="0" noProof="0">
                <a:ln>
                  <a:noFill/>
                </a:ln>
                <a:solidFill>
                  <a:srgbClr val="000000"/>
                </a:solidFill>
                <a:effectLst/>
                <a:uLnTx/>
                <a:uFillTx/>
                <a:latin typeface="santander Headline"/>
                <a:ea typeface="+mn-ea"/>
                <a:cs typeface="Arial" pitchFamily="34" charset="0"/>
              </a:rPr>
              <a:t>Descripción</a:t>
            </a:r>
            <a:endParaRPr kumimoji="0" lang="es-PE" sz="1400" b="1" i="0" u="none" strike="noStrike" kern="1200" cap="none" spc="0" normalizeH="0" baseline="30000" noProof="0">
              <a:ln>
                <a:noFill/>
              </a:ln>
              <a:solidFill>
                <a:srgbClr val="000000"/>
              </a:solidFill>
              <a:effectLst/>
              <a:uLnTx/>
              <a:uFillTx/>
              <a:latin typeface="santander Headline"/>
              <a:ea typeface="+mn-ea"/>
              <a:cs typeface="Arial" pitchFamily="34" charset="0"/>
            </a:endParaRPr>
          </a:p>
        </p:txBody>
      </p:sp>
      <p:sp>
        <p:nvSpPr>
          <p:cNvPr id="4" name="AutoShape 8">
            <a:extLst>
              <a:ext uri="{FF2B5EF4-FFF2-40B4-BE49-F238E27FC236}">
                <a16:creationId xmlns:a16="http://schemas.microsoft.com/office/drawing/2014/main" id="{6AE8F006-C6C4-D3AE-C457-50FD35B294DE}"/>
              </a:ext>
            </a:extLst>
          </p:cNvPr>
          <p:cNvSpPr>
            <a:spLocks noChangeArrowheads="1"/>
          </p:cNvSpPr>
          <p:nvPr/>
        </p:nvSpPr>
        <p:spPr bwMode="auto">
          <a:xfrm>
            <a:off x="514447" y="1055017"/>
            <a:ext cx="1907283"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t" anchorCtr="0">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sz="1400" b="1" i="0" u="none" strike="noStrike" kern="1200" cap="none" spc="0" normalizeH="0" baseline="0" noProof="0">
                <a:ln>
                  <a:noFill/>
                </a:ln>
                <a:solidFill>
                  <a:srgbClr val="000000"/>
                </a:solidFill>
                <a:effectLst/>
                <a:uLnTx/>
                <a:uFillTx/>
                <a:latin typeface="santander Headline"/>
                <a:ea typeface="+mn-ea"/>
                <a:cs typeface="Arial" pitchFamily="34" charset="0"/>
              </a:rPr>
              <a:t>Tipo de Prueba</a:t>
            </a:r>
            <a:endParaRPr kumimoji="0" lang="es-PE" sz="1400" b="1" i="0" u="none" strike="noStrike" kern="1200" cap="none" spc="0" normalizeH="0" baseline="30000" noProof="0">
              <a:ln>
                <a:noFill/>
              </a:ln>
              <a:solidFill>
                <a:srgbClr val="000000"/>
              </a:solidFill>
              <a:effectLst/>
              <a:uLnTx/>
              <a:uFillTx/>
              <a:latin typeface="santander Headline"/>
              <a:ea typeface="+mn-ea"/>
              <a:cs typeface="Arial" pitchFamily="34" charset="0"/>
            </a:endParaRPr>
          </a:p>
        </p:txBody>
      </p:sp>
      <p:sp>
        <p:nvSpPr>
          <p:cNvPr id="6" name="AutoShape 8">
            <a:extLst>
              <a:ext uri="{FF2B5EF4-FFF2-40B4-BE49-F238E27FC236}">
                <a16:creationId xmlns:a16="http://schemas.microsoft.com/office/drawing/2014/main" id="{61053B64-F01D-D5DA-58FB-B3226CDFF2BC}"/>
              </a:ext>
            </a:extLst>
          </p:cNvPr>
          <p:cNvSpPr>
            <a:spLocks noChangeArrowheads="1"/>
          </p:cNvSpPr>
          <p:nvPr/>
        </p:nvSpPr>
        <p:spPr bwMode="auto">
          <a:xfrm>
            <a:off x="7970270" y="1055017"/>
            <a:ext cx="1800000"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t" anchorCtr="0">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sz="1400" b="1" i="0" u="none" strike="noStrike" kern="1200" cap="none" spc="0" normalizeH="0" baseline="0" noProof="0">
                <a:ln>
                  <a:noFill/>
                </a:ln>
                <a:solidFill>
                  <a:srgbClr val="000000"/>
                </a:solidFill>
                <a:effectLst/>
                <a:uLnTx/>
                <a:uFillTx/>
                <a:latin typeface="santander Headline"/>
                <a:ea typeface="+mn-ea"/>
                <a:cs typeface="Arial" pitchFamily="34" charset="0"/>
              </a:rPr>
              <a:t>Propuesta de solución</a:t>
            </a:r>
            <a:endParaRPr kumimoji="0" lang="es-PE" sz="1400" b="1" i="0" u="none" strike="noStrike" kern="1200" cap="none" spc="0" normalizeH="0" baseline="30000" noProof="0">
              <a:ln>
                <a:noFill/>
              </a:ln>
              <a:solidFill>
                <a:srgbClr val="000000"/>
              </a:solidFill>
              <a:effectLst/>
              <a:uLnTx/>
              <a:uFillTx/>
              <a:latin typeface="santander Headline"/>
              <a:ea typeface="+mn-ea"/>
              <a:cs typeface="Arial" pitchFamily="34" charset="0"/>
            </a:endParaRPr>
          </a:p>
        </p:txBody>
      </p:sp>
      <p:sp>
        <p:nvSpPr>
          <p:cNvPr id="9" name="AutoShape 8">
            <a:extLst>
              <a:ext uri="{FF2B5EF4-FFF2-40B4-BE49-F238E27FC236}">
                <a16:creationId xmlns:a16="http://schemas.microsoft.com/office/drawing/2014/main" id="{8C0A74BA-A8EB-5C5B-4654-041EE02CA1C0}"/>
              </a:ext>
            </a:extLst>
          </p:cNvPr>
          <p:cNvSpPr>
            <a:spLocks noChangeArrowheads="1"/>
          </p:cNvSpPr>
          <p:nvPr/>
        </p:nvSpPr>
        <p:spPr bwMode="auto">
          <a:xfrm>
            <a:off x="2661959" y="1055017"/>
            <a:ext cx="890374"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t" anchorCtr="0">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sz="1400" b="1" i="0" u="none" strike="noStrike" kern="1200" cap="none" spc="0" normalizeH="0" baseline="0" noProof="0">
                <a:ln>
                  <a:noFill/>
                </a:ln>
                <a:solidFill>
                  <a:srgbClr val="000000"/>
                </a:solidFill>
                <a:effectLst/>
                <a:uLnTx/>
                <a:uFillTx/>
                <a:latin typeface="santander Headline"/>
                <a:ea typeface="+mn-ea"/>
                <a:cs typeface="Arial" pitchFamily="34" charset="0"/>
              </a:rPr>
              <a:t>Estado</a:t>
            </a:r>
            <a:endParaRPr kumimoji="0" lang="es-PE" sz="1400" b="1" i="0" u="none" strike="noStrike" kern="1200" cap="none" spc="0" normalizeH="0" baseline="30000" noProof="0">
              <a:ln>
                <a:noFill/>
              </a:ln>
              <a:solidFill>
                <a:srgbClr val="000000"/>
              </a:solidFill>
              <a:effectLst/>
              <a:uLnTx/>
              <a:uFillTx/>
              <a:latin typeface="santander Headline"/>
              <a:ea typeface="+mn-ea"/>
              <a:cs typeface="Arial" pitchFamily="34" charset="0"/>
            </a:endParaRPr>
          </a:p>
        </p:txBody>
      </p:sp>
      <p:cxnSp>
        <p:nvCxnSpPr>
          <p:cNvPr id="10" name="73 Conector recto">
            <a:extLst>
              <a:ext uri="{FF2B5EF4-FFF2-40B4-BE49-F238E27FC236}">
                <a16:creationId xmlns:a16="http://schemas.microsoft.com/office/drawing/2014/main" id="{0040C2F4-81E9-1A9B-4B87-A77C54338F51}"/>
              </a:ext>
            </a:extLst>
          </p:cNvPr>
          <p:cNvCxnSpPr>
            <a:cxnSpLocks/>
          </p:cNvCxnSpPr>
          <p:nvPr/>
        </p:nvCxnSpPr>
        <p:spPr>
          <a:xfrm>
            <a:off x="515900" y="1401423"/>
            <a:ext cx="11268000" cy="0"/>
          </a:xfrm>
          <a:prstGeom prst="line">
            <a:avLst/>
          </a:prstGeom>
          <a:noFill/>
          <a:ln w="9525" cap="flat" cmpd="sng" algn="ctr">
            <a:solidFill>
              <a:sysClr val="window" lastClr="FFFFFF">
                <a:lumMod val="75000"/>
              </a:sysClr>
            </a:solidFill>
            <a:prstDash val="dash"/>
          </a:ln>
          <a:effectLst/>
        </p:spPr>
      </p:cxnSp>
      <p:sp>
        <p:nvSpPr>
          <p:cNvPr id="78" name="AutoShape 8">
            <a:extLst>
              <a:ext uri="{FF2B5EF4-FFF2-40B4-BE49-F238E27FC236}">
                <a16:creationId xmlns:a16="http://schemas.microsoft.com/office/drawing/2014/main" id="{6313376D-8CEA-201F-CF2C-B1D81AB712B6}"/>
              </a:ext>
            </a:extLst>
          </p:cNvPr>
          <p:cNvSpPr>
            <a:spLocks noChangeArrowheads="1"/>
          </p:cNvSpPr>
          <p:nvPr/>
        </p:nvSpPr>
        <p:spPr bwMode="auto">
          <a:xfrm>
            <a:off x="10144931" y="1063484"/>
            <a:ext cx="1684631"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t" anchorCtr="0">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sz="1400" b="1" i="0" u="none" strike="noStrike" kern="1200" cap="none" spc="0" normalizeH="0" baseline="0" noProof="0">
                <a:ln>
                  <a:noFill/>
                </a:ln>
                <a:solidFill>
                  <a:srgbClr val="000000"/>
                </a:solidFill>
                <a:effectLst/>
                <a:uLnTx/>
                <a:uFillTx/>
                <a:latin typeface="santander Headline"/>
                <a:ea typeface="+mn-ea"/>
                <a:cs typeface="Arial" pitchFamily="34" charset="0"/>
              </a:rPr>
              <a:t>Fecha sincerada</a:t>
            </a:r>
            <a:endParaRPr kumimoji="0" lang="es-PE" sz="1400" b="1" i="0" u="none" strike="noStrike" kern="1200" cap="none" spc="0" normalizeH="0" baseline="30000" noProof="0">
              <a:ln>
                <a:noFill/>
              </a:ln>
              <a:solidFill>
                <a:srgbClr val="000000"/>
              </a:solidFill>
              <a:effectLst/>
              <a:uLnTx/>
              <a:uFillTx/>
              <a:latin typeface="santander Headline"/>
              <a:ea typeface="+mn-ea"/>
              <a:cs typeface="Arial" pitchFamily="34" charset="0"/>
            </a:endParaRPr>
          </a:p>
        </p:txBody>
      </p:sp>
      <p:sp>
        <p:nvSpPr>
          <p:cNvPr id="56" name="AutoShape 8">
            <a:extLst>
              <a:ext uri="{FF2B5EF4-FFF2-40B4-BE49-F238E27FC236}">
                <a16:creationId xmlns:a16="http://schemas.microsoft.com/office/drawing/2014/main" id="{5AA0397D-99FA-5350-6890-14771ADC3826}"/>
              </a:ext>
            </a:extLst>
          </p:cNvPr>
          <p:cNvSpPr>
            <a:spLocks noChangeArrowheads="1"/>
          </p:cNvSpPr>
          <p:nvPr/>
        </p:nvSpPr>
        <p:spPr bwMode="auto">
          <a:xfrm>
            <a:off x="3609310" y="1055017"/>
            <a:ext cx="1157549"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t" anchorCtr="0">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sz="1400" b="1" i="0" u="none" strike="noStrike" kern="1200" cap="none" spc="0" normalizeH="0" baseline="0" noProof="0">
                <a:ln>
                  <a:noFill/>
                </a:ln>
                <a:solidFill>
                  <a:srgbClr val="000000"/>
                </a:solidFill>
                <a:effectLst/>
                <a:uLnTx/>
                <a:uFillTx/>
                <a:latin typeface="santander Headline"/>
                <a:ea typeface="+mn-ea"/>
                <a:cs typeface="Arial" pitchFamily="34" charset="0"/>
              </a:rPr>
              <a:t>Responsable</a:t>
            </a:r>
            <a:endParaRPr kumimoji="0" lang="es-PE" sz="1400" b="1" i="0" u="none" strike="noStrike" kern="1200" cap="none" spc="0" normalizeH="0" baseline="30000" noProof="0">
              <a:ln>
                <a:noFill/>
              </a:ln>
              <a:solidFill>
                <a:srgbClr val="000000"/>
              </a:solidFill>
              <a:effectLst/>
              <a:uLnTx/>
              <a:uFillTx/>
              <a:latin typeface="santander Headline"/>
              <a:ea typeface="+mn-ea"/>
              <a:cs typeface="Arial" pitchFamily="34" charset="0"/>
            </a:endParaRPr>
          </a:p>
        </p:txBody>
      </p:sp>
      <p:cxnSp>
        <p:nvCxnSpPr>
          <p:cNvPr id="44" name="73 Conector recto">
            <a:extLst>
              <a:ext uri="{FF2B5EF4-FFF2-40B4-BE49-F238E27FC236}">
                <a16:creationId xmlns:a16="http://schemas.microsoft.com/office/drawing/2014/main" id="{6672B227-DED1-296B-D9A4-5668F618A4D1}"/>
              </a:ext>
            </a:extLst>
          </p:cNvPr>
          <p:cNvCxnSpPr>
            <a:cxnSpLocks/>
          </p:cNvCxnSpPr>
          <p:nvPr/>
        </p:nvCxnSpPr>
        <p:spPr>
          <a:xfrm>
            <a:off x="514447" y="2495998"/>
            <a:ext cx="11268000" cy="0"/>
          </a:xfrm>
          <a:prstGeom prst="line">
            <a:avLst/>
          </a:prstGeom>
          <a:noFill/>
          <a:ln w="9525" cap="flat" cmpd="sng" algn="ctr">
            <a:solidFill>
              <a:sysClr val="window" lastClr="FFFFFF">
                <a:lumMod val="75000"/>
              </a:sysClr>
            </a:solidFill>
            <a:prstDash val="dash"/>
          </a:ln>
          <a:effectLst/>
        </p:spPr>
      </p:cxnSp>
      <p:grpSp>
        <p:nvGrpSpPr>
          <p:cNvPr id="48" name="105 Grupo">
            <a:extLst>
              <a:ext uri="{FF2B5EF4-FFF2-40B4-BE49-F238E27FC236}">
                <a16:creationId xmlns:a16="http://schemas.microsoft.com/office/drawing/2014/main" id="{EC3AB60B-D81B-0640-F55F-6BE54336945E}"/>
              </a:ext>
            </a:extLst>
          </p:cNvPr>
          <p:cNvGrpSpPr/>
          <p:nvPr/>
        </p:nvGrpSpPr>
        <p:grpSpPr>
          <a:xfrm>
            <a:off x="3039524" y="1759665"/>
            <a:ext cx="260354" cy="410504"/>
            <a:chOff x="10600106" y="1424888"/>
            <a:chExt cx="618262" cy="974835"/>
          </a:xfrm>
        </p:grpSpPr>
        <p:sp>
          <p:nvSpPr>
            <p:cNvPr id="49" name="Freeform 96">
              <a:extLst>
                <a:ext uri="{FF2B5EF4-FFF2-40B4-BE49-F238E27FC236}">
                  <a16:creationId xmlns:a16="http://schemas.microsoft.com/office/drawing/2014/main" id="{0912DC24-576C-C180-7648-E31020B14BCA}"/>
                </a:ext>
              </a:extLst>
            </p:cNvPr>
            <p:cNvSpPr>
              <a:spLocks/>
            </p:cNvSpPr>
            <p:nvPr/>
          </p:nvSpPr>
          <p:spPr bwMode="gray">
            <a:xfrm flipH="1">
              <a:off x="11021750"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0" name="Freeform 96">
              <a:extLst>
                <a:ext uri="{FF2B5EF4-FFF2-40B4-BE49-F238E27FC236}">
                  <a16:creationId xmlns:a16="http://schemas.microsoft.com/office/drawing/2014/main" id="{21938CFE-2F4C-0B00-EC03-980133C48DD2}"/>
                </a:ext>
              </a:extLst>
            </p:cNvPr>
            <p:cNvSpPr>
              <a:spLocks/>
            </p:cNvSpPr>
            <p:nvPr/>
          </p:nvSpPr>
          <p:spPr bwMode="gray">
            <a:xfrm flipH="1">
              <a:off x="11021752"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2" name="Freeform 97">
              <a:extLst>
                <a:ext uri="{FF2B5EF4-FFF2-40B4-BE49-F238E27FC236}">
                  <a16:creationId xmlns:a16="http://schemas.microsoft.com/office/drawing/2014/main" id="{6C042FFF-31F4-1899-31EC-CE9A2E8090F8}"/>
                </a:ext>
              </a:extLst>
            </p:cNvPr>
            <p:cNvSpPr>
              <a:spLocks/>
            </p:cNvSpPr>
            <p:nvPr/>
          </p:nvSpPr>
          <p:spPr bwMode="gray">
            <a:xfrm flipH="1">
              <a:off x="11021761"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3" name="Freeform 96">
              <a:extLst>
                <a:ext uri="{FF2B5EF4-FFF2-40B4-BE49-F238E27FC236}">
                  <a16:creationId xmlns:a16="http://schemas.microsoft.com/office/drawing/2014/main" id="{C36B4D70-8C6E-E5E6-0F31-3144151B96A2}"/>
                </a:ext>
              </a:extLst>
            </p:cNvPr>
            <p:cNvSpPr>
              <a:spLocks/>
            </p:cNvSpPr>
            <p:nvPr/>
          </p:nvSpPr>
          <p:spPr bwMode="gray">
            <a:xfrm>
              <a:off x="10600106"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4" name="Freeform 96">
              <a:extLst>
                <a:ext uri="{FF2B5EF4-FFF2-40B4-BE49-F238E27FC236}">
                  <a16:creationId xmlns:a16="http://schemas.microsoft.com/office/drawing/2014/main" id="{6B2B9049-3564-AEAF-B128-6C713A8BBB51}"/>
                </a:ext>
              </a:extLst>
            </p:cNvPr>
            <p:cNvSpPr>
              <a:spLocks/>
            </p:cNvSpPr>
            <p:nvPr/>
          </p:nvSpPr>
          <p:spPr bwMode="gray">
            <a:xfrm>
              <a:off x="10600111"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5" name="Freeform 97">
              <a:extLst>
                <a:ext uri="{FF2B5EF4-FFF2-40B4-BE49-F238E27FC236}">
                  <a16:creationId xmlns:a16="http://schemas.microsoft.com/office/drawing/2014/main" id="{4481C8AE-C7F1-B656-10A2-0B6674197E93}"/>
                </a:ext>
              </a:extLst>
            </p:cNvPr>
            <p:cNvSpPr>
              <a:spLocks/>
            </p:cNvSpPr>
            <p:nvPr/>
          </p:nvSpPr>
          <p:spPr bwMode="gray">
            <a:xfrm>
              <a:off x="10600122"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7" name="Freeform 95">
              <a:extLst>
                <a:ext uri="{FF2B5EF4-FFF2-40B4-BE49-F238E27FC236}">
                  <a16:creationId xmlns:a16="http://schemas.microsoft.com/office/drawing/2014/main" id="{B0A6652F-0B46-E650-5937-E469B4F33C54}"/>
                </a:ext>
              </a:extLst>
            </p:cNvPr>
            <p:cNvSpPr>
              <a:spLocks/>
            </p:cNvSpPr>
            <p:nvPr/>
          </p:nvSpPr>
          <p:spPr bwMode="gray">
            <a:xfrm>
              <a:off x="10725261" y="1424888"/>
              <a:ext cx="390660" cy="974835"/>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8" name="Freeform 98">
              <a:extLst>
                <a:ext uri="{FF2B5EF4-FFF2-40B4-BE49-F238E27FC236}">
                  <a16:creationId xmlns:a16="http://schemas.microsoft.com/office/drawing/2014/main" id="{1F199BE0-D5FB-3C37-4F32-48271E5F46EC}"/>
                </a:ext>
              </a:extLst>
            </p:cNvPr>
            <p:cNvSpPr>
              <a:spLocks/>
            </p:cNvSpPr>
            <p:nvPr/>
          </p:nvSpPr>
          <p:spPr bwMode="gray">
            <a:xfrm>
              <a:off x="10804414" y="1488519"/>
              <a:ext cx="229800" cy="229075"/>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60" name="Freeform 103">
              <a:extLst>
                <a:ext uri="{FF2B5EF4-FFF2-40B4-BE49-F238E27FC236}">
                  <a16:creationId xmlns:a16="http://schemas.microsoft.com/office/drawing/2014/main" id="{670FABD8-2926-0E23-CC51-0F22F6B3C094}"/>
                </a:ext>
              </a:extLst>
            </p:cNvPr>
            <p:cNvSpPr>
              <a:spLocks/>
            </p:cNvSpPr>
            <p:nvPr/>
          </p:nvSpPr>
          <p:spPr bwMode="gray">
            <a:xfrm>
              <a:off x="10804441" y="1791403"/>
              <a:ext cx="229800" cy="231619"/>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61" name="Freeform 108">
              <a:extLst>
                <a:ext uri="{FF2B5EF4-FFF2-40B4-BE49-F238E27FC236}">
                  <a16:creationId xmlns:a16="http://schemas.microsoft.com/office/drawing/2014/main" id="{6A4701E7-0FB3-953C-DC14-37A1E2144852}"/>
                </a:ext>
              </a:extLst>
            </p:cNvPr>
            <p:cNvSpPr>
              <a:spLocks/>
            </p:cNvSpPr>
            <p:nvPr/>
          </p:nvSpPr>
          <p:spPr bwMode="gray">
            <a:xfrm>
              <a:off x="10804464" y="2107009"/>
              <a:ext cx="229800" cy="229073"/>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grpSp>
      <p:cxnSp>
        <p:nvCxnSpPr>
          <p:cNvPr id="109" name="73 Conector recto">
            <a:extLst>
              <a:ext uri="{FF2B5EF4-FFF2-40B4-BE49-F238E27FC236}">
                <a16:creationId xmlns:a16="http://schemas.microsoft.com/office/drawing/2014/main" id="{A5B90D8D-636A-9396-7E86-2CE9787E0936}"/>
              </a:ext>
            </a:extLst>
          </p:cNvPr>
          <p:cNvCxnSpPr>
            <a:cxnSpLocks/>
          </p:cNvCxnSpPr>
          <p:nvPr/>
        </p:nvCxnSpPr>
        <p:spPr>
          <a:xfrm>
            <a:off x="570203" y="3645270"/>
            <a:ext cx="11268000" cy="0"/>
          </a:xfrm>
          <a:prstGeom prst="line">
            <a:avLst/>
          </a:prstGeom>
          <a:noFill/>
          <a:ln w="9525" cap="flat" cmpd="sng" algn="ctr">
            <a:solidFill>
              <a:sysClr val="window" lastClr="FFFFFF">
                <a:lumMod val="75000"/>
              </a:sysClr>
            </a:solidFill>
            <a:prstDash val="dash"/>
          </a:ln>
          <a:effectLst/>
        </p:spPr>
      </p:cxnSp>
      <p:grpSp>
        <p:nvGrpSpPr>
          <p:cNvPr id="112" name="105 Grupo">
            <a:extLst>
              <a:ext uri="{FF2B5EF4-FFF2-40B4-BE49-F238E27FC236}">
                <a16:creationId xmlns:a16="http://schemas.microsoft.com/office/drawing/2014/main" id="{7A164D78-665C-8AC1-E366-5F86E9A50B92}"/>
              </a:ext>
            </a:extLst>
          </p:cNvPr>
          <p:cNvGrpSpPr/>
          <p:nvPr/>
        </p:nvGrpSpPr>
        <p:grpSpPr>
          <a:xfrm>
            <a:off x="3039524" y="2851319"/>
            <a:ext cx="260354" cy="410504"/>
            <a:chOff x="10600106" y="1424888"/>
            <a:chExt cx="618262" cy="974835"/>
          </a:xfrm>
        </p:grpSpPr>
        <p:sp>
          <p:nvSpPr>
            <p:cNvPr id="113" name="Freeform 96">
              <a:extLst>
                <a:ext uri="{FF2B5EF4-FFF2-40B4-BE49-F238E27FC236}">
                  <a16:creationId xmlns:a16="http://schemas.microsoft.com/office/drawing/2014/main" id="{420F8BC1-FFAE-8A31-EDB0-871C523E650C}"/>
                </a:ext>
              </a:extLst>
            </p:cNvPr>
            <p:cNvSpPr>
              <a:spLocks/>
            </p:cNvSpPr>
            <p:nvPr/>
          </p:nvSpPr>
          <p:spPr bwMode="gray">
            <a:xfrm flipH="1">
              <a:off x="11021750"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14" name="Freeform 96">
              <a:extLst>
                <a:ext uri="{FF2B5EF4-FFF2-40B4-BE49-F238E27FC236}">
                  <a16:creationId xmlns:a16="http://schemas.microsoft.com/office/drawing/2014/main" id="{880B4D9A-74E0-28DB-07D9-4040D708D3C7}"/>
                </a:ext>
              </a:extLst>
            </p:cNvPr>
            <p:cNvSpPr>
              <a:spLocks/>
            </p:cNvSpPr>
            <p:nvPr/>
          </p:nvSpPr>
          <p:spPr bwMode="gray">
            <a:xfrm flipH="1">
              <a:off x="11021752"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15" name="Freeform 97">
              <a:extLst>
                <a:ext uri="{FF2B5EF4-FFF2-40B4-BE49-F238E27FC236}">
                  <a16:creationId xmlns:a16="http://schemas.microsoft.com/office/drawing/2014/main" id="{4EEC2544-439A-99FF-B76C-E2768B888798}"/>
                </a:ext>
              </a:extLst>
            </p:cNvPr>
            <p:cNvSpPr>
              <a:spLocks/>
            </p:cNvSpPr>
            <p:nvPr/>
          </p:nvSpPr>
          <p:spPr bwMode="gray">
            <a:xfrm flipH="1">
              <a:off x="11021761"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16" name="Freeform 96">
              <a:extLst>
                <a:ext uri="{FF2B5EF4-FFF2-40B4-BE49-F238E27FC236}">
                  <a16:creationId xmlns:a16="http://schemas.microsoft.com/office/drawing/2014/main" id="{42634B2C-D3F1-6B4E-6BE1-0372B959B6B8}"/>
                </a:ext>
              </a:extLst>
            </p:cNvPr>
            <p:cNvSpPr>
              <a:spLocks/>
            </p:cNvSpPr>
            <p:nvPr/>
          </p:nvSpPr>
          <p:spPr bwMode="gray">
            <a:xfrm>
              <a:off x="10600106"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17" name="Freeform 96">
              <a:extLst>
                <a:ext uri="{FF2B5EF4-FFF2-40B4-BE49-F238E27FC236}">
                  <a16:creationId xmlns:a16="http://schemas.microsoft.com/office/drawing/2014/main" id="{C2D01299-2843-0B46-E14B-B7B87A5A46CD}"/>
                </a:ext>
              </a:extLst>
            </p:cNvPr>
            <p:cNvSpPr>
              <a:spLocks/>
            </p:cNvSpPr>
            <p:nvPr/>
          </p:nvSpPr>
          <p:spPr bwMode="gray">
            <a:xfrm>
              <a:off x="10600111"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18" name="Freeform 97">
              <a:extLst>
                <a:ext uri="{FF2B5EF4-FFF2-40B4-BE49-F238E27FC236}">
                  <a16:creationId xmlns:a16="http://schemas.microsoft.com/office/drawing/2014/main" id="{BB3CC57F-D1B5-AB1E-EC7F-247FDB143B31}"/>
                </a:ext>
              </a:extLst>
            </p:cNvPr>
            <p:cNvSpPr>
              <a:spLocks/>
            </p:cNvSpPr>
            <p:nvPr/>
          </p:nvSpPr>
          <p:spPr bwMode="gray">
            <a:xfrm>
              <a:off x="10600122"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19" name="Freeform 95">
              <a:extLst>
                <a:ext uri="{FF2B5EF4-FFF2-40B4-BE49-F238E27FC236}">
                  <a16:creationId xmlns:a16="http://schemas.microsoft.com/office/drawing/2014/main" id="{068C5DAA-41EB-8C52-1DAE-91C84B10C0F5}"/>
                </a:ext>
              </a:extLst>
            </p:cNvPr>
            <p:cNvSpPr>
              <a:spLocks/>
            </p:cNvSpPr>
            <p:nvPr/>
          </p:nvSpPr>
          <p:spPr bwMode="gray">
            <a:xfrm>
              <a:off x="10725261" y="1424888"/>
              <a:ext cx="390660" cy="974835"/>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20" name="Freeform 98">
              <a:extLst>
                <a:ext uri="{FF2B5EF4-FFF2-40B4-BE49-F238E27FC236}">
                  <a16:creationId xmlns:a16="http://schemas.microsoft.com/office/drawing/2014/main" id="{E3D7679E-E448-034A-3239-F4A425EACFDB}"/>
                </a:ext>
              </a:extLst>
            </p:cNvPr>
            <p:cNvSpPr>
              <a:spLocks/>
            </p:cNvSpPr>
            <p:nvPr/>
          </p:nvSpPr>
          <p:spPr bwMode="gray">
            <a:xfrm>
              <a:off x="10804414" y="1488519"/>
              <a:ext cx="229800" cy="229075"/>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21" name="Freeform 103">
              <a:extLst>
                <a:ext uri="{FF2B5EF4-FFF2-40B4-BE49-F238E27FC236}">
                  <a16:creationId xmlns:a16="http://schemas.microsoft.com/office/drawing/2014/main" id="{E832BC20-6843-625F-111C-14061B597087}"/>
                </a:ext>
              </a:extLst>
            </p:cNvPr>
            <p:cNvSpPr>
              <a:spLocks/>
            </p:cNvSpPr>
            <p:nvPr/>
          </p:nvSpPr>
          <p:spPr bwMode="gray">
            <a:xfrm>
              <a:off x="10804441" y="1791403"/>
              <a:ext cx="229800" cy="231619"/>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22" name="Freeform 108">
              <a:extLst>
                <a:ext uri="{FF2B5EF4-FFF2-40B4-BE49-F238E27FC236}">
                  <a16:creationId xmlns:a16="http://schemas.microsoft.com/office/drawing/2014/main" id="{45B0D9A0-474B-3B76-5165-FC7DDC9F6994}"/>
                </a:ext>
              </a:extLst>
            </p:cNvPr>
            <p:cNvSpPr>
              <a:spLocks/>
            </p:cNvSpPr>
            <p:nvPr/>
          </p:nvSpPr>
          <p:spPr bwMode="gray">
            <a:xfrm>
              <a:off x="10804464" y="2107009"/>
              <a:ext cx="229800" cy="229073"/>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grpSp>
      <p:cxnSp>
        <p:nvCxnSpPr>
          <p:cNvPr id="79" name="73 Conector recto">
            <a:extLst>
              <a:ext uri="{FF2B5EF4-FFF2-40B4-BE49-F238E27FC236}">
                <a16:creationId xmlns:a16="http://schemas.microsoft.com/office/drawing/2014/main" id="{F5660FAF-4C77-C21E-6873-B110574A3BBC}"/>
              </a:ext>
            </a:extLst>
          </p:cNvPr>
          <p:cNvCxnSpPr>
            <a:cxnSpLocks/>
          </p:cNvCxnSpPr>
          <p:nvPr/>
        </p:nvCxnSpPr>
        <p:spPr>
          <a:xfrm>
            <a:off x="556780" y="4500673"/>
            <a:ext cx="11268000" cy="0"/>
          </a:xfrm>
          <a:prstGeom prst="line">
            <a:avLst/>
          </a:prstGeom>
          <a:noFill/>
          <a:ln w="9525" cap="flat" cmpd="sng" algn="ctr">
            <a:solidFill>
              <a:sysClr val="window" lastClr="FFFFFF">
                <a:lumMod val="75000"/>
              </a:sysClr>
            </a:solidFill>
            <a:prstDash val="dash"/>
          </a:ln>
          <a:effectLst/>
        </p:spPr>
      </p:cxnSp>
      <p:grpSp>
        <p:nvGrpSpPr>
          <p:cNvPr id="82" name="105 Grupo">
            <a:extLst>
              <a:ext uri="{FF2B5EF4-FFF2-40B4-BE49-F238E27FC236}">
                <a16:creationId xmlns:a16="http://schemas.microsoft.com/office/drawing/2014/main" id="{06AE3B0D-2438-5FDE-8AF6-5596A334BC3F}"/>
              </a:ext>
            </a:extLst>
          </p:cNvPr>
          <p:cNvGrpSpPr/>
          <p:nvPr/>
        </p:nvGrpSpPr>
        <p:grpSpPr>
          <a:xfrm>
            <a:off x="3039524" y="3798610"/>
            <a:ext cx="260354" cy="410504"/>
            <a:chOff x="10600106" y="1424888"/>
            <a:chExt cx="618262" cy="974835"/>
          </a:xfrm>
        </p:grpSpPr>
        <p:sp>
          <p:nvSpPr>
            <p:cNvPr id="83" name="Freeform 96">
              <a:extLst>
                <a:ext uri="{FF2B5EF4-FFF2-40B4-BE49-F238E27FC236}">
                  <a16:creationId xmlns:a16="http://schemas.microsoft.com/office/drawing/2014/main" id="{03D4C11E-BD0B-8AA2-8B29-C94A42C6F99B}"/>
                </a:ext>
              </a:extLst>
            </p:cNvPr>
            <p:cNvSpPr>
              <a:spLocks/>
            </p:cNvSpPr>
            <p:nvPr/>
          </p:nvSpPr>
          <p:spPr bwMode="gray">
            <a:xfrm flipH="1">
              <a:off x="11021750"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85" name="Freeform 96">
              <a:extLst>
                <a:ext uri="{FF2B5EF4-FFF2-40B4-BE49-F238E27FC236}">
                  <a16:creationId xmlns:a16="http://schemas.microsoft.com/office/drawing/2014/main" id="{E04B0E2B-D82B-9177-D8EA-C9447F0C6DED}"/>
                </a:ext>
              </a:extLst>
            </p:cNvPr>
            <p:cNvSpPr>
              <a:spLocks/>
            </p:cNvSpPr>
            <p:nvPr/>
          </p:nvSpPr>
          <p:spPr bwMode="gray">
            <a:xfrm flipH="1">
              <a:off x="11021752"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86" name="Freeform 97">
              <a:extLst>
                <a:ext uri="{FF2B5EF4-FFF2-40B4-BE49-F238E27FC236}">
                  <a16:creationId xmlns:a16="http://schemas.microsoft.com/office/drawing/2014/main" id="{8B10E926-CCA1-CF80-8197-43E124ED9227}"/>
                </a:ext>
              </a:extLst>
            </p:cNvPr>
            <p:cNvSpPr>
              <a:spLocks/>
            </p:cNvSpPr>
            <p:nvPr/>
          </p:nvSpPr>
          <p:spPr bwMode="gray">
            <a:xfrm flipH="1">
              <a:off x="11021761"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87" name="Freeform 96">
              <a:extLst>
                <a:ext uri="{FF2B5EF4-FFF2-40B4-BE49-F238E27FC236}">
                  <a16:creationId xmlns:a16="http://schemas.microsoft.com/office/drawing/2014/main" id="{EB6F7A30-2169-7C44-2BD9-70759A1B2472}"/>
                </a:ext>
              </a:extLst>
            </p:cNvPr>
            <p:cNvSpPr>
              <a:spLocks/>
            </p:cNvSpPr>
            <p:nvPr/>
          </p:nvSpPr>
          <p:spPr bwMode="gray">
            <a:xfrm>
              <a:off x="10600106"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88" name="Freeform 96">
              <a:extLst>
                <a:ext uri="{FF2B5EF4-FFF2-40B4-BE49-F238E27FC236}">
                  <a16:creationId xmlns:a16="http://schemas.microsoft.com/office/drawing/2014/main" id="{A68744DF-C682-637F-8933-0840AA34FDA4}"/>
                </a:ext>
              </a:extLst>
            </p:cNvPr>
            <p:cNvSpPr>
              <a:spLocks/>
            </p:cNvSpPr>
            <p:nvPr/>
          </p:nvSpPr>
          <p:spPr bwMode="gray">
            <a:xfrm>
              <a:off x="10600111"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89" name="Freeform 97">
              <a:extLst>
                <a:ext uri="{FF2B5EF4-FFF2-40B4-BE49-F238E27FC236}">
                  <a16:creationId xmlns:a16="http://schemas.microsoft.com/office/drawing/2014/main" id="{ABA83D80-3D45-CFA0-FD2D-D1D457AC19E0}"/>
                </a:ext>
              </a:extLst>
            </p:cNvPr>
            <p:cNvSpPr>
              <a:spLocks/>
            </p:cNvSpPr>
            <p:nvPr/>
          </p:nvSpPr>
          <p:spPr bwMode="gray">
            <a:xfrm>
              <a:off x="10600122"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90" name="Freeform 95">
              <a:extLst>
                <a:ext uri="{FF2B5EF4-FFF2-40B4-BE49-F238E27FC236}">
                  <a16:creationId xmlns:a16="http://schemas.microsoft.com/office/drawing/2014/main" id="{12F5F954-14F4-5423-3C0C-780C1FF944F4}"/>
                </a:ext>
              </a:extLst>
            </p:cNvPr>
            <p:cNvSpPr>
              <a:spLocks/>
            </p:cNvSpPr>
            <p:nvPr/>
          </p:nvSpPr>
          <p:spPr bwMode="gray">
            <a:xfrm>
              <a:off x="10725261" y="1424888"/>
              <a:ext cx="390660" cy="974835"/>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91" name="Freeform 98">
              <a:extLst>
                <a:ext uri="{FF2B5EF4-FFF2-40B4-BE49-F238E27FC236}">
                  <a16:creationId xmlns:a16="http://schemas.microsoft.com/office/drawing/2014/main" id="{9EDA7EFD-F67D-FDD6-8B4C-F819B6FC4A03}"/>
                </a:ext>
              </a:extLst>
            </p:cNvPr>
            <p:cNvSpPr>
              <a:spLocks/>
            </p:cNvSpPr>
            <p:nvPr/>
          </p:nvSpPr>
          <p:spPr bwMode="gray">
            <a:xfrm>
              <a:off x="10804414" y="1488519"/>
              <a:ext cx="229800" cy="229075"/>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92" name="Freeform 103">
              <a:extLst>
                <a:ext uri="{FF2B5EF4-FFF2-40B4-BE49-F238E27FC236}">
                  <a16:creationId xmlns:a16="http://schemas.microsoft.com/office/drawing/2014/main" id="{DFD2F8D0-84FB-79AA-5036-020728C3077C}"/>
                </a:ext>
              </a:extLst>
            </p:cNvPr>
            <p:cNvSpPr>
              <a:spLocks/>
            </p:cNvSpPr>
            <p:nvPr/>
          </p:nvSpPr>
          <p:spPr bwMode="gray">
            <a:xfrm>
              <a:off x="10804441" y="1791403"/>
              <a:ext cx="229800" cy="231619"/>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93" name="Freeform 108">
              <a:extLst>
                <a:ext uri="{FF2B5EF4-FFF2-40B4-BE49-F238E27FC236}">
                  <a16:creationId xmlns:a16="http://schemas.microsoft.com/office/drawing/2014/main" id="{C292987B-4EEE-1BE1-1BC4-602412399FBB}"/>
                </a:ext>
              </a:extLst>
            </p:cNvPr>
            <p:cNvSpPr>
              <a:spLocks/>
            </p:cNvSpPr>
            <p:nvPr/>
          </p:nvSpPr>
          <p:spPr bwMode="gray">
            <a:xfrm>
              <a:off x="10804464" y="2107009"/>
              <a:ext cx="229800" cy="229073"/>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grpSp>
      <p:cxnSp>
        <p:nvCxnSpPr>
          <p:cNvPr id="5" name="73 Conector recto">
            <a:extLst>
              <a:ext uri="{FF2B5EF4-FFF2-40B4-BE49-F238E27FC236}">
                <a16:creationId xmlns:a16="http://schemas.microsoft.com/office/drawing/2014/main" id="{436C5BF7-B661-9042-DD05-E8DEF350884A}"/>
              </a:ext>
            </a:extLst>
          </p:cNvPr>
          <p:cNvCxnSpPr>
            <a:cxnSpLocks/>
          </p:cNvCxnSpPr>
          <p:nvPr/>
        </p:nvCxnSpPr>
        <p:spPr>
          <a:xfrm>
            <a:off x="525039" y="5503764"/>
            <a:ext cx="11268000" cy="0"/>
          </a:xfrm>
          <a:prstGeom prst="line">
            <a:avLst/>
          </a:prstGeom>
          <a:noFill/>
          <a:ln w="9525" cap="flat" cmpd="sng" algn="ctr">
            <a:solidFill>
              <a:sysClr val="window" lastClr="FFFFFF">
                <a:lumMod val="75000"/>
              </a:sysClr>
            </a:solidFill>
            <a:prstDash val="dash"/>
          </a:ln>
          <a:effectLst/>
        </p:spPr>
      </p:cxnSp>
      <p:grpSp>
        <p:nvGrpSpPr>
          <p:cNvPr id="12" name="105 Grupo">
            <a:extLst>
              <a:ext uri="{FF2B5EF4-FFF2-40B4-BE49-F238E27FC236}">
                <a16:creationId xmlns:a16="http://schemas.microsoft.com/office/drawing/2014/main" id="{382765E6-B678-9E17-8321-0433CEABED93}"/>
              </a:ext>
            </a:extLst>
          </p:cNvPr>
          <p:cNvGrpSpPr/>
          <p:nvPr/>
        </p:nvGrpSpPr>
        <p:grpSpPr>
          <a:xfrm>
            <a:off x="3039524" y="4719928"/>
            <a:ext cx="260354" cy="410504"/>
            <a:chOff x="10600106" y="1424888"/>
            <a:chExt cx="618262" cy="974835"/>
          </a:xfrm>
        </p:grpSpPr>
        <p:sp>
          <p:nvSpPr>
            <p:cNvPr id="13" name="Freeform 96">
              <a:extLst>
                <a:ext uri="{FF2B5EF4-FFF2-40B4-BE49-F238E27FC236}">
                  <a16:creationId xmlns:a16="http://schemas.microsoft.com/office/drawing/2014/main" id="{A9B1CCAF-F5DF-B143-B95F-85059AB22E1F}"/>
                </a:ext>
              </a:extLst>
            </p:cNvPr>
            <p:cNvSpPr>
              <a:spLocks/>
            </p:cNvSpPr>
            <p:nvPr/>
          </p:nvSpPr>
          <p:spPr bwMode="gray">
            <a:xfrm flipH="1">
              <a:off x="11021750"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4" name="Freeform 96">
              <a:extLst>
                <a:ext uri="{FF2B5EF4-FFF2-40B4-BE49-F238E27FC236}">
                  <a16:creationId xmlns:a16="http://schemas.microsoft.com/office/drawing/2014/main" id="{AEB74DB0-9B87-9EE4-819D-A3F03C120755}"/>
                </a:ext>
              </a:extLst>
            </p:cNvPr>
            <p:cNvSpPr>
              <a:spLocks/>
            </p:cNvSpPr>
            <p:nvPr/>
          </p:nvSpPr>
          <p:spPr bwMode="gray">
            <a:xfrm flipH="1">
              <a:off x="11021752"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5" name="Freeform 97">
              <a:extLst>
                <a:ext uri="{FF2B5EF4-FFF2-40B4-BE49-F238E27FC236}">
                  <a16:creationId xmlns:a16="http://schemas.microsoft.com/office/drawing/2014/main" id="{C729AD4F-CEF8-DE16-AB33-2B56E0BC743A}"/>
                </a:ext>
              </a:extLst>
            </p:cNvPr>
            <p:cNvSpPr>
              <a:spLocks/>
            </p:cNvSpPr>
            <p:nvPr/>
          </p:nvSpPr>
          <p:spPr bwMode="gray">
            <a:xfrm flipH="1">
              <a:off x="11021761"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6" name="Freeform 96">
              <a:extLst>
                <a:ext uri="{FF2B5EF4-FFF2-40B4-BE49-F238E27FC236}">
                  <a16:creationId xmlns:a16="http://schemas.microsoft.com/office/drawing/2014/main" id="{A2529B97-0E3A-2115-15EA-A25AE831D423}"/>
                </a:ext>
              </a:extLst>
            </p:cNvPr>
            <p:cNvSpPr>
              <a:spLocks/>
            </p:cNvSpPr>
            <p:nvPr/>
          </p:nvSpPr>
          <p:spPr bwMode="gray">
            <a:xfrm>
              <a:off x="10600106"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7" name="Freeform 96">
              <a:extLst>
                <a:ext uri="{FF2B5EF4-FFF2-40B4-BE49-F238E27FC236}">
                  <a16:creationId xmlns:a16="http://schemas.microsoft.com/office/drawing/2014/main" id="{916A4372-3C63-03E8-30C5-32F96E3C9DE0}"/>
                </a:ext>
              </a:extLst>
            </p:cNvPr>
            <p:cNvSpPr>
              <a:spLocks/>
            </p:cNvSpPr>
            <p:nvPr/>
          </p:nvSpPr>
          <p:spPr bwMode="gray">
            <a:xfrm>
              <a:off x="10600111"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8" name="Freeform 97">
              <a:extLst>
                <a:ext uri="{FF2B5EF4-FFF2-40B4-BE49-F238E27FC236}">
                  <a16:creationId xmlns:a16="http://schemas.microsoft.com/office/drawing/2014/main" id="{7A85C629-210A-ADCC-FC7B-527DB06D12F3}"/>
                </a:ext>
              </a:extLst>
            </p:cNvPr>
            <p:cNvSpPr>
              <a:spLocks/>
            </p:cNvSpPr>
            <p:nvPr/>
          </p:nvSpPr>
          <p:spPr bwMode="gray">
            <a:xfrm>
              <a:off x="10600122"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9" name="Freeform 95">
              <a:extLst>
                <a:ext uri="{FF2B5EF4-FFF2-40B4-BE49-F238E27FC236}">
                  <a16:creationId xmlns:a16="http://schemas.microsoft.com/office/drawing/2014/main" id="{0B214B9A-B036-6762-E05B-D0117D140AD5}"/>
                </a:ext>
              </a:extLst>
            </p:cNvPr>
            <p:cNvSpPr>
              <a:spLocks/>
            </p:cNvSpPr>
            <p:nvPr/>
          </p:nvSpPr>
          <p:spPr bwMode="gray">
            <a:xfrm>
              <a:off x="10725261" y="1424888"/>
              <a:ext cx="390660" cy="974835"/>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24" name="Freeform 98">
              <a:extLst>
                <a:ext uri="{FF2B5EF4-FFF2-40B4-BE49-F238E27FC236}">
                  <a16:creationId xmlns:a16="http://schemas.microsoft.com/office/drawing/2014/main" id="{1223BF8E-9358-7717-5AEB-E27CE85BC6C3}"/>
                </a:ext>
              </a:extLst>
            </p:cNvPr>
            <p:cNvSpPr>
              <a:spLocks/>
            </p:cNvSpPr>
            <p:nvPr/>
          </p:nvSpPr>
          <p:spPr bwMode="gray">
            <a:xfrm>
              <a:off x="10804414" y="1488519"/>
              <a:ext cx="229800" cy="229075"/>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25" name="Freeform 103">
              <a:extLst>
                <a:ext uri="{FF2B5EF4-FFF2-40B4-BE49-F238E27FC236}">
                  <a16:creationId xmlns:a16="http://schemas.microsoft.com/office/drawing/2014/main" id="{3044106A-ECF1-E023-35F2-390A67805620}"/>
                </a:ext>
              </a:extLst>
            </p:cNvPr>
            <p:cNvSpPr>
              <a:spLocks/>
            </p:cNvSpPr>
            <p:nvPr/>
          </p:nvSpPr>
          <p:spPr bwMode="gray">
            <a:xfrm>
              <a:off x="10804441" y="1791403"/>
              <a:ext cx="229800" cy="231619"/>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26" name="Freeform 108">
              <a:extLst>
                <a:ext uri="{FF2B5EF4-FFF2-40B4-BE49-F238E27FC236}">
                  <a16:creationId xmlns:a16="http://schemas.microsoft.com/office/drawing/2014/main" id="{12CAE662-BC6A-DCBC-11A6-37ECD374F373}"/>
                </a:ext>
              </a:extLst>
            </p:cNvPr>
            <p:cNvSpPr>
              <a:spLocks/>
            </p:cNvSpPr>
            <p:nvPr/>
          </p:nvSpPr>
          <p:spPr bwMode="gray">
            <a:xfrm>
              <a:off x="10804464" y="2107009"/>
              <a:ext cx="229800" cy="229073"/>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grpSp>
      <p:sp>
        <p:nvSpPr>
          <p:cNvPr id="27" name="CuadroTexto 26">
            <a:extLst>
              <a:ext uri="{FF2B5EF4-FFF2-40B4-BE49-F238E27FC236}">
                <a16:creationId xmlns:a16="http://schemas.microsoft.com/office/drawing/2014/main" id="{95B85058-6D9D-7572-2E78-2F17CE72A890}"/>
              </a:ext>
            </a:extLst>
          </p:cNvPr>
          <p:cNvSpPr txBox="1"/>
          <p:nvPr/>
        </p:nvSpPr>
        <p:spPr>
          <a:xfrm>
            <a:off x="712047" y="2747520"/>
            <a:ext cx="2200342" cy="635221"/>
          </a:xfrm>
          <a:prstGeom prst="rect">
            <a:avLst/>
          </a:prstGeom>
        </p:spPr>
        <p:txBody>
          <a:bodyPr vert="horz" wrap="square" lIns="0" tIns="180000" rIns="0" bIns="0" rtlCol="0" anchor="t">
            <a:noAutofit/>
          </a:bodyPr>
          <a:lstStyle/>
          <a:p>
            <a:pPr>
              <a:spcBef>
                <a:spcPts val="1200"/>
              </a:spcBef>
              <a:spcAft>
                <a:spcPts val="1200"/>
              </a:spcAft>
              <a:buClr>
                <a:schemeClr val="accent4"/>
              </a:buClr>
            </a:pPr>
            <a:r>
              <a:rPr lang="es-MX" sz="1200" b="1">
                <a:solidFill>
                  <a:schemeClr val="bg2">
                    <a:lumMod val="75000"/>
                  </a:schemeClr>
                </a:solidFill>
              </a:rPr>
              <a:t>Prueba Unitaria | DEV</a:t>
            </a:r>
            <a:br>
              <a:rPr lang="es-ES" sz="1200" b="1">
                <a:solidFill>
                  <a:schemeClr val="bg2">
                    <a:lumMod val="75000"/>
                  </a:schemeClr>
                </a:solidFill>
              </a:rPr>
            </a:br>
            <a:r>
              <a:rPr lang="es-ES" sz="1200" b="1">
                <a:solidFill>
                  <a:schemeClr val="bg2">
                    <a:lumMod val="75000"/>
                  </a:schemeClr>
                </a:solidFill>
              </a:rPr>
              <a:t>2° Entregable (5 OTS)</a:t>
            </a:r>
            <a:endParaRPr lang="es-MX" sz="1200" b="1">
              <a:solidFill>
                <a:schemeClr val="bg2">
                  <a:lumMod val="75000"/>
                </a:schemeClr>
              </a:solidFill>
            </a:endParaRPr>
          </a:p>
        </p:txBody>
      </p:sp>
      <p:sp>
        <p:nvSpPr>
          <p:cNvPr id="28" name="CuadroTexto 27">
            <a:extLst>
              <a:ext uri="{FF2B5EF4-FFF2-40B4-BE49-F238E27FC236}">
                <a16:creationId xmlns:a16="http://schemas.microsoft.com/office/drawing/2014/main" id="{0545A075-F29B-4A07-C672-D35A98A7CBFD}"/>
              </a:ext>
            </a:extLst>
          </p:cNvPr>
          <p:cNvSpPr txBox="1"/>
          <p:nvPr/>
        </p:nvSpPr>
        <p:spPr>
          <a:xfrm>
            <a:off x="712046" y="3793252"/>
            <a:ext cx="2200342" cy="621675"/>
          </a:xfrm>
          <a:prstGeom prst="rect">
            <a:avLst/>
          </a:prstGeom>
        </p:spPr>
        <p:txBody>
          <a:bodyPr vert="horz" wrap="square" lIns="0" tIns="180000" rIns="0" bIns="0" rtlCol="0" anchor="t">
            <a:noAutofit/>
          </a:bodyPr>
          <a:lstStyle/>
          <a:p>
            <a:pPr>
              <a:spcBef>
                <a:spcPts val="1200"/>
              </a:spcBef>
              <a:spcAft>
                <a:spcPts val="1200"/>
              </a:spcAft>
              <a:buClr>
                <a:schemeClr val="accent4"/>
              </a:buClr>
            </a:pPr>
            <a:r>
              <a:rPr lang="es-MX" sz="1200" b="1">
                <a:solidFill>
                  <a:schemeClr val="bg2">
                    <a:lumMod val="75000"/>
                  </a:schemeClr>
                </a:solidFill>
              </a:rPr>
              <a:t>Prueba Unitaria | DEV</a:t>
            </a:r>
            <a:br>
              <a:rPr lang="es-ES" sz="1200" b="1">
                <a:solidFill>
                  <a:schemeClr val="bg2">
                    <a:lumMod val="75000"/>
                  </a:schemeClr>
                </a:solidFill>
              </a:rPr>
            </a:br>
            <a:r>
              <a:rPr lang="es-ES" sz="1200" b="1">
                <a:solidFill>
                  <a:schemeClr val="bg2">
                    <a:lumMod val="75000"/>
                  </a:schemeClr>
                </a:solidFill>
              </a:rPr>
              <a:t>3° Entregable (9 OTS)</a:t>
            </a:r>
            <a:endParaRPr lang="es-MX" sz="1200" b="1">
              <a:solidFill>
                <a:schemeClr val="bg2">
                  <a:lumMod val="75000"/>
                </a:schemeClr>
              </a:solidFill>
            </a:endParaRPr>
          </a:p>
        </p:txBody>
      </p:sp>
      <p:sp>
        <p:nvSpPr>
          <p:cNvPr id="29" name="CuadroTexto 28">
            <a:extLst>
              <a:ext uri="{FF2B5EF4-FFF2-40B4-BE49-F238E27FC236}">
                <a16:creationId xmlns:a16="http://schemas.microsoft.com/office/drawing/2014/main" id="{F1A0B998-B252-3CE1-2D6A-78BCE05D5898}"/>
              </a:ext>
            </a:extLst>
          </p:cNvPr>
          <p:cNvSpPr txBox="1"/>
          <p:nvPr/>
        </p:nvSpPr>
        <p:spPr>
          <a:xfrm>
            <a:off x="712046" y="4706706"/>
            <a:ext cx="2200342" cy="435599"/>
          </a:xfrm>
          <a:prstGeom prst="rect">
            <a:avLst/>
          </a:prstGeom>
        </p:spPr>
        <p:txBody>
          <a:bodyPr vert="horz" wrap="square" lIns="0" tIns="180000" rIns="0" bIns="0" rtlCol="0" anchor="t">
            <a:noAutofit/>
          </a:bodyPr>
          <a:lstStyle/>
          <a:p>
            <a:pPr>
              <a:spcBef>
                <a:spcPts val="1200"/>
              </a:spcBef>
              <a:spcAft>
                <a:spcPts val="1200"/>
              </a:spcAft>
              <a:buClr>
                <a:schemeClr val="accent4"/>
              </a:buClr>
            </a:pPr>
            <a:r>
              <a:rPr lang="es-MX" sz="1200" b="1">
                <a:solidFill>
                  <a:schemeClr val="bg2">
                    <a:lumMod val="75000"/>
                  </a:schemeClr>
                </a:solidFill>
              </a:rPr>
              <a:t>Prueba Unitaria | DEV</a:t>
            </a:r>
            <a:br>
              <a:rPr lang="es-ES" sz="1200" b="1">
                <a:solidFill>
                  <a:schemeClr val="bg2">
                    <a:lumMod val="75000"/>
                  </a:schemeClr>
                </a:solidFill>
              </a:rPr>
            </a:br>
            <a:r>
              <a:rPr lang="es-ES" sz="1200" b="1">
                <a:solidFill>
                  <a:schemeClr val="bg2">
                    <a:lumMod val="75000"/>
                  </a:schemeClr>
                </a:solidFill>
              </a:rPr>
              <a:t>4° Entregable (10OTS)</a:t>
            </a:r>
            <a:endParaRPr lang="es-MX" sz="1200" b="1">
              <a:solidFill>
                <a:schemeClr val="bg2">
                  <a:lumMod val="75000"/>
                </a:schemeClr>
              </a:solidFill>
            </a:endParaRPr>
          </a:p>
        </p:txBody>
      </p:sp>
      <p:sp>
        <p:nvSpPr>
          <p:cNvPr id="30" name="CuadroTexto 29">
            <a:extLst>
              <a:ext uri="{FF2B5EF4-FFF2-40B4-BE49-F238E27FC236}">
                <a16:creationId xmlns:a16="http://schemas.microsoft.com/office/drawing/2014/main" id="{1F43EA71-55F6-B1D5-1290-6B1AA2CBC423}"/>
              </a:ext>
            </a:extLst>
          </p:cNvPr>
          <p:cNvSpPr txBox="1"/>
          <p:nvPr/>
        </p:nvSpPr>
        <p:spPr>
          <a:xfrm>
            <a:off x="3607645" y="1459849"/>
            <a:ext cx="1489151" cy="1018905"/>
          </a:xfrm>
          <a:prstGeom prst="rect">
            <a:avLst/>
          </a:prstGeom>
        </p:spPr>
        <p:txBody>
          <a:bodyPr vert="horz" wrap="square" lIns="0" tIns="180000" rIns="0" bIns="0" rtlCol="0" anchor="t">
            <a:noAutofit/>
          </a:bodyPr>
          <a:lstStyle/>
          <a:p>
            <a:pPr marL="171450" indent="-171450">
              <a:spcBef>
                <a:spcPts val="200"/>
              </a:spcBef>
              <a:spcAft>
                <a:spcPts val="200"/>
              </a:spcAft>
              <a:buClr>
                <a:schemeClr val="accent4">
                  <a:lumMod val="75000"/>
                </a:schemeClr>
              </a:buClr>
              <a:buFont typeface="Arial" panose="020B0604020202020204" pitchFamily="34" charset="0"/>
              <a:buChar char="•"/>
            </a:pPr>
            <a:r>
              <a:rPr lang="es-MX" sz="1200">
                <a:solidFill>
                  <a:schemeClr val="bg2">
                    <a:lumMod val="75000"/>
                  </a:schemeClr>
                </a:solidFill>
              </a:rPr>
              <a:t>Walter Delgado</a:t>
            </a:r>
          </a:p>
          <a:p>
            <a:pPr marL="171450" indent="-171450">
              <a:spcBef>
                <a:spcPts val="200"/>
              </a:spcBef>
              <a:spcAft>
                <a:spcPts val="200"/>
              </a:spcAft>
              <a:buClr>
                <a:schemeClr val="accent4">
                  <a:lumMod val="75000"/>
                </a:schemeClr>
              </a:buClr>
              <a:buFont typeface="Arial" panose="020B0604020202020204" pitchFamily="34" charset="0"/>
              <a:buChar char="•"/>
            </a:pPr>
            <a:r>
              <a:rPr lang="es-MX" sz="1200" err="1">
                <a:solidFill>
                  <a:schemeClr val="bg2">
                    <a:lumMod val="75000"/>
                  </a:schemeClr>
                </a:solidFill>
              </a:rPr>
              <a:t>Bantotal</a:t>
            </a:r>
            <a:endParaRPr lang="es-MX" sz="1200">
              <a:solidFill>
                <a:schemeClr val="bg2">
                  <a:lumMod val="75000"/>
                </a:schemeClr>
              </a:solidFill>
            </a:endParaRPr>
          </a:p>
          <a:p>
            <a:pPr marL="171450" indent="-171450">
              <a:spcBef>
                <a:spcPts val="200"/>
              </a:spcBef>
              <a:spcAft>
                <a:spcPts val="200"/>
              </a:spcAft>
              <a:buClr>
                <a:schemeClr val="accent4">
                  <a:lumMod val="75000"/>
                </a:schemeClr>
              </a:buClr>
              <a:buFont typeface="Arial" panose="020B0604020202020204" pitchFamily="34" charset="0"/>
              <a:buChar char="•"/>
            </a:pPr>
            <a:r>
              <a:rPr lang="es-MX" sz="1200" err="1">
                <a:solidFill>
                  <a:schemeClr val="bg2">
                    <a:lumMod val="75000"/>
                  </a:schemeClr>
                </a:solidFill>
              </a:rPr>
              <a:t>Victor</a:t>
            </a:r>
            <a:r>
              <a:rPr lang="es-MX" sz="1200">
                <a:solidFill>
                  <a:schemeClr val="bg2">
                    <a:lumMod val="75000"/>
                  </a:schemeClr>
                </a:solidFill>
              </a:rPr>
              <a:t> Alfaro </a:t>
            </a:r>
          </a:p>
        </p:txBody>
      </p:sp>
      <p:sp>
        <p:nvSpPr>
          <p:cNvPr id="32" name="CuadroTexto 31">
            <a:extLst>
              <a:ext uri="{FF2B5EF4-FFF2-40B4-BE49-F238E27FC236}">
                <a16:creationId xmlns:a16="http://schemas.microsoft.com/office/drawing/2014/main" id="{4D2D4315-5DAD-945C-1927-B575A05B8DD2}"/>
              </a:ext>
            </a:extLst>
          </p:cNvPr>
          <p:cNvSpPr txBox="1"/>
          <p:nvPr/>
        </p:nvSpPr>
        <p:spPr>
          <a:xfrm>
            <a:off x="4992622" y="1420623"/>
            <a:ext cx="2880000" cy="995701"/>
          </a:xfrm>
          <a:prstGeom prst="rect">
            <a:avLst/>
          </a:prstGeom>
        </p:spPr>
        <p:txBody>
          <a:bodyPr vert="horz" wrap="square" lIns="0" tIns="180000" rIns="0" bIns="0" rtlCol="0" anchor="t">
            <a:noAutofit/>
          </a:bodyPr>
          <a:lstStyle>
            <a:defPPr>
              <a:defRPr lang="es-PE"/>
            </a:defPPr>
            <a:lvl1pPr marL="171450" indent="-171450" algn="just">
              <a:spcBef>
                <a:spcPts val="1200"/>
              </a:spcBef>
              <a:spcAft>
                <a:spcPts val="1200"/>
              </a:spcAft>
              <a:buClr>
                <a:schemeClr val="accent4"/>
              </a:buClr>
              <a:buFont typeface="Arial" panose="020B0604020202020204" pitchFamily="34" charset="0"/>
              <a:buChar char="•"/>
              <a:defRPr sz="1200">
                <a:solidFill>
                  <a:schemeClr val="bg2">
                    <a:lumMod val="75000"/>
                  </a:schemeClr>
                </a:solidFill>
              </a:defRPr>
            </a:lvl1pPr>
          </a:lstStyle>
          <a:p>
            <a:pPr algn="l">
              <a:buClr>
                <a:schemeClr val="accent4">
                  <a:lumMod val="75000"/>
                </a:schemeClr>
              </a:buClr>
            </a:pPr>
            <a:r>
              <a:rPr lang="es-MX"/>
              <a:t>Walter envió correo para que el equipo de </a:t>
            </a:r>
            <a:r>
              <a:rPr lang="es-MX" err="1"/>
              <a:t>Bantotal</a:t>
            </a:r>
            <a:r>
              <a:rPr lang="es-MX"/>
              <a:t> pueda continuar con su corrección para que el equipo QA pueda culminar la prueba</a:t>
            </a:r>
          </a:p>
        </p:txBody>
      </p:sp>
      <p:sp>
        <p:nvSpPr>
          <p:cNvPr id="35" name="CuadroTexto 34">
            <a:extLst>
              <a:ext uri="{FF2B5EF4-FFF2-40B4-BE49-F238E27FC236}">
                <a16:creationId xmlns:a16="http://schemas.microsoft.com/office/drawing/2014/main" id="{5C298A59-B466-37DF-CD97-DD5440B78AE5}"/>
              </a:ext>
            </a:extLst>
          </p:cNvPr>
          <p:cNvSpPr txBox="1"/>
          <p:nvPr/>
        </p:nvSpPr>
        <p:spPr>
          <a:xfrm>
            <a:off x="9769600" y="-29034"/>
            <a:ext cx="2200342" cy="435599"/>
          </a:xfrm>
          <a:prstGeom prst="rect">
            <a:avLst/>
          </a:prstGeom>
        </p:spPr>
        <p:txBody>
          <a:bodyPr vert="horz" wrap="square" lIns="0" tIns="180000" rIns="0" bIns="0" rtlCol="0" anchor="t">
            <a:noAutofit/>
          </a:bodyPr>
          <a:lstStyle/>
          <a:p>
            <a:pPr algn="just">
              <a:spcBef>
                <a:spcPts val="1200"/>
              </a:spcBef>
              <a:spcAft>
                <a:spcPts val="1200"/>
              </a:spcAft>
            </a:pPr>
            <a:endParaRPr lang="es-MX" sz="1200">
              <a:solidFill>
                <a:schemeClr val="bg2">
                  <a:lumMod val="75000"/>
                </a:schemeClr>
              </a:solidFill>
            </a:endParaRPr>
          </a:p>
        </p:txBody>
      </p:sp>
      <p:sp>
        <p:nvSpPr>
          <p:cNvPr id="40" name="CuadroTexto 39">
            <a:extLst>
              <a:ext uri="{FF2B5EF4-FFF2-40B4-BE49-F238E27FC236}">
                <a16:creationId xmlns:a16="http://schemas.microsoft.com/office/drawing/2014/main" id="{36627FAE-D1BE-93D6-BB12-5E01E0BF466F}"/>
              </a:ext>
            </a:extLst>
          </p:cNvPr>
          <p:cNvSpPr txBox="1"/>
          <p:nvPr/>
        </p:nvSpPr>
        <p:spPr>
          <a:xfrm>
            <a:off x="10608288" y="6304006"/>
            <a:ext cx="2686497" cy="1256535"/>
          </a:xfrm>
          <a:prstGeom prst="rect">
            <a:avLst/>
          </a:prstGeom>
        </p:spPr>
        <p:txBody>
          <a:bodyPr vert="horz" wrap="square" lIns="0" tIns="180000" rIns="0" bIns="0" rtlCol="0" anchor="t">
            <a:noAutofit/>
          </a:bodyPr>
          <a:lstStyle/>
          <a:p>
            <a:pPr algn="just">
              <a:spcBef>
                <a:spcPts val="1200"/>
              </a:spcBef>
              <a:spcAft>
                <a:spcPts val="1200"/>
              </a:spcAft>
            </a:pPr>
            <a:endParaRPr lang="es-MX" sz="1200">
              <a:solidFill>
                <a:schemeClr val="bg2">
                  <a:lumMod val="75000"/>
                </a:schemeClr>
              </a:solidFill>
            </a:endParaRPr>
          </a:p>
        </p:txBody>
      </p:sp>
      <p:sp>
        <p:nvSpPr>
          <p:cNvPr id="42" name="CuadroTexto 41">
            <a:extLst>
              <a:ext uri="{FF2B5EF4-FFF2-40B4-BE49-F238E27FC236}">
                <a16:creationId xmlns:a16="http://schemas.microsoft.com/office/drawing/2014/main" id="{600F7363-E96E-8EC1-77FD-8365FEFC068C}"/>
              </a:ext>
            </a:extLst>
          </p:cNvPr>
          <p:cNvSpPr txBox="1"/>
          <p:nvPr/>
        </p:nvSpPr>
        <p:spPr>
          <a:xfrm>
            <a:off x="9769600" y="6104731"/>
            <a:ext cx="2686497" cy="768716"/>
          </a:xfrm>
          <a:prstGeom prst="rect">
            <a:avLst/>
          </a:prstGeom>
        </p:spPr>
        <p:txBody>
          <a:bodyPr vert="horz" wrap="square" lIns="0" tIns="180000" rIns="0" bIns="0" rtlCol="0" anchor="t">
            <a:noAutofit/>
          </a:bodyPr>
          <a:lstStyle/>
          <a:p>
            <a:pPr algn="just">
              <a:spcBef>
                <a:spcPts val="1200"/>
              </a:spcBef>
              <a:spcAft>
                <a:spcPts val="1200"/>
              </a:spcAft>
            </a:pPr>
            <a:endParaRPr lang="es-MX" sz="1200">
              <a:solidFill>
                <a:schemeClr val="bg2">
                  <a:lumMod val="75000"/>
                </a:schemeClr>
              </a:solidFill>
            </a:endParaRPr>
          </a:p>
        </p:txBody>
      </p:sp>
      <p:sp>
        <p:nvSpPr>
          <p:cNvPr id="8" name="CuadroTexto 7">
            <a:extLst>
              <a:ext uri="{FF2B5EF4-FFF2-40B4-BE49-F238E27FC236}">
                <a16:creationId xmlns:a16="http://schemas.microsoft.com/office/drawing/2014/main" id="{7A5AA3DF-0923-B185-9628-A5B2F75C518A}"/>
              </a:ext>
            </a:extLst>
          </p:cNvPr>
          <p:cNvSpPr txBox="1"/>
          <p:nvPr/>
        </p:nvSpPr>
        <p:spPr>
          <a:xfrm>
            <a:off x="712047" y="1672253"/>
            <a:ext cx="2200342" cy="435599"/>
          </a:xfrm>
          <a:prstGeom prst="rect">
            <a:avLst/>
          </a:prstGeom>
        </p:spPr>
        <p:txBody>
          <a:bodyPr vert="horz" wrap="square" lIns="0" tIns="180000" rIns="0" bIns="0" rtlCol="0" anchor="t">
            <a:noAutofit/>
          </a:bodyPr>
          <a:lstStyle/>
          <a:p>
            <a:pPr>
              <a:spcBef>
                <a:spcPts val="1200"/>
              </a:spcBef>
              <a:spcAft>
                <a:spcPts val="1200"/>
              </a:spcAft>
              <a:buClr>
                <a:schemeClr val="accent4"/>
              </a:buClr>
            </a:pPr>
            <a:r>
              <a:rPr lang="es-MX" sz="1200" b="1">
                <a:solidFill>
                  <a:schemeClr val="bg2">
                    <a:lumMod val="75000"/>
                  </a:schemeClr>
                </a:solidFill>
              </a:rPr>
              <a:t>Prueba Unitaria | DEV</a:t>
            </a:r>
            <a:br>
              <a:rPr lang="es-ES" sz="1200" b="1">
                <a:solidFill>
                  <a:schemeClr val="bg2">
                    <a:lumMod val="75000"/>
                  </a:schemeClr>
                </a:solidFill>
              </a:rPr>
            </a:br>
            <a:r>
              <a:rPr lang="es-ES" sz="1200" b="1">
                <a:solidFill>
                  <a:schemeClr val="bg2">
                    <a:lumMod val="75000"/>
                  </a:schemeClr>
                </a:solidFill>
              </a:rPr>
              <a:t>1° Entregable (8 OTS)</a:t>
            </a:r>
            <a:endParaRPr lang="es-MX" sz="1200" b="1">
              <a:solidFill>
                <a:schemeClr val="bg2">
                  <a:lumMod val="75000"/>
                </a:schemeClr>
              </a:solidFill>
            </a:endParaRPr>
          </a:p>
        </p:txBody>
      </p:sp>
      <p:sp>
        <p:nvSpPr>
          <p:cNvPr id="45" name="CuadroTexto 44">
            <a:extLst>
              <a:ext uri="{FF2B5EF4-FFF2-40B4-BE49-F238E27FC236}">
                <a16:creationId xmlns:a16="http://schemas.microsoft.com/office/drawing/2014/main" id="{2CDE3826-B57F-E3E9-D72D-5AFC9142FC40}"/>
              </a:ext>
            </a:extLst>
          </p:cNvPr>
          <p:cNvSpPr txBox="1"/>
          <p:nvPr/>
        </p:nvSpPr>
        <p:spPr>
          <a:xfrm>
            <a:off x="10863579" y="3802466"/>
            <a:ext cx="498542" cy="393266"/>
          </a:xfrm>
          <a:prstGeom prst="rect">
            <a:avLst/>
          </a:prstGeom>
        </p:spPr>
        <p:txBody>
          <a:bodyPr vert="horz" wrap="square" lIns="0" tIns="180000" rIns="0" bIns="0" rtlCol="0" anchor="t">
            <a:noAutofit/>
          </a:bodyPr>
          <a:lstStyle/>
          <a:p>
            <a:pPr algn="just">
              <a:spcBef>
                <a:spcPts val="1200"/>
              </a:spcBef>
              <a:spcAft>
                <a:spcPts val="1200"/>
              </a:spcAft>
            </a:pPr>
            <a:r>
              <a:rPr lang="es-MX" sz="1200">
                <a:solidFill>
                  <a:schemeClr val="bg2">
                    <a:lumMod val="75000"/>
                  </a:schemeClr>
                </a:solidFill>
              </a:rPr>
              <a:t>-</a:t>
            </a:r>
          </a:p>
        </p:txBody>
      </p:sp>
      <p:sp>
        <p:nvSpPr>
          <p:cNvPr id="46" name="CuadroTexto 45">
            <a:extLst>
              <a:ext uri="{FF2B5EF4-FFF2-40B4-BE49-F238E27FC236}">
                <a16:creationId xmlns:a16="http://schemas.microsoft.com/office/drawing/2014/main" id="{A168BDF4-9F99-4C29-AD89-FD260F768918}"/>
              </a:ext>
            </a:extLst>
          </p:cNvPr>
          <p:cNvSpPr txBox="1"/>
          <p:nvPr/>
        </p:nvSpPr>
        <p:spPr>
          <a:xfrm>
            <a:off x="10908964" y="4770605"/>
            <a:ext cx="753832" cy="393266"/>
          </a:xfrm>
          <a:prstGeom prst="rect">
            <a:avLst/>
          </a:prstGeom>
        </p:spPr>
        <p:txBody>
          <a:bodyPr vert="horz" wrap="square" lIns="0" tIns="180000" rIns="0" bIns="0" rtlCol="0" anchor="t">
            <a:noAutofit/>
          </a:bodyPr>
          <a:lstStyle/>
          <a:p>
            <a:pPr algn="just">
              <a:spcBef>
                <a:spcPts val="1200"/>
              </a:spcBef>
              <a:spcAft>
                <a:spcPts val="1200"/>
              </a:spcAft>
            </a:pPr>
            <a:r>
              <a:rPr lang="es-MX" sz="1200" b="1">
                <a:solidFill>
                  <a:schemeClr val="bg2">
                    <a:lumMod val="75000"/>
                  </a:schemeClr>
                </a:solidFill>
              </a:rPr>
              <a:t>22/02/2026</a:t>
            </a:r>
          </a:p>
        </p:txBody>
      </p:sp>
      <p:sp>
        <p:nvSpPr>
          <p:cNvPr id="63" name="60 CuadroTexto">
            <a:extLst>
              <a:ext uri="{FF2B5EF4-FFF2-40B4-BE49-F238E27FC236}">
                <a16:creationId xmlns:a16="http://schemas.microsoft.com/office/drawing/2014/main" id="{73FF910F-16D0-2DF5-047C-250A739E70E1}"/>
              </a:ext>
            </a:extLst>
          </p:cNvPr>
          <p:cNvSpPr txBox="1"/>
          <p:nvPr/>
        </p:nvSpPr>
        <p:spPr>
          <a:xfrm>
            <a:off x="4992622" y="2513077"/>
            <a:ext cx="2880000" cy="738664"/>
          </a:xfrm>
          <a:prstGeom prst="rect">
            <a:avLst/>
          </a:prstGeom>
          <a:noFill/>
        </p:spPr>
        <p:txBody>
          <a:bodyPr wrap="square" lIns="0" tIns="0" rIns="0" bIns="0" rtlCol="0" anchor="t">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172720" lvl="1" indent="-171450">
              <a:spcAft>
                <a:spcPts val="0"/>
              </a:spcAft>
              <a:buClr>
                <a:schemeClr val="accent4">
                  <a:lumMod val="75000"/>
                </a:schemeClr>
              </a:buClr>
              <a:buSzPct val="120000"/>
              <a:buFont typeface="Arial" panose="020B0604020202020204" pitchFamily="34" charset="0"/>
              <a:buChar char="•"/>
              <a:defRPr/>
            </a:pPr>
            <a:r>
              <a:rPr lang="es-MX" sz="1200">
                <a:solidFill>
                  <a:schemeClr val="bg2">
                    <a:lumMod val="75000"/>
                  </a:schemeClr>
                </a:solidFill>
                <a:latin typeface="+mn-lt"/>
                <a:cs typeface="Arial"/>
              </a:rPr>
              <a:t>OT 242 Pendiente de respuesta de </a:t>
            </a:r>
            <a:r>
              <a:rPr lang="es-MX" sz="1200" err="1">
                <a:solidFill>
                  <a:schemeClr val="bg2">
                    <a:lumMod val="75000"/>
                  </a:schemeClr>
                </a:solidFill>
                <a:latin typeface="+mn-lt"/>
                <a:cs typeface="Arial"/>
              </a:rPr>
              <a:t>Bantotal</a:t>
            </a:r>
            <a:endParaRPr lang="es-ES">
              <a:solidFill>
                <a:schemeClr val="bg2">
                  <a:lumMod val="75000"/>
                </a:schemeClr>
              </a:solidFill>
              <a:cs typeface="Arial"/>
            </a:endParaRPr>
          </a:p>
          <a:p>
            <a:pPr marL="172720" lvl="1" indent="-171450">
              <a:spcAft>
                <a:spcPts val="0"/>
              </a:spcAft>
              <a:buClr>
                <a:schemeClr val="accent4">
                  <a:lumMod val="75000"/>
                </a:schemeClr>
              </a:buClr>
              <a:buSzPct val="120000"/>
              <a:buFont typeface="Arial" panose="020B0604020202020204" pitchFamily="34" charset="0"/>
              <a:buChar char="•"/>
              <a:defRPr/>
            </a:pPr>
            <a:r>
              <a:rPr lang="es-MX" sz="1200">
                <a:solidFill>
                  <a:schemeClr val="bg2">
                    <a:lumMod val="75000"/>
                  </a:schemeClr>
                </a:solidFill>
                <a:latin typeface="+mn-lt"/>
                <a:cs typeface="Arial"/>
              </a:rPr>
              <a:t>Pendiente de resolución  OT - 234</a:t>
            </a:r>
          </a:p>
          <a:p>
            <a:pPr marL="172720" lvl="1" indent="-171450">
              <a:spcAft>
                <a:spcPts val="0"/>
              </a:spcAft>
              <a:buClr>
                <a:schemeClr val="accent4">
                  <a:lumMod val="75000"/>
                </a:schemeClr>
              </a:buClr>
              <a:buSzPct val="120000"/>
              <a:buFont typeface="Arial" panose="020B0604020202020204" pitchFamily="34" charset="0"/>
              <a:buChar char="•"/>
              <a:defRPr/>
            </a:pPr>
            <a:r>
              <a:rPr lang="es-MX" sz="1200">
                <a:solidFill>
                  <a:schemeClr val="bg2">
                    <a:lumMod val="75000"/>
                  </a:schemeClr>
                </a:solidFill>
                <a:latin typeface="+mn-lt"/>
                <a:cs typeface="Arial"/>
              </a:rPr>
              <a:t>Pendiente cerrar la OT – 79 para tener reunión con los usuarios de las 3 </a:t>
            </a:r>
            <a:r>
              <a:rPr lang="es-MX" sz="1200" err="1">
                <a:solidFill>
                  <a:schemeClr val="bg2">
                    <a:lumMod val="75000"/>
                  </a:schemeClr>
                </a:solidFill>
                <a:latin typeface="+mn-lt"/>
                <a:cs typeface="Arial"/>
              </a:rPr>
              <a:t>OTs</a:t>
            </a:r>
          </a:p>
        </p:txBody>
      </p:sp>
      <p:sp>
        <p:nvSpPr>
          <p:cNvPr id="64" name="61 CuadroTexto">
            <a:extLst>
              <a:ext uri="{FF2B5EF4-FFF2-40B4-BE49-F238E27FC236}">
                <a16:creationId xmlns:a16="http://schemas.microsoft.com/office/drawing/2014/main" id="{BDC3ACDD-7DBC-F4CD-D471-6D3CC4AF8198}"/>
              </a:ext>
            </a:extLst>
          </p:cNvPr>
          <p:cNvSpPr txBox="1"/>
          <p:nvPr/>
        </p:nvSpPr>
        <p:spPr>
          <a:xfrm>
            <a:off x="7960597" y="2511820"/>
            <a:ext cx="2426379" cy="861774"/>
          </a:xfrm>
          <a:prstGeom prst="rect">
            <a:avLst/>
          </a:prstGeom>
        </p:spPr>
        <p:txBody>
          <a:bodyPr vert="horz" wrap="square" lIns="0" tIns="180000" rIns="0" bIns="0" rtlCol="0" anchor="t">
            <a:noAutofit/>
          </a:bodyPr>
          <a:lstStyle>
            <a:defPPr>
              <a:defRPr lang="es-PE"/>
            </a:defPPr>
            <a:lvl1pPr algn="just">
              <a:spcBef>
                <a:spcPts val="1200"/>
              </a:spcBef>
              <a:spcAft>
                <a:spcPts val="1200"/>
              </a:spcAft>
              <a:defRPr sz="1200">
                <a:solidFill>
                  <a:schemeClr val="bg2">
                    <a:lumMod val="75000"/>
                  </a:schemeClr>
                </a:solidFill>
                <a:ea typeface="+mn-lt"/>
                <a:cs typeface="+mn-lt"/>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171450" indent="-171450">
              <a:buClr>
                <a:schemeClr val="accent4">
                  <a:lumMod val="75000"/>
                </a:schemeClr>
              </a:buClr>
              <a:buFont typeface="Arial" panose="020B0604020202020204" pitchFamily="34" charset="0"/>
              <a:buChar char="•"/>
            </a:pPr>
            <a:endParaRPr lang="es-MX"/>
          </a:p>
        </p:txBody>
      </p:sp>
      <p:grpSp>
        <p:nvGrpSpPr>
          <p:cNvPr id="11" name="105 Grupo">
            <a:extLst>
              <a:ext uri="{FF2B5EF4-FFF2-40B4-BE49-F238E27FC236}">
                <a16:creationId xmlns:a16="http://schemas.microsoft.com/office/drawing/2014/main" id="{769A316D-203A-DB51-50B9-4E58C896379A}"/>
              </a:ext>
            </a:extLst>
          </p:cNvPr>
          <p:cNvGrpSpPr/>
          <p:nvPr/>
        </p:nvGrpSpPr>
        <p:grpSpPr>
          <a:xfrm>
            <a:off x="3039524" y="5606078"/>
            <a:ext cx="260354" cy="410504"/>
            <a:chOff x="10600106" y="1424888"/>
            <a:chExt cx="618262" cy="974835"/>
          </a:xfrm>
        </p:grpSpPr>
        <p:sp>
          <p:nvSpPr>
            <p:cNvPr id="37" name="Freeform 96">
              <a:extLst>
                <a:ext uri="{FF2B5EF4-FFF2-40B4-BE49-F238E27FC236}">
                  <a16:creationId xmlns:a16="http://schemas.microsoft.com/office/drawing/2014/main" id="{176708E6-5A31-EB32-DB21-5A4949B542BD}"/>
                </a:ext>
              </a:extLst>
            </p:cNvPr>
            <p:cNvSpPr>
              <a:spLocks/>
            </p:cNvSpPr>
            <p:nvPr/>
          </p:nvSpPr>
          <p:spPr bwMode="gray">
            <a:xfrm flipH="1">
              <a:off x="11021750"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38" name="Freeform 96">
              <a:extLst>
                <a:ext uri="{FF2B5EF4-FFF2-40B4-BE49-F238E27FC236}">
                  <a16:creationId xmlns:a16="http://schemas.microsoft.com/office/drawing/2014/main" id="{D40AB7E5-DE4C-A5B9-2A49-8A999BDD18B1}"/>
                </a:ext>
              </a:extLst>
            </p:cNvPr>
            <p:cNvSpPr>
              <a:spLocks/>
            </p:cNvSpPr>
            <p:nvPr/>
          </p:nvSpPr>
          <p:spPr bwMode="gray">
            <a:xfrm flipH="1">
              <a:off x="11021752"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47" name="Freeform 97">
              <a:extLst>
                <a:ext uri="{FF2B5EF4-FFF2-40B4-BE49-F238E27FC236}">
                  <a16:creationId xmlns:a16="http://schemas.microsoft.com/office/drawing/2014/main" id="{08CFFF48-3D8F-B448-9DDF-E78EEC3F3829}"/>
                </a:ext>
              </a:extLst>
            </p:cNvPr>
            <p:cNvSpPr>
              <a:spLocks/>
            </p:cNvSpPr>
            <p:nvPr/>
          </p:nvSpPr>
          <p:spPr bwMode="gray">
            <a:xfrm flipH="1">
              <a:off x="11021761"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1" name="Freeform 96">
              <a:extLst>
                <a:ext uri="{FF2B5EF4-FFF2-40B4-BE49-F238E27FC236}">
                  <a16:creationId xmlns:a16="http://schemas.microsoft.com/office/drawing/2014/main" id="{419A5387-654B-7899-64F5-B0A4418AEE49}"/>
                </a:ext>
              </a:extLst>
            </p:cNvPr>
            <p:cNvSpPr>
              <a:spLocks/>
            </p:cNvSpPr>
            <p:nvPr/>
          </p:nvSpPr>
          <p:spPr bwMode="gray">
            <a:xfrm>
              <a:off x="10600106"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9" name="Freeform 96">
              <a:extLst>
                <a:ext uri="{FF2B5EF4-FFF2-40B4-BE49-F238E27FC236}">
                  <a16:creationId xmlns:a16="http://schemas.microsoft.com/office/drawing/2014/main" id="{D80EEACB-7F99-DDD9-855A-8D82669D1587}"/>
                </a:ext>
              </a:extLst>
            </p:cNvPr>
            <p:cNvSpPr>
              <a:spLocks/>
            </p:cNvSpPr>
            <p:nvPr/>
          </p:nvSpPr>
          <p:spPr bwMode="gray">
            <a:xfrm>
              <a:off x="10600111"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62" name="Freeform 97">
              <a:extLst>
                <a:ext uri="{FF2B5EF4-FFF2-40B4-BE49-F238E27FC236}">
                  <a16:creationId xmlns:a16="http://schemas.microsoft.com/office/drawing/2014/main" id="{7B2800AA-5556-E1BC-A03A-62BB840EDE87}"/>
                </a:ext>
              </a:extLst>
            </p:cNvPr>
            <p:cNvSpPr>
              <a:spLocks/>
            </p:cNvSpPr>
            <p:nvPr/>
          </p:nvSpPr>
          <p:spPr bwMode="gray">
            <a:xfrm>
              <a:off x="10600122"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65" name="Freeform 95">
              <a:extLst>
                <a:ext uri="{FF2B5EF4-FFF2-40B4-BE49-F238E27FC236}">
                  <a16:creationId xmlns:a16="http://schemas.microsoft.com/office/drawing/2014/main" id="{41578482-2285-B8F5-5EEF-2BB3B2AF4312}"/>
                </a:ext>
              </a:extLst>
            </p:cNvPr>
            <p:cNvSpPr>
              <a:spLocks/>
            </p:cNvSpPr>
            <p:nvPr/>
          </p:nvSpPr>
          <p:spPr bwMode="gray">
            <a:xfrm>
              <a:off x="10725261" y="1424888"/>
              <a:ext cx="390660" cy="974835"/>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66" name="Freeform 98">
              <a:extLst>
                <a:ext uri="{FF2B5EF4-FFF2-40B4-BE49-F238E27FC236}">
                  <a16:creationId xmlns:a16="http://schemas.microsoft.com/office/drawing/2014/main" id="{96AA1A6E-133D-AE8B-75E1-D126BB7F8FD6}"/>
                </a:ext>
              </a:extLst>
            </p:cNvPr>
            <p:cNvSpPr>
              <a:spLocks/>
            </p:cNvSpPr>
            <p:nvPr/>
          </p:nvSpPr>
          <p:spPr bwMode="gray">
            <a:xfrm>
              <a:off x="10804414" y="1488519"/>
              <a:ext cx="229800" cy="229075"/>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67" name="Freeform 103">
              <a:extLst>
                <a:ext uri="{FF2B5EF4-FFF2-40B4-BE49-F238E27FC236}">
                  <a16:creationId xmlns:a16="http://schemas.microsoft.com/office/drawing/2014/main" id="{F6A61DA3-03A6-3907-3585-03635EB64D01}"/>
                </a:ext>
              </a:extLst>
            </p:cNvPr>
            <p:cNvSpPr>
              <a:spLocks/>
            </p:cNvSpPr>
            <p:nvPr/>
          </p:nvSpPr>
          <p:spPr bwMode="gray">
            <a:xfrm>
              <a:off x="10804441" y="1791403"/>
              <a:ext cx="229800" cy="231619"/>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68" name="Freeform 108">
              <a:extLst>
                <a:ext uri="{FF2B5EF4-FFF2-40B4-BE49-F238E27FC236}">
                  <a16:creationId xmlns:a16="http://schemas.microsoft.com/office/drawing/2014/main" id="{2F620E07-F121-E6A3-F0C7-153AA2982FCC}"/>
                </a:ext>
              </a:extLst>
            </p:cNvPr>
            <p:cNvSpPr>
              <a:spLocks/>
            </p:cNvSpPr>
            <p:nvPr/>
          </p:nvSpPr>
          <p:spPr bwMode="gray">
            <a:xfrm>
              <a:off x="10804464" y="2107009"/>
              <a:ext cx="229800" cy="229073"/>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grpSp>
      <p:sp>
        <p:nvSpPr>
          <p:cNvPr id="69" name="CuadroTexto 68">
            <a:extLst>
              <a:ext uri="{FF2B5EF4-FFF2-40B4-BE49-F238E27FC236}">
                <a16:creationId xmlns:a16="http://schemas.microsoft.com/office/drawing/2014/main" id="{6C5D701E-8186-D985-3947-867B9D15ED3D}"/>
              </a:ext>
            </a:extLst>
          </p:cNvPr>
          <p:cNvSpPr txBox="1"/>
          <p:nvPr/>
        </p:nvSpPr>
        <p:spPr>
          <a:xfrm>
            <a:off x="712046" y="5550324"/>
            <a:ext cx="2200342" cy="435599"/>
          </a:xfrm>
          <a:prstGeom prst="rect">
            <a:avLst/>
          </a:prstGeom>
        </p:spPr>
        <p:txBody>
          <a:bodyPr vert="horz" wrap="square" lIns="0" tIns="180000" rIns="0" bIns="0" rtlCol="0" anchor="t">
            <a:noAutofit/>
          </a:bodyPr>
          <a:lstStyle/>
          <a:p>
            <a:pPr>
              <a:spcBef>
                <a:spcPts val="1200"/>
              </a:spcBef>
              <a:spcAft>
                <a:spcPts val="1200"/>
              </a:spcAft>
              <a:buClr>
                <a:schemeClr val="accent4"/>
              </a:buClr>
            </a:pPr>
            <a:r>
              <a:rPr lang="es-MX" sz="1200" b="1">
                <a:solidFill>
                  <a:schemeClr val="bg2">
                    <a:lumMod val="75000"/>
                  </a:schemeClr>
                </a:solidFill>
              </a:rPr>
              <a:t>Pruebas Reportes Regulatorios</a:t>
            </a:r>
          </a:p>
        </p:txBody>
      </p:sp>
      <p:sp>
        <p:nvSpPr>
          <p:cNvPr id="71" name="CuadroTexto 70">
            <a:extLst>
              <a:ext uri="{FF2B5EF4-FFF2-40B4-BE49-F238E27FC236}">
                <a16:creationId xmlns:a16="http://schemas.microsoft.com/office/drawing/2014/main" id="{3DE057DE-382D-231D-95EF-37A62F0A151B}"/>
              </a:ext>
            </a:extLst>
          </p:cNvPr>
          <p:cNvSpPr txBox="1"/>
          <p:nvPr/>
        </p:nvSpPr>
        <p:spPr>
          <a:xfrm>
            <a:off x="10136711" y="6401802"/>
            <a:ext cx="2686497" cy="768716"/>
          </a:xfrm>
          <a:prstGeom prst="rect">
            <a:avLst/>
          </a:prstGeom>
        </p:spPr>
        <p:txBody>
          <a:bodyPr vert="horz" wrap="square" lIns="0" tIns="180000" rIns="0" bIns="0" rtlCol="0" anchor="t">
            <a:noAutofit/>
          </a:bodyPr>
          <a:lstStyle/>
          <a:p>
            <a:pPr algn="just">
              <a:spcBef>
                <a:spcPts val="1200"/>
              </a:spcBef>
              <a:spcAft>
                <a:spcPts val="1200"/>
              </a:spcAft>
            </a:pPr>
            <a:endParaRPr lang="es-MX" sz="1200">
              <a:solidFill>
                <a:schemeClr val="bg2">
                  <a:lumMod val="75000"/>
                </a:schemeClr>
              </a:solidFill>
            </a:endParaRPr>
          </a:p>
        </p:txBody>
      </p:sp>
      <p:sp>
        <p:nvSpPr>
          <p:cNvPr id="72" name="CuadroTexto 71">
            <a:extLst>
              <a:ext uri="{FF2B5EF4-FFF2-40B4-BE49-F238E27FC236}">
                <a16:creationId xmlns:a16="http://schemas.microsoft.com/office/drawing/2014/main" id="{A000A27F-5818-6F96-3056-4A3426BA2978}"/>
              </a:ext>
            </a:extLst>
          </p:cNvPr>
          <p:cNvSpPr txBox="1"/>
          <p:nvPr/>
        </p:nvSpPr>
        <p:spPr>
          <a:xfrm>
            <a:off x="10608287" y="5653416"/>
            <a:ext cx="1009122" cy="509383"/>
          </a:xfrm>
          <a:prstGeom prst="rect">
            <a:avLst/>
          </a:prstGeom>
        </p:spPr>
        <p:txBody>
          <a:bodyPr vert="horz" wrap="square" lIns="0" tIns="180000" rIns="0" bIns="0" rtlCol="0" anchor="t">
            <a:noAutofit/>
          </a:bodyPr>
          <a:lstStyle/>
          <a:p>
            <a:pPr algn="just">
              <a:spcBef>
                <a:spcPts val="1200"/>
              </a:spcBef>
              <a:spcAft>
                <a:spcPts val="1200"/>
              </a:spcAft>
            </a:pPr>
            <a:r>
              <a:rPr lang="es-MX" sz="1200" b="1">
                <a:solidFill>
                  <a:schemeClr val="bg2">
                    <a:lumMod val="75000"/>
                  </a:schemeClr>
                </a:solidFill>
              </a:rPr>
              <a:t>15/04/2026</a:t>
            </a:r>
          </a:p>
        </p:txBody>
      </p:sp>
      <p:sp>
        <p:nvSpPr>
          <p:cNvPr id="74" name="Title 5">
            <a:extLst>
              <a:ext uri="{FF2B5EF4-FFF2-40B4-BE49-F238E27FC236}">
                <a16:creationId xmlns:a16="http://schemas.microsoft.com/office/drawing/2014/main" id="{2A503AE2-FFF6-2F9F-FB66-3BBF3B50F7E5}"/>
              </a:ext>
            </a:extLst>
          </p:cNvPr>
          <p:cNvSpPr txBox="1">
            <a:spLocks/>
          </p:cNvSpPr>
          <p:nvPr/>
        </p:nvSpPr>
        <p:spPr>
          <a:xfrm>
            <a:off x="572521" y="249728"/>
            <a:ext cx="11090275" cy="614413"/>
          </a:xfrm>
          <a:prstGeom prst="rect">
            <a:avLst/>
          </a:prstGeom>
        </p:spPr>
        <p:txBody>
          <a:bodyPr vert="horz" lIns="0" tIns="0" rIns="0" bIns="0" rtlCol="0" anchor="b">
            <a:noAutofit/>
          </a:bodyPr>
          <a:lstStyle>
            <a:lvl1pPr algn="l" defTabSz="911045" rtl="0" eaLnBrk="1" latinLnBrk="0" hangingPunct="1">
              <a:lnSpc>
                <a:spcPts val="2396"/>
              </a:lnSpc>
              <a:spcBef>
                <a:spcPct val="0"/>
              </a:spcBef>
              <a:buNone/>
              <a:defRPr lang="en-US" sz="2396" b="1" kern="1200">
                <a:solidFill>
                  <a:schemeClr val="tx1"/>
                </a:solidFill>
                <a:latin typeface="+mj-lt"/>
                <a:ea typeface="+mj-ea"/>
                <a:cs typeface="Arial" panose="020B0604020202020204" pitchFamily="34" charset="0"/>
              </a:defRPr>
            </a:lvl1pPr>
          </a:lstStyle>
          <a:p>
            <a:pPr marL="0" marR="0" lvl="0" indent="0" algn="l" defTabSz="911045" rtl="0" eaLnBrk="1" fontAlgn="auto" latinLnBrk="0" hangingPunct="1">
              <a:lnSpc>
                <a:spcPts val="2396"/>
              </a:lnSpc>
              <a:spcBef>
                <a:spcPct val="0"/>
              </a:spcBef>
              <a:spcAft>
                <a:spcPts val="0"/>
              </a:spcAft>
              <a:buClrTx/>
              <a:buSzTx/>
              <a:buFontTx/>
              <a:buNone/>
              <a:tabLst/>
              <a:defRPr/>
            </a:pPr>
            <a:r>
              <a:rPr kumimoji="0" lang="es-MX" sz="2400" b="1" i="0" u="none" strike="noStrike" kern="1200" cap="none" spc="0" normalizeH="0" baseline="0" noProof="0">
                <a:ln>
                  <a:noFill/>
                </a:ln>
                <a:solidFill>
                  <a:srgbClr val="EB0000"/>
                </a:solidFill>
                <a:effectLst/>
                <a:uLnTx/>
                <a:uFillTx/>
                <a:latin typeface="Santander Headline"/>
                <a:ea typeface="+mj-ea"/>
                <a:cs typeface="Arial"/>
              </a:rPr>
              <a:t>Seguimiento QA - CORE</a:t>
            </a:r>
            <a:endParaRPr lang="es-MX" sz="2400">
              <a:solidFill>
                <a:srgbClr val="EB0000"/>
              </a:solidFill>
              <a:latin typeface="Santander Headline"/>
              <a:cs typeface="Arial"/>
            </a:endParaRPr>
          </a:p>
        </p:txBody>
      </p:sp>
      <p:sp>
        <p:nvSpPr>
          <p:cNvPr id="75" name="60 CuadroTexto">
            <a:extLst>
              <a:ext uri="{FF2B5EF4-FFF2-40B4-BE49-F238E27FC236}">
                <a16:creationId xmlns:a16="http://schemas.microsoft.com/office/drawing/2014/main" id="{F93AB1F2-B309-70E6-C57C-CFB94F2FD7D6}"/>
              </a:ext>
            </a:extLst>
          </p:cNvPr>
          <p:cNvSpPr txBox="1"/>
          <p:nvPr/>
        </p:nvSpPr>
        <p:spPr>
          <a:xfrm>
            <a:off x="4992622" y="3875025"/>
            <a:ext cx="2880000" cy="369332"/>
          </a:xfrm>
          <a:prstGeom prst="rect">
            <a:avLst/>
          </a:prstGeom>
          <a:noFill/>
        </p:spPr>
        <p:txBody>
          <a:bodyPr wrap="square" lIns="0" tIns="0" rIns="0" bIns="0" rtlCol="0">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173038" lvl="1" indent="-171450" defTabSz="895350">
              <a:spcAft>
                <a:spcPts val="0"/>
              </a:spcAft>
              <a:buClr>
                <a:schemeClr val="accent4">
                  <a:lumMod val="75000"/>
                </a:schemeClr>
              </a:buClr>
              <a:buSzPct val="120000"/>
              <a:buFont typeface="Arial" panose="020B0604020202020204" pitchFamily="34" charset="0"/>
              <a:buChar char="•"/>
              <a:defRPr/>
            </a:pPr>
            <a:r>
              <a:rPr lang="es-MX" sz="1200">
                <a:solidFill>
                  <a:schemeClr val="bg2">
                    <a:lumMod val="75000"/>
                  </a:schemeClr>
                </a:solidFill>
                <a:latin typeface="Santander Text"/>
                <a:cs typeface="Arial" charset="0"/>
              </a:rPr>
              <a:t>Pendiente aprobaciones de usuarios (3 </a:t>
            </a:r>
            <a:r>
              <a:rPr lang="es-MX" sz="1200" err="1">
                <a:solidFill>
                  <a:schemeClr val="bg2">
                    <a:lumMod val="75000"/>
                  </a:schemeClr>
                </a:solidFill>
                <a:latin typeface="Santander Text"/>
                <a:cs typeface="Arial" charset="0"/>
              </a:rPr>
              <a:t>Ots</a:t>
            </a:r>
            <a:r>
              <a:rPr lang="es-MX" sz="1200">
                <a:solidFill>
                  <a:schemeClr val="bg2">
                    <a:lumMod val="75000"/>
                  </a:schemeClr>
                </a:solidFill>
                <a:latin typeface="Santander Text"/>
                <a:cs typeface="Arial" charset="0"/>
              </a:rPr>
              <a:t>)</a:t>
            </a:r>
          </a:p>
          <a:p>
            <a:pPr marL="173038" lvl="1" indent="-171450" defTabSz="895350">
              <a:spcAft>
                <a:spcPts val="0"/>
              </a:spcAft>
              <a:buClr>
                <a:schemeClr val="accent4">
                  <a:lumMod val="75000"/>
                </a:schemeClr>
              </a:buClr>
              <a:buSzPct val="120000"/>
              <a:buFont typeface="Arial" panose="020B0604020202020204" pitchFamily="34" charset="0"/>
              <a:buChar char="•"/>
              <a:defRPr/>
            </a:pPr>
            <a:r>
              <a:rPr lang="es-MX" sz="1200">
                <a:solidFill>
                  <a:schemeClr val="bg2">
                    <a:lumMod val="75000"/>
                  </a:schemeClr>
                </a:solidFill>
                <a:latin typeface="Santander Text"/>
                <a:cs typeface="Arial" charset="0"/>
              </a:rPr>
              <a:t>Pendiente retesting defectos.</a:t>
            </a:r>
          </a:p>
        </p:txBody>
      </p:sp>
      <p:sp>
        <p:nvSpPr>
          <p:cNvPr id="76" name="60 CuadroTexto">
            <a:extLst>
              <a:ext uri="{FF2B5EF4-FFF2-40B4-BE49-F238E27FC236}">
                <a16:creationId xmlns:a16="http://schemas.microsoft.com/office/drawing/2014/main" id="{AF2CBF2F-B3F6-98A2-627D-0D033CD7963D}"/>
              </a:ext>
            </a:extLst>
          </p:cNvPr>
          <p:cNvSpPr txBox="1"/>
          <p:nvPr/>
        </p:nvSpPr>
        <p:spPr>
          <a:xfrm>
            <a:off x="4992622" y="4639311"/>
            <a:ext cx="2880000" cy="184666"/>
          </a:xfrm>
          <a:prstGeom prst="rect">
            <a:avLst/>
          </a:prstGeom>
          <a:noFill/>
        </p:spPr>
        <p:txBody>
          <a:bodyPr wrap="square" lIns="0" tIns="0" rIns="0" bIns="0" rtlCol="0" anchor="t">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172720" lvl="1" indent="-171450" defTabSz="895350">
              <a:spcAft>
                <a:spcPts val="1200"/>
              </a:spcAft>
              <a:buClr>
                <a:schemeClr val="accent4">
                  <a:lumMod val="75000"/>
                </a:schemeClr>
              </a:buClr>
              <a:buSzPct val="120000"/>
              <a:buFont typeface="Arial" panose="020B0604020202020204" pitchFamily="34" charset="0"/>
              <a:buChar char="•"/>
              <a:defRPr/>
            </a:pPr>
            <a:r>
              <a:rPr lang="es-MX" sz="1200">
                <a:solidFill>
                  <a:schemeClr val="bg2">
                    <a:lumMod val="75000"/>
                  </a:schemeClr>
                </a:solidFill>
                <a:latin typeface="Santander Text"/>
                <a:cs typeface="Arial"/>
              </a:rPr>
              <a:t>Se iniciaron las pruebas  el 22/01</a:t>
            </a:r>
            <a:endParaRPr lang="es-ES">
              <a:solidFill>
                <a:schemeClr val="bg2">
                  <a:lumMod val="75000"/>
                </a:schemeClr>
              </a:solidFill>
            </a:endParaRPr>
          </a:p>
        </p:txBody>
      </p:sp>
      <p:sp>
        <p:nvSpPr>
          <p:cNvPr id="80" name="CuadroTexto 79">
            <a:extLst>
              <a:ext uri="{FF2B5EF4-FFF2-40B4-BE49-F238E27FC236}">
                <a16:creationId xmlns:a16="http://schemas.microsoft.com/office/drawing/2014/main" id="{FA7EDE1B-3101-990F-A927-6417100660BA}"/>
              </a:ext>
            </a:extLst>
          </p:cNvPr>
          <p:cNvSpPr txBox="1"/>
          <p:nvPr/>
        </p:nvSpPr>
        <p:spPr>
          <a:xfrm>
            <a:off x="3621820" y="2817293"/>
            <a:ext cx="1489151" cy="478556"/>
          </a:xfrm>
          <a:prstGeom prst="rect">
            <a:avLst/>
          </a:prstGeom>
        </p:spPr>
        <p:txBody>
          <a:bodyPr vert="horz" wrap="square" lIns="0" tIns="180000" rIns="0" bIns="0" rtlCol="0" anchor="t">
            <a:noAutofit/>
          </a:bodyPr>
          <a:lstStyle/>
          <a:p>
            <a:pPr marL="171450" indent="-171450" algn="just">
              <a:spcBef>
                <a:spcPts val="1200"/>
              </a:spcBef>
              <a:spcAft>
                <a:spcPts val="1200"/>
              </a:spcAft>
              <a:buClr>
                <a:schemeClr val="accent4">
                  <a:lumMod val="75000"/>
                </a:schemeClr>
              </a:buClr>
              <a:buFont typeface="Arial" panose="020B0604020202020204" pitchFamily="34" charset="0"/>
              <a:buChar char="•"/>
            </a:pPr>
            <a:r>
              <a:rPr lang="es-MX" sz="1200">
                <a:solidFill>
                  <a:schemeClr val="bg2">
                    <a:lumMod val="75000"/>
                  </a:schemeClr>
                </a:solidFill>
              </a:rPr>
              <a:t>Equipo QA</a:t>
            </a:r>
          </a:p>
        </p:txBody>
      </p:sp>
      <p:sp>
        <p:nvSpPr>
          <p:cNvPr id="81" name="CuadroTexto 80">
            <a:extLst>
              <a:ext uri="{FF2B5EF4-FFF2-40B4-BE49-F238E27FC236}">
                <a16:creationId xmlns:a16="http://schemas.microsoft.com/office/drawing/2014/main" id="{9534C2E8-73DB-0963-0D7A-C8FC443E2CB9}"/>
              </a:ext>
            </a:extLst>
          </p:cNvPr>
          <p:cNvSpPr txBox="1"/>
          <p:nvPr/>
        </p:nvSpPr>
        <p:spPr>
          <a:xfrm>
            <a:off x="3607645" y="3740310"/>
            <a:ext cx="1489151" cy="1018905"/>
          </a:xfrm>
          <a:prstGeom prst="rect">
            <a:avLst/>
          </a:prstGeom>
        </p:spPr>
        <p:txBody>
          <a:bodyPr vert="horz" wrap="square" lIns="0" tIns="180000" rIns="0" bIns="0" rtlCol="0" anchor="t">
            <a:noAutofit/>
          </a:bodyPr>
          <a:lstStyle/>
          <a:p>
            <a:pPr marL="171450" indent="-171450" algn="just">
              <a:spcBef>
                <a:spcPts val="1200"/>
              </a:spcBef>
              <a:spcAft>
                <a:spcPts val="1200"/>
              </a:spcAft>
              <a:buClr>
                <a:schemeClr val="accent4">
                  <a:lumMod val="75000"/>
                </a:schemeClr>
              </a:buClr>
              <a:buFont typeface="Arial" panose="020B0604020202020204" pitchFamily="34" charset="0"/>
              <a:buChar char="•"/>
            </a:pPr>
            <a:r>
              <a:rPr lang="es-MX" sz="1200">
                <a:solidFill>
                  <a:schemeClr val="bg2">
                    <a:lumMod val="75000"/>
                  </a:schemeClr>
                </a:solidFill>
              </a:rPr>
              <a:t>Equipo QA</a:t>
            </a:r>
          </a:p>
        </p:txBody>
      </p:sp>
      <p:sp>
        <p:nvSpPr>
          <p:cNvPr id="84" name="CuadroTexto 83">
            <a:extLst>
              <a:ext uri="{FF2B5EF4-FFF2-40B4-BE49-F238E27FC236}">
                <a16:creationId xmlns:a16="http://schemas.microsoft.com/office/drawing/2014/main" id="{BC95B32F-6EFF-636B-1810-36267D886FF4}"/>
              </a:ext>
            </a:extLst>
          </p:cNvPr>
          <p:cNvSpPr txBox="1"/>
          <p:nvPr/>
        </p:nvSpPr>
        <p:spPr>
          <a:xfrm>
            <a:off x="3614322" y="4635440"/>
            <a:ext cx="1489151" cy="575063"/>
          </a:xfrm>
          <a:prstGeom prst="rect">
            <a:avLst/>
          </a:prstGeom>
        </p:spPr>
        <p:txBody>
          <a:bodyPr vert="horz" wrap="square" lIns="0" tIns="180000" rIns="0" bIns="0" rtlCol="0" anchor="t">
            <a:noAutofit/>
          </a:bodyPr>
          <a:lstStyle/>
          <a:p>
            <a:pPr marL="171450" indent="-171450" algn="just">
              <a:buClr>
                <a:schemeClr val="accent4">
                  <a:lumMod val="75000"/>
                </a:schemeClr>
              </a:buClr>
              <a:buFont typeface="Arial" panose="020B0604020202020204" pitchFamily="34" charset="0"/>
              <a:buChar char="•"/>
            </a:pPr>
            <a:r>
              <a:rPr lang="es-MX" sz="1200">
                <a:solidFill>
                  <a:schemeClr val="bg2">
                    <a:lumMod val="75000"/>
                  </a:schemeClr>
                </a:solidFill>
              </a:rPr>
              <a:t>Equipo QA</a:t>
            </a:r>
          </a:p>
          <a:p>
            <a:pPr marL="171450" indent="-171450" algn="just">
              <a:buClr>
                <a:schemeClr val="accent4">
                  <a:lumMod val="75000"/>
                </a:schemeClr>
              </a:buClr>
              <a:buFont typeface="Arial" panose="020B0604020202020204" pitchFamily="34" charset="0"/>
              <a:buChar char="•"/>
            </a:pPr>
            <a:r>
              <a:rPr lang="es-MX" sz="1200">
                <a:solidFill>
                  <a:schemeClr val="bg2">
                    <a:lumMod val="75000"/>
                  </a:schemeClr>
                </a:solidFill>
              </a:rPr>
              <a:t>Equipo Bantotal</a:t>
            </a:r>
          </a:p>
        </p:txBody>
      </p:sp>
      <p:sp>
        <p:nvSpPr>
          <p:cNvPr id="94" name="CuadroTexto 93">
            <a:extLst>
              <a:ext uri="{FF2B5EF4-FFF2-40B4-BE49-F238E27FC236}">
                <a16:creationId xmlns:a16="http://schemas.microsoft.com/office/drawing/2014/main" id="{CDB84592-83E0-06C4-5245-DED76111984E}"/>
              </a:ext>
            </a:extLst>
          </p:cNvPr>
          <p:cNvSpPr txBox="1"/>
          <p:nvPr/>
        </p:nvSpPr>
        <p:spPr>
          <a:xfrm>
            <a:off x="3614322" y="5538153"/>
            <a:ext cx="1489151" cy="575063"/>
          </a:xfrm>
          <a:prstGeom prst="rect">
            <a:avLst/>
          </a:prstGeom>
        </p:spPr>
        <p:txBody>
          <a:bodyPr vert="horz" wrap="square" lIns="0" tIns="180000" rIns="0" bIns="0" rtlCol="0" anchor="t">
            <a:noAutofit/>
          </a:bodyPr>
          <a:lstStyle/>
          <a:p>
            <a:pPr marL="171450" indent="-171450" algn="just">
              <a:buClr>
                <a:schemeClr val="accent4">
                  <a:lumMod val="75000"/>
                </a:schemeClr>
              </a:buClr>
              <a:buFont typeface="Arial" panose="020B0604020202020204" pitchFamily="34" charset="0"/>
              <a:buChar char="•"/>
            </a:pPr>
            <a:r>
              <a:rPr lang="es-MX" sz="1200">
                <a:solidFill>
                  <a:schemeClr val="bg2">
                    <a:lumMod val="75000"/>
                  </a:schemeClr>
                </a:solidFill>
              </a:rPr>
              <a:t>Willy Vega</a:t>
            </a:r>
          </a:p>
          <a:p>
            <a:pPr marL="171450" indent="-171450" algn="just">
              <a:buClr>
                <a:schemeClr val="accent4">
                  <a:lumMod val="75000"/>
                </a:schemeClr>
              </a:buClr>
              <a:buFont typeface="Arial" panose="020B0604020202020204" pitchFamily="34" charset="0"/>
              <a:buChar char="•"/>
            </a:pPr>
            <a:r>
              <a:rPr lang="es-MX" sz="1200">
                <a:solidFill>
                  <a:schemeClr val="bg2">
                    <a:lumMod val="75000"/>
                  </a:schemeClr>
                </a:solidFill>
              </a:rPr>
              <a:t>Julio Palomino</a:t>
            </a:r>
          </a:p>
        </p:txBody>
      </p:sp>
      <p:sp>
        <p:nvSpPr>
          <p:cNvPr id="95" name="CuadroTexto 94">
            <a:extLst>
              <a:ext uri="{FF2B5EF4-FFF2-40B4-BE49-F238E27FC236}">
                <a16:creationId xmlns:a16="http://schemas.microsoft.com/office/drawing/2014/main" id="{0AC09648-197A-4E31-ABF5-B613CD7215BE}"/>
              </a:ext>
            </a:extLst>
          </p:cNvPr>
          <p:cNvSpPr txBox="1"/>
          <p:nvPr/>
        </p:nvSpPr>
        <p:spPr>
          <a:xfrm>
            <a:off x="7969890" y="1351299"/>
            <a:ext cx="2796501" cy="407722"/>
          </a:xfrm>
          <a:prstGeom prst="rect">
            <a:avLst/>
          </a:prstGeom>
        </p:spPr>
        <p:txBody>
          <a:bodyPr vert="horz" wrap="square" lIns="0" tIns="180000" rIns="0" bIns="0" rtlCol="0" anchor="t">
            <a:noAutofit/>
          </a:bodyPr>
          <a:lstStyle>
            <a:defPPr>
              <a:defRPr lang="es-PE"/>
            </a:defPPr>
            <a:lvl1pPr marL="171450" indent="-171450" algn="just">
              <a:spcBef>
                <a:spcPts val="1200"/>
              </a:spcBef>
              <a:spcAft>
                <a:spcPts val="1200"/>
              </a:spcAft>
              <a:buClr>
                <a:schemeClr val="accent4"/>
              </a:buClr>
              <a:buFont typeface="Arial" panose="020B0604020202020204" pitchFamily="34" charset="0"/>
              <a:buChar char="•"/>
              <a:defRPr sz="1200">
                <a:solidFill>
                  <a:schemeClr val="bg2">
                    <a:lumMod val="75000"/>
                  </a:schemeClr>
                </a:solidFill>
              </a:defRPr>
            </a:lvl1pPr>
          </a:lstStyle>
          <a:p>
            <a:pPr algn="l">
              <a:buClr>
                <a:schemeClr val="accent4">
                  <a:lumMod val="75000"/>
                </a:schemeClr>
              </a:buClr>
            </a:pPr>
            <a:r>
              <a:rPr lang="es-MX"/>
              <a:t>Pendiente que el equipo de </a:t>
            </a:r>
            <a:r>
              <a:rPr lang="es-MX" err="1"/>
              <a:t>Bantotal</a:t>
            </a:r>
            <a:r>
              <a:rPr lang="es-MX"/>
              <a:t> revise correo de Walter y que nos comenten la fecha de compromiso para que el equipo QA realizará pruebas hasta el 27/01 (regresión).</a:t>
            </a:r>
          </a:p>
        </p:txBody>
      </p:sp>
      <p:sp>
        <p:nvSpPr>
          <p:cNvPr id="107" name="60 CuadroTexto">
            <a:extLst>
              <a:ext uri="{FF2B5EF4-FFF2-40B4-BE49-F238E27FC236}">
                <a16:creationId xmlns:a16="http://schemas.microsoft.com/office/drawing/2014/main" id="{F32BD455-8534-4E70-79AC-AFFAB593C454}"/>
              </a:ext>
            </a:extLst>
          </p:cNvPr>
          <p:cNvSpPr txBox="1"/>
          <p:nvPr/>
        </p:nvSpPr>
        <p:spPr>
          <a:xfrm>
            <a:off x="7970271" y="5659067"/>
            <a:ext cx="2416706" cy="553998"/>
          </a:xfrm>
          <a:prstGeom prst="rect">
            <a:avLst/>
          </a:prstGeom>
          <a:noFill/>
        </p:spPr>
        <p:txBody>
          <a:bodyPr wrap="square" lIns="0" tIns="0" rIns="0" bIns="0" rtlCol="0">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173038" marR="0" lvl="1" indent="-171450" algn="l" defTabSz="895350" rtl="0" eaLnBrk="1" fontAlgn="base" latinLnBrk="0" hangingPunct="1">
              <a:lnSpc>
                <a:spcPct val="100000"/>
              </a:lnSpc>
              <a:spcBef>
                <a:spcPct val="0"/>
              </a:spcBef>
              <a:spcAft>
                <a:spcPts val="1200"/>
              </a:spcAft>
              <a:buClr>
                <a:schemeClr val="accent4">
                  <a:lumMod val="75000"/>
                </a:schemeClr>
              </a:buClr>
              <a:buSzPct val="120000"/>
              <a:buFont typeface="Arial" panose="020B0604020202020204" pitchFamily="34" charset="0"/>
              <a:buChar char="•"/>
              <a:tabLst/>
              <a:defRPr/>
            </a:pPr>
            <a:r>
              <a:rPr lang="es-MX" sz="1200">
                <a:solidFill>
                  <a:schemeClr val="bg2">
                    <a:lumMod val="75000"/>
                  </a:schemeClr>
                </a:solidFill>
                <a:latin typeface="Santander Text"/>
                <a:cs typeface="Arial" charset="0"/>
              </a:rPr>
              <a:t>Ya no se darán pruebas unitarias y se ejecutarán dentro de la estrategia modular.</a:t>
            </a:r>
          </a:p>
        </p:txBody>
      </p:sp>
      <p:sp>
        <p:nvSpPr>
          <p:cNvPr id="7" name="60 CuadroTexto">
            <a:extLst>
              <a:ext uri="{FF2B5EF4-FFF2-40B4-BE49-F238E27FC236}">
                <a16:creationId xmlns:a16="http://schemas.microsoft.com/office/drawing/2014/main" id="{F87802E2-58A2-63B9-7B3D-B8F40E577879}"/>
              </a:ext>
            </a:extLst>
          </p:cNvPr>
          <p:cNvSpPr txBox="1"/>
          <p:nvPr/>
        </p:nvSpPr>
        <p:spPr>
          <a:xfrm>
            <a:off x="4992622" y="5659067"/>
            <a:ext cx="2880000" cy="369332"/>
          </a:xfrm>
          <a:prstGeom prst="rect">
            <a:avLst/>
          </a:prstGeom>
          <a:noFill/>
        </p:spPr>
        <p:txBody>
          <a:bodyPr wrap="square" lIns="0" tIns="0" rIns="0" bIns="0" rtlCol="0" anchor="t">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172720" lvl="1" indent="-171450" defTabSz="895350">
              <a:spcAft>
                <a:spcPts val="1200"/>
              </a:spcAft>
              <a:buClr>
                <a:schemeClr val="accent4">
                  <a:lumMod val="75000"/>
                </a:schemeClr>
              </a:buClr>
              <a:buSzPct val="120000"/>
              <a:buFont typeface="Arial" panose="020B0604020202020204" pitchFamily="34" charset="0"/>
              <a:buChar char="•"/>
              <a:defRPr/>
            </a:pPr>
            <a:r>
              <a:rPr lang="es-MX" sz="1200">
                <a:solidFill>
                  <a:schemeClr val="bg2">
                    <a:lumMod val="75000"/>
                  </a:schemeClr>
                </a:solidFill>
                <a:latin typeface="Santander Text"/>
                <a:cs typeface="Arial"/>
              </a:rPr>
              <a:t>Se modificaron las fechas para empezar en Abril</a:t>
            </a:r>
            <a:endParaRPr lang="es-MX" sz="1200">
              <a:solidFill>
                <a:schemeClr val="bg2">
                  <a:lumMod val="75000"/>
                </a:schemeClr>
              </a:solidFill>
              <a:latin typeface="Santander Text"/>
              <a:cs typeface="Arial" charset="0"/>
            </a:endParaRPr>
          </a:p>
        </p:txBody>
      </p:sp>
      <p:sp>
        <p:nvSpPr>
          <p:cNvPr id="20" name="60 CuadroTexto">
            <a:extLst>
              <a:ext uri="{FF2B5EF4-FFF2-40B4-BE49-F238E27FC236}">
                <a16:creationId xmlns:a16="http://schemas.microsoft.com/office/drawing/2014/main" id="{B7A7A396-98CB-BA0A-9715-B07FD5AF9A25}"/>
              </a:ext>
            </a:extLst>
          </p:cNvPr>
          <p:cNvSpPr txBox="1"/>
          <p:nvPr/>
        </p:nvSpPr>
        <p:spPr>
          <a:xfrm>
            <a:off x="8025646" y="4668295"/>
            <a:ext cx="2416706" cy="738664"/>
          </a:xfrm>
          <a:prstGeom prst="rect">
            <a:avLst/>
          </a:prstGeom>
          <a:noFill/>
        </p:spPr>
        <p:txBody>
          <a:bodyPr wrap="square" lIns="0" tIns="0" rIns="0" bIns="0" rtlCol="0" anchor="t">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172720" lvl="1" indent="-171450" defTabSz="895350">
              <a:spcAft>
                <a:spcPts val="1200"/>
              </a:spcAft>
              <a:buClr>
                <a:schemeClr val="accent4">
                  <a:lumMod val="75000"/>
                </a:schemeClr>
              </a:buClr>
              <a:buSzPct val="120000"/>
              <a:buFont typeface="Arial" panose="020B0604020202020204" pitchFamily="34" charset="0"/>
              <a:buChar char="•"/>
              <a:defRPr/>
            </a:pPr>
            <a:r>
              <a:rPr lang="es-MX" sz="1200">
                <a:solidFill>
                  <a:schemeClr val="bg2">
                    <a:lumMod val="75000"/>
                  </a:schemeClr>
                </a:solidFill>
                <a:latin typeface="+mn-lt"/>
              </a:rPr>
              <a:t>La OT – 628 se devolvió porque al ejecutar salieron 2 observaciones porque las pruebas no fueron en nuestro ambiente</a:t>
            </a:r>
          </a:p>
        </p:txBody>
      </p:sp>
      <p:sp>
        <p:nvSpPr>
          <p:cNvPr id="21" name="CuadroTexto 20">
            <a:extLst>
              <a:ext uri="{FF2B5EF4-FFF2-40B4-BE49-F238E27FC236}">
                <a16:creationId xmlns:a16="http://schemas.microsoft.com/office/drawing/2014/main" id="{92B69F1B-D256-099C-0268-F2043514252B}"/>
              </a:ext>
            </a:extLst>
          </p:cNvPr>
          <p:cNvSpPr txBox="1"/>
          <p:nvPr/>
        </p:nvSpPr>
        <p:spPr>
          <a:xfrm>
            <a:off x="10863577" y="1633873"/>
            <a:ext cx="753832" cy="393266"/>
          </a:xfrm>
          <a:prstGeom prst="rect">
            <a:avLst/>
          </a:prstGeom>
        </p:spPr>
        <p:txBody>
          <a:bodyPr vert="horz" wrap="square" lIns="0" tIns="180000" rIns="0" bIns="0" rtlCol="0" anchor="t">
            <a:noAutofit/>
          </a:bodyPr>
          <a:lstStyle/>
          <a:p>
            <a:pPr algn="just">
              <a:spcBef>
                <a:spcPts val="1200"/>
              </a:spcBef>
              <a:spcAft>
                <a:spcPts val="1200"/>
              </a:spcAft>
            </a:pPr>
            <a:r>
              <a:rPr lang="es-MX" sz="1200" b="1">
                <a:solidFill>
                  <a:schemeClr val="bg2">
                    <a:lumMod val="75000"/>
                  </a:schemeClr>
                </a:solidFill>
              </a:rPr>
              <a:t>27/01/2026</a:t>
            </a:r>
          </a:p>
        </p:txBody>
      </p:sp>
      <p:sp>
        <p:nvSpPr>
          <p:cNvPr id="22" name="CuadroTexto 21">
            <a:extLst>
              <a:ext uri="{FF2B5EF4-FFF2-40B4-BE49-F238E27FC236}">
                <a16:creationId xmlns:a16="http://schemas.microsoft.com/office/drawing/2014/main" id="{683C7D13-6537-A96D-1430-2F1666C1586F}"/>
              </a:ext>
            </a:extLst>
          </p:cNvPr>
          <p:cNvSpPr txBox="1"/>
          <p:nvPr/>
        </p:nvSpPr>
        <p:spPr>
          <a:xfrm>
            <a:off x="8091898" y="2509118"/>
            <a:ext cx="2285405" cy="637476"/>
          </a:xfrm>
          <a:prstGeom prst="rect">
            <a:avLst/>
          </a:prstGeom>
        </p:spPr>
        <p:txBody>
          <a:bodyPr vert="horz" wrap="square" lIns="0" tIns="180000" rIns="0" bIns="0" rtlCol="0" anchor="t">
            <a:noAutofit/>
          </a:bodyPr>
          <a:lstStyle>
            <a:defPPr>
              <a:defRPr lang="es-PE"/>
            </a:defPPr>
            <a:lvl1pPr marL="171450" indent="-171450" algn="just">
              <a:spcBef>
                <a:spcPts val="1200"/>
              </a:spcBef>
              <a:spcAft>
                <a:spcPts val="1200"/>
              </a:spcAft>
              <a:buClr>
                <a:schemeClr val="accent4"/>
              </a:buClr>
              <a:buFont typeface="Arial" panose="020B0604020202020204" pitchFamily="34" charset="0"/>
              <a:buChar char="•"/>
              <a:defRPr sz="1200">
                <a:solidFill>
                  <a:schemeClr val="bg2">
                    <a:lumMod val="75000"/>
                  </a:schemeClr>
                </a:solidFill>
              </a:defRPr>
            </a:lvl1pPr>
          </a:lstStyle>
          <a:p>
            <a:pPr algn="l">
              <a:buClr>
                <a:schemeClr val="accent4">
                  <a:lumMod val="75000"/>
                </a:schemeClr>
              </a:buClr>
            </a:pPr>
            <a:r>
              <a:rPr lang="es-MX"/>
              <a:t>Equipo QA, se compromete a cerrar </a:t>
            </a:r>
            <a:r>
              <a:rPr lang="es-MX" err="1"/>
              <a:t>retesting</a:t>
            </a:r>
            <a:r>
              <a:rPr lang="es-MX"/>
              <a:t> ni bien se entregué lo pendiente</a:t>
            </a:r>
          </a:p>
        </p:txBody>
      </p:sp>
      <p:sp>
        <p:nvSpPr>
          <p:cNvPr id="23" name="CuadroTexto 22">
            <a:extLst>
              <a:ext uri="{FF2B5EF4-FFF2-40B4-BE49-F238E27FC236}">
                <a16:creationId xmlns:a16="http://schemas.microsoft.com/office/drawing/2014/main" id="{B5C87F25-290D-3863-9EBE-59C4A0536433}"/>
              </a:ext>
            </a:extLst>
          </p:cNvPr>
          <p:cNvSpPr txBox="1"/>
          <p:nvPr/>
        </p:nvSpPr>
        <p:spPr>
          <a:xfrm>
            <a:off x="10863577" y="2712912"/>
            <a:ext cx="753832" cy="393266"/>
          </a:xfrm>
          <a:prstGeom prst="rect">
            <a:avLst/>
          </a:prstGeom>
        </p:spPr>
        <p:txBody>
          <a:bodyPr vert="horz" wrap="square" lIns="0" tIns="180000" rIns="0" bIns="0" rtlCol="0" anchor="t">
            <a:noAutofit/>
          </a:bodyPr>
          <a:lstStyle/>
          <a:p>
            <a:pPr algn="just">
              <a:spcBef>
                <a:spcPts val="1200"/>
              </a:spcBef>
              <a:spcAft>
                <a:spcPts val="1200"/>
              </a:spcAft>
            </a:pPr>
            <a:r>
              <a:rPr lang="es-MX" sz="1200" b="1">
                <a:solidFill>
                  <a:schemeClr val="bg2">
                    <a:lumMod val="75000"/>
                  </a:schemeClr>
                </a:solidFill>
              </a:rPr>
              <a:t>23/01/2026</a:t>
            </a:r>
          </a:p>
        </p:txBody>
      </p:sp>
      <p:sp>
        <p:nvSpPr>
          <p:cNvPr id="31" name="CuadroTexto 30">
            <a:extLst>
              <a:ext uri="{FF2B5EF4-FFF2-40B4-BE49-F238E27FC236}">
                <a16:creationId xmlns:a16="http://schemas.microsoft.com/office/drawing/2014/main" id="{5B2D829C-0EA3-F824-FFD0-BEC6917A6B42}"/>
              </a:ext>
            </a:extLst>
          </p:cNvPr>
          <p:cNvSpPr txBox="1"/>
          <p:nvPr/>
        </p:nvSpPr>
        <p:spPr>
          <a:xfrm>
            <a:off x="10863577" y="3823424"/>
            <a:ext cx="753832" cy="393266"/>
          </a:xfrm>
          <a:prstGeom prst="rect">
            <a:avLst/>
          </a:prstGeom>
        </p:spPr>
        <p:txBody>
          <a:bodyPr vert="horz" wrap="square" lIns="0" tIns="180000" rIns="0" bIns="0" rtlCol="0" anchor="t">
            <a:noAutofit/>
          </a:bodyPr>
          <a:lstStyle/>
          <a:p>
            <a:pPr algn="just">
              <a:spcBef>
                <a:spcPts val="1200"/>
              </a:spcBef>
              <a:spcAft>
                <a:spcPts val="1200"/>
              </a:spcAft>
            </a:pPr>
            <a:r>
              <a:rPr lang="es-MX" sz="1200" b="1">
                <a:solidFill>
                  <a:schemeClr val="bg2">
                    <a:lumMod val="75000"/>
                  </a:schemeClr>
                </a:solidFill>
              </a:rPr>
              <a:t>30/01/2026</a:t>
            </a:r>
          </a:p>
        </p:txBody>
      </p:sp>
      <p:sp>
        <p:nvSpPr>
          <p:cNvPr id="33" name="CuadroTexto 32">
            <a:extLst>
              <a:ext uri="{FF2B5EF4-FFF2-40B4-BE49-F238E27FC236}">
                <a16:creationId xmlns:a16="http://schemas.microsoft.com/office/drawing/2014/main" id="{BCF695BD-8E2B-EF0C-A516-9EFB01439A71}"/>
              </a:ext>
            </a:extLst>
          </p:cNvPr>
          <p:cNvSpPr txBox="1"/>
          <p:nvPr/>
        </p:nvSpPr>
        <p:spPr>
          <a:xfrm>
            <a:off x="8022704" y="3490486"/>
            <a:ext cx="2285405" cy="637476"/>
          </a:xfrm>
          <a:prstGeom prst="rect">
            <a:avLst/>
          </a:prstGeom>
        </p:spPr>
        <p:txBody>
          <a:bodyPr vert="horz" wrap="square" lIns="0" tIns="180000" rIns="0" bIns="0" rtlCol="0" anchor="t">
            <a:noAutofit/>
          </a:bodyPr>
          <a:lstStyle>
            <a:defPPr>
              <a:defRPr lang="es-PE"/>
            </a:defPPr>
            <a:lvl1pPr marL="171450" indent="-171450" algn="just">
              <a:spcBef>
                <a:spcPts val="1200"/>
              </a:spcBef>
              <a:spcAft>
                <a:spcPts val="1200"/>
              </a:spcAft>
              <a:buClr>
                <a:schemeClr val="accent4"/>
              </a:buClr>
              <a:buFont typeface="Arial" panose="020B0604020202020204" pitchFamily="34" charset="0"/>
              <a:buChar char="•"/>
              <a:defRPr sz="1200">
                <a:solidFill>
                  <a:schemeClr val="bg2">
                    <a:lumMod val="75000"/>
                  </a:schemeClr>
                </a:solidFill>
              </a:defRPr>
            </a:lvl1pPr>
          </a:lstStyle>
          <a:p>
            <a:pPr algn="l">
              <a:buClr>
                <a:schemeClr val="accent4">
                  <a:lumMod val="75000"/>
                </a:schemeClr>
              </a:buClr>
            </a:pPr>
            <a:r>
              <a:rPr lang="es-MX"/>
              <a:t>Equipo QA, listo la </a:t>
            </a:r>
            <a:r>
              <a:rPr lang="es-MX" err="1"/>
              <a:t>OT's</a:t>
            </a:r>
            <a:r>
              <a:rPr lang="es-MX"/>
              <a:t> que se requiere que BT vuelva a ejecutar en ambiente SCB por motivos de configuración de </a:t>
            </a:r>
            <a:r>
              <a:rPr lang="es-MX" err="1"/>
              <a:t>parametrías</a:t>
            </a:r>
            <a:r>
              <a:rPr lang="es-MX"/>
              <a:t> y dinámicas contables</a:t>
            </a:r>
          </a:p>
        </p:txBody>
      </p:sp>
      <p:grpSp>
        <p:nvGrpSpPr>
          <p:cNvPr id="34" name="Grupo 33">
            <a:extLst>
              <a:ext uri="{FF2B5EF4-FFF2-40B4-BE49-F238E27FC236}">
                <a16:creationId xmlns:a16="http://schemas.microsoft.com/office/drawing/2014/main" id="{206D6A69-EB59-2A57-E8BC-0A07B5FE8CA1}"/>
              </a:ext>
            </a:extLst>
          </p:cNvPr>
          <p:cNvGrpSpPr/>
          <p:nvPr/>
        </p:nvGrpSpPr>
        <p:grpSpPr>
          <a:xfrm>
            <a:off x="663107" y="6537357"/>
            <a:ext cx="1234703" cy="230832"/>
            <a:chOff x="4184836" y="3864962"/>
            <a:chExt cx="1234703" cy="230832"/>
          </a:xfrm>
        </p:grpSpPr>
        <p:sp>
          <p:nvSpPr>
            <p:cNvPr id="43" name="TextBox 64">
              <a:extLst>
                <a:ext uri="{FF2B5EF4-FFF2-40B4-BE49-F238E27FC236}">
                  <a16:creationId xmlns:a16="http://schemas.microsoft.com/office/drawing/2014/main" id="{B1CC0902-81B3-4A71-1C60-C3AE90808F6C}"/>
                </a:ext>
              </a:extLst>
            </p:cNvPr>
            <p:cNvSpPr txBox="1"/>
            <p:nvPr/>
          </p:nvSpPr>
          <p:spPr>
            <a:xfrm>
              <a:off x="4322972" y="3864962"/>
              <a:ext cx="1096567" cy="2308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antander Text"/>
                  <a:ea typeface="+mn-ea"/>
                  <a:cs typeface="+mn-cs"/>
                </a:rPr>
                <a:t>En </a:t>
              </a:r>
              <a:r>
                <a:rPr kumimoji="0" lang="en-US" sz="900" b="0" i="0" u="none" strike="noStrike" kern="0" cap="none" spc="0" normalizeH="0" baseline="0" noProof="0" err="1">
                  <a:ln>
                    <a:noFill/>
                  </a:ln>
                  <a:solidFill>
                    <a:srgbClr val="000000"/>
                  </a:solidFill>
                  <a:effectLst/>
                  <a:uLnTx/>
                  <a:uFillTx/>
                  <a:latin typeface="Santander Text"/>
                  <a:ea typeface="+mn-ea"/>
                  <a:cs typeface="+mn-cs"/>
                </a:rPr>
                <a:t>Fecha</a:t>
              </a:r>
              <a:r>
                <a:rPr kumimoji="0" lang="en-US" sz="900" b="0" i="0" u="none" strike="noStrike" kern="0" cap="none" spc="0" normalizeH="0" baseline="0" noProof="0">
                  <a:ln>
                    <a:noFill/>
                  </a:ln>
                  <a:solidFill>
                    <a:srgbClr val="000000"/>
                  </a:solidFill>
                  <a:effectLst/>
                  <a:uLnTx/>
                  <a:uFillTx/>
                  <a:latin typeface="Santander Text"/>
                  <a:ea typeface="+mn-ea"/>
                  <a:cs typeface="+mn-cs"/>
                </a:rPr>
                <a:t> sin </a:t>
              </a:r>
              <a:r>
                <a:rPr kumimoji="0" lang="en-US" sz="900" b="0" i="0" u="none" strike="noStrike" kern="0" cap="none" spc="0" normalizeH="0" baseline="0" noProof="0" err="1">
                  <a:ln>
                    <a:noFill/>
                  </a:ln>
                  <a:solidFill>
                    <a:srgbClr val="000000"/>
                  </a:solidFill>
                  <a:effectLst/>
                  <a:uLnTx/>
                  <a:uFillTx/>
                  <a:latin typeface="Santander Text"/>
                  <a:ea typeface="+mn-ea"/>
                  <a:cs typeface="+mn-cs"/>
                </a:rPr>
                <a:t>riesgo</a:t>
              </a:r>
              <a:endParaRPr kumimoji="0" lang="en-US" sz="900" b="0" i="0" u="none" strike="noStrike" kern="0" cap="none" spc="0" normalizeH="0" baseline="0" noProof="0">
                <a:ln>
                  <a:noFill/>
                </a:ln>
                <a:solidFill>
                  <a:srgbClr val="000000"/>
                </a:solidFill>
                <a:effectLst/>
                <a:uLnTx/>
                <a:uFillTx/>
                <a:latin typeface="Santander Text"/>
                <a:ea typeface="+mn-ea"/>
                <a:cs typeface="+mn-cs"/>
              </a:endParaRPr>
            </a:p>
          </p:txBody>
        </p:sp>
        <p:sp>
          <p:nvSpPr>
            <p:cNvPr id="70" name="Elipse 69">
              <a:extLst>
                <a:ext uri="{FF2B5EF4-FFF2-40B4-BE49-F238E27FC236}">
                  <a16:creationId xmlns:a16="http://schemas.microsoft.com/office/drawing/2014/main" id="{87606D2E-4CAB-13F1-8778-A429A3984148}"/>
                </a:ext>
              </a:extLst>
            </p:cNvPr>
            <p:cNvSpPr/>
            <p:nvPr/>
          </p:nvSpPr>
          <p:spPr>
            <a:xfrm>
              <a:off x="4184836" y="3886582"/>
              <a:ext cx="187592" cy="187592"/>
            </a:xfrm>
            <a:prstGeom prst="ellipse">
              <a:avLst/>
            </a:prstGeom>
            <a:solidFill>
              <a:srgbClr val="63BA68"/>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000000"/>
                </a:solidFill>
                <a:effectLst/>
                <a:uLnTx/>
                <a:uFillTx/>
                <a:latin typeface="Santander Text"/>
                <a:ea typeface="+mn-ea"/>
                <a:cs typeface="+mn-cs"/>
              </a:endParaRPr>
            </a:p>
          </p:txBody>
        </p:sp>
      </p:grpSp>
      <p:grpSp>
        <p:nvGrpSpPr>
          <p:cNvPr id="73" name="Grupo 72">
            <a:extLst>
              <a:ext uri="{FF2B5EF4-FFF2-40B4-BE49-F238E27FC236}">
                <a16:creationId xmlns:a16="http://schemas.microsoft.com/office/drawing/2014/main" id="{CC85D45B-A183-EE07-1980-1067D7AA42BB}"/>
              </a:ext>
            </a:extLst>
          </p:cNvPr>
          <p:cNvGrpSpPr/>
          <p:nvPr/>
        </p:nvGrpSpPr>
        <p:grpSpPr>
          <a:xfrm>
            <a:off x="1856172" y="6537357"/>
            <a:ext cx="2262011" cy="230832"/>
            <a:chOff x="6543321" y="6237958"/>
            <a:chExt cx="2262011" cy="230832"/>
          </a:xfrm>
        </p:grpSpPr>
        <p:sp>
          <p:nvSpPr>
            <p:cNvPr id="108" name="TextBox 62">
              <a:extLst>
                <a:ext uri="{FF2B5EF4-FFF2-40B4-BE49-F238E27FC236}">
                  <a16:creationId xmlns:a16="http://schemas.microsoft.com/office/drawing/2014/main" id="{E123D291-7B58-6A7F-463A-160A5CE3ED59}"/>
                </a:ext>
              </a:extLst>
            </p:cNvPr>
            <p:cNvSpPr txBox="1"/>
            <p:nvPr/>
          </p:nvSpPr>
          <p:spPr>
            <a:xfrm>
              <a:off x="6701701" y="6237958"/>
              <a:ext cx="2103631" cy="2308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antander Text"/>
                  <a:ea typeface="+mn-ea"/>
                  <a:cs typeface="+mn-cs"/>
                </a:rPr>
                <a:t>En </a:t>
              </a:r>
              <a:r>
                <a:rPr kumimoji="0" lang="en-US" sz="900" b="0" i="0" u="none" strike="noStrike" kern="0" cap="none" spc="0" normalizeH="0" baseline="0" noProof="0" err="1">
                  <a:ln>
                    <a:noFill/>
                  </a:ln>
                  <a:solidFill>
                    <a:srgbClr val="000000"/>
                  </a:solidFill>
                  <a:effectLst/>
                  <a:uLnTx/>
                  <a:uFillTx/>
                  <a:latin typeface="Santander Text"/>
                  <a:ea typeface="+mn-ea"/>
                  <a:cs typeface="+mn-cs"/>
                </a:rPr>
                <a:t>curso</a:t>
              </a:r>
              <a:r>
                <a:rPr kumimoji="0" lang="en-US" sz="900" b="0" i="0" u="none" strike="noStrike" kern="0" cap="none" spc="0" normalizeH="0" baseline="0" noProof="0">
                  <a:ln>
                    <a:noFill/>
                  </a:ln>
                  <a:solidFill>
                    <a:srgbClr val="000000"/>
                  </a:solidFill>
                  <a:effectLst/>
                  <a:uLnTx/>
                  <a:uFillTx/>
                  <a:latin typeface="Santander Text"/>
                  <a:ea typeface="+mn-ea"/>
                  <a:cs typeface="+mn-cs"/>
                </a:rPr>
                <a:t> </a:t>
              </a:r>
              <a:r>
                <a:rPr kumimoji="0" lang="en-US" sz="900" b="0" i="0" u="none" strike="noStrike" kern="0" cap="none" spc="0" normalizeH="0" baseline="0" noProof="0" err="1">
                  <a:ln>
                    <a:noFill/>
                  </a:ln>
                  <a:solidFill>
                    <a:srgbClr val="000000"/>
                  </a:solidFill>
                  <a:effectLst/>
                  <a:uLnTx/>
                  <a:uFillTx/>
                  <a:latin typeface="Santander Text"/>
                  <a:ea typeface="+mn-ea"/>
                  <a:cs typeface="+mn-cs"/>
                </a:rPr>
                <a:t>medidas</a:t>
              </a:r>
              <a:r>
                <a:rPr kumimoji="0" lang="en-US" sz="900" b="0" i="0" u="none" strike="noStrike" kern="0" cap="none" spc="0" normalizeH="0" baseline="0" noProof="0">
                  <a:ln>
                    <a:noFill/>
                  </a:ln>
                  <a:solidFill>
                    <a:srgbClr val="000000"/>
                  </a:solidFill>
                  <a:effectLst/>
                  <a:uLnTx/>
                  <a:uFillTx/>
                  <a:latin typeface="Santander Text"/>
                  <a:ea typeface="+mn-ea"/>
                  <a:cs typeface="+mn-cs"/>
                </a:rPr>
                <a:t> </a:t>
              </a:r>
              <a:r>
                <a:rPr kumimoji="0" lang="en-US" sz="900" b="0" i="0" u="none" strike="noStrike" kern="0" cap="none" spc="0" normalizeH="0" baseline="0" noProof="0" err="1">
                  <a:ln>
                    <a:noFill/>
                  </a:ln>
                  <a:solidFill>
                    <a:srgbClr val="000000"/>
                  </a:solidFill>
                  <a:effectLst/>
                  <a:uLnTx/>
                  <a:uFillTx/>
                  <a:latin typeface="Santander Text"/>
                  <a:ea typeface="+mn-ea"/>
                  <a:cs typeface="+mn-cs"/>
                </a:rPr>
                <a:t>correctivas</a:t>
              </a:r>
              <a:endParaRPr kumimoji="0" lang="en-US" sz="900" b="0" i="0" u="none" strike="noStrike" kern="0" cap="none" spc="0" normalizeH="0" baseline="0" noProof="0">
                <a:ln>
                  <a:noFill/>
                </a:ln>
                <a:solidFill>
                  <a:srgbClr val="000000"/>
                </a:solidFill>
                <a:effectLst/>
                <a:uLnTx/>
                <a:uFillTx/>
                <a:latin typeface="Santander Text"/>
                <a:ea typeface="+mn-ea"/>
                <a:cs typeface="+mn-cs"/>
              </a:endParaRPr>
            </a:p>
          </p:txBody>
        </p:sp>
        <p:sp>
          <p:nvSpPr>
            <p:cNvPr id="110" name="Elipse 109">
              <a:extLst>
                <a:ext uri="{FF2B5EF4-FFF2-40B4-BE49-F238E27FC236}">
                  <a16:creationId xmlns:a16="http://schemas.microsoft.com/office/drawing/2014/main" id="{6AB86268-762A-0587-170E-71726655BF4B}"/>
                </a:ext>
              </a:extLst>
            </p:cNvPr>
            <p:cNvSpPr/>
            <p:nvPr/>
          </p:nvSpPr>
          <p:spPr>
            <a:xfrm>
              <a:off x="6543321" y="6259578"/>
              <a:ext cx="187592" cy="187592"/>
            </a:xfrm>
            <a:prstGeom prst="ellipse">
              <a:avLst/>
            </a:prstGeom>
            <a:solidFill>
              <a:srgbClr val="FFC000"/>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000000"/>
                </a:solidFill>
                <a:effectLst/>
                <a:uLnTx/>
                <a:uFillTx/>
                <a:latin typeface="Santander Text"/>
                <a:ea typeface="+mn-ea"/>
                <a:cs typeface="+mn-cs"/>
              </a:endParaRPr>
            </a:p>
          </p:txBody>
        </p:sp>
      </p:grpSp>
      <p:grpSp>
        <p:nvGrpSpPr>
          <p:cNvPr id="111" name="Grupo 110">
            <a:extLst>
              <a:ext uri="{FF2B5EF4-FFF2-40B4-BE49-F238E27FC236}">
                <a16:creationId xmlns:a16="http://schemas.microsoft.com/office/drawing/2014/main" id="{FBA1C656-4CF4-D305-3D42-4520227707C9}"/>
              </a:ext>
            </a:extLst>
          </p:cNvPr>
          <p:cNvGrpSpPr/>
          <p:nvPr/>
        </p:nvGrpSpPr>
        <p:grpSpPr>
          <a:xfrm>
            <a:off x="3623423" y="6538682"/>
            <a:ext cx="1260188" cy="230832"/>
            <a:chOff x="6268009" y="3866287"/>
            <a:chExt cx="1260188" cy="230832"/>
          </a:xfrm>
        </p:grpSpPr>
        <p:sp>
          <p:nvSpPr>
            <p:cNvPr id="123" name="TextBox 63">
              <a:extLst>
                <a:ext uri="{FF2B5EF4-FFF2-40B4-BE49-F238E27FC236}">
                  <a16:creationId xmlns:a16="http://schemas.microsoft.com/office/drawing/2014/main" id="{AD35B9CA-B648-6920-E5B6-86855C0260BB}"/>
                </a:ext>
              </a:extLst>
            </p:cNvPr>
            <p:cNvSpPr txBox="1"/>
            <p:nvPr/>
          </p:nvSpPr>
          <p:spPr>
            <a:xfrm>
              <a:off x="6429725" y="3866287"/>
              <a:ext cx="1098472" cy="2308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antander Text"/>
                  <a:ea typeface="+mn-ea"/>
                  <a:cs typeface="+mn-cs"/>
                </a:rPr>
                <a:t>Riesgo </a:t>
              </a:r>
              <a:r>
                <a:rPr kumimoji="0" lang="en-US" sz="900" b="0" i="0" u="none" strike="noStrike" kern="0" cap="none" spc="0" normalizeH="0" baseline="0" noProof="0" err="1">
                  <a:ln>
                    <a:noFill/>
                  </a:ln>
                  <a:solidFill>
                    <a:srgbClr val="000000"/>
                  </a:solidFill>
                  <a:effectLst/>
                  <a:uLnTx/>
                  <a:uFillTx/>
                  <a:latin typeface="Santander Text"/>
                  <a:ea typeface="+mn-ea"/>
                  <a:cs typeface="+mn-cs"/>
                </a:rPr>
                <a:t>identificado</a:t>
              </a:r>
              <a:endParaRPr kumimoji="0" lang="en-US" sz="900" b="0" i="0" u="none" strike="noStrike" kern="0" cap="none" spc="0" normalizeH="0" baseline="0" noProof="0">
                <a:ln>
                  <a:noFill/>
                </a:ln>
                <a:solidFill>
                  <a:srgbClr val="000000"/>
                </a:solidFill>
                <a:effectLst/>
                <a:uLnTx/>
                <a:uFillTx/>
                <a:latin typeface="Santander Text"/>
                <a:ea typeface="+mn-ea"/>
                <a:cs typeface="+mn-cs"/>
              </a:endParaRPr>
            </a:p>
          </p:txBody>
        </p:sp>
        <p:sp>
          <p:nvSpPr>
            <p:cNvPr id="124" name="Elipse 123">
              <a:extLst>
                <a:ext uri="{FF2B5EF4-FFF2-40B4-BE49-F238E27FC236}">
                  <a16:creationId xmlns:a16="http://schemas.microsoft.com/office/drawing/2014/main" id="{38750E87-C9E8-3DD5-5266-7F3EDE6E4514}"/>
                </a:ext>
              </a:extLst>
            </p:cNvPr>
            <p:cNvSpPr/>
            <p:nvPr/>
          </p:nvSpPr>
          <p:spPr>
            <a:xfrm>
              <a:off x="6268009" y="3886582"/>
              <a:ext cx="187592" cy="187592"/>
            </a:xfrm>
            <a:prstGeom prst="ellipse">
              <a:avLst/>
            </a:prstGeom>
            <a:solidFill>
              <a:srgbClr val="FF0000"/>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000000"/>
                </a:solidFill>
                <a:effectLst/>
                <a:uLnTx/>
                <a:uFillTx/>
                <a:latin typeface="Santander Text"/>
                <a:ea typeface="+mn-ea"/>
                <a:cs typeface="+mn-cs"/>
              </a:endParaRPr>
            </a:p>
          </p:txBody>
        </p:sp>
      </p:grpSp>
    </p:spTree>
    <p:extLst>
      <p:ext uri="{BB962C8B-B14F-4D97-AF65-F5344CB8AC3E}">
        <p14:creationId xmlns:p14="http://schemas.microsoft.com/office/powerpoint/2010/main" val="12793439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C35060-FDB4-888E-F7C1-25A5C77A3287}"/>
            </a:ext>
          </a:extLst>
        </p:cNvPr>
        <p:cNvGrpSpPr/>
        <p:nvPr/>
      </p:nvGrpSpPr>
      <p:grpSpPr>
        <a:xfrm>
          <a:off x="0" y="0"/>
          <a:ext cx="0" cy="0"/>
          <a:chOff x="0" y="0"/>
          <a:chExt cx="0" cy="0"/>
        </a:xfrm>
      </p:grpSpPr>
      <p:sp>
        <p:nvSpPr>
          <p:cNvPr id="3" name="AutoShape 8">
            <a:extLst>
              <a:ext uri="{FF2B5EF4-FFF2-40B4-BE49-F238E27FC236}">
                <a16:creationId xmlns:a16="http://schemas.microsoft.com/office/drawing/2014/main" id="{31B2E776-2892-C8DB-ECC5-C284033F279B}"/>
              </a:ext>
            </a:extLst>
          </p:cNvPr>
          <p:cNvSpPr>
            <a:spLocks noChangeArrowheads="1"/>
          </p:cNvSpPr>
          <p:nvPr/>
        </p:nvSpPr>
        <p:spPr bwMode="auto">
          <a:xfrm>
            <a:off x="4860975" y="1055017"/>
            <a:ext cx="2664000"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t" anchorCtr="0">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sz="1400" b="1" i="0" u="none" strike="noStrike" kern="1200" cap="none" spc="0" normalizeH="0" baseline="0" noProof="0">
                <a:ln>
                  <a:noFill/>
                </a:ln>
                <a:solidFill>
                  <a:srgbClr val="000000"/>
                </a:solidFill>
                <a:effectLst/>
                <a:uLnTx/>
                <a:uFillTx/>
                <a:latin typeface="santander Headline"/>
                <a:ea typeface="+mn-ea"/>
                <a:cs typeface="Arial" pitchFamily="34" charset="0"/>
              </a:rPr>
              <a:t>Descripción</a:t>
            </a:r>
            <a:endParaRPr kumimoji="0" lang="es-PE" sz="1400" b="1" i="0" u="none" strike="noStrike" kern="1200" cap="none" spc="0" normalizeH="0" baseline="30000" noProof="0">
              <a:ln>
                <a:noFill/>
              </a:ln>
              <a:solidFill>
                <a:srgbClr val="000000"/>
              </a:solidFill>
              <a:effectLst/>
              <a:uLnTx/>
              <a:uFillTx/>
              <a:latin typeface="santander Headline"/>
              <a:ea typeface="+mn-ea"/>
              <a:cs typeface="Arial" pitchFamily="34" charset="0"/>
            </a:endParaRPr>
          </a:p>
        </p:txBody>
      </p:sp>
      <p:sp>
        <p:nvSpPr>
          <p:cNvPr id="4" name="AutoShape 8">
            <a:extLst>
              <a:ext uri="{FF2B5EF4-FFF2-40B4-BE49-F238E27FC236}">
                <a16:creationId xmlns:a16="http://schemas.microsoft.com/office/drawing/2014/main" id="{662368C3-7282-019B-A17C-19BECD1C6793}"/>
              </a:ext>
            </a:extLst>
          </p:cNvPr>
          <p:cNvSpPr>
            <a:spLocks noChangeArrowheads="1"/>
          </p:cNvSpPr>
          <p:nvPr/>
        </p:nvSpPr>
        <p:spPr bwMode="auto">
          <a:xfrm>
            <a:off x="898794" y="1055017"/>
            <a:ext cx="1342800"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t" anchorCtr="0">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sz="1400" b="1" i="0" u="none" strike="noStrike" kern="1200" cap="none" spc="0" normalizeH="0" baseline="0" noProof="0">
                <a:ln>
                  <a:noFill/>
                </a:ln>
                <a:solidFill>
                  <a:srgbClr val="000000"/>
                </a:solidFill>
                <a:effectLst/>
                <a:uLnTx/>
                <a:uFillTx/>
                <a:latin typeface="santander Headline"/>
                <a:ea typeface="+mn-ea"/>
                <a:cs typeface="Arial" pitchFamily="34" charset="0"/>
              </a:rPr>
              <a:t>Frente de trabajo</a:t>
            </a:r>
            <a:endParaRPr kumimoji="0" lang="es-PE" sz="1400" b="1" i="0" u="none" strike="noStrike" kern="1200" cap="none" spc="0" normalizeH="0" baseline="30000" noProof="0">
              <a:ln>
                <a:noFill/>
              </a:ln>
              <a:solidFill>
                <a:srgbClr val="000000"/>
              </a:solidFill>
              <a:effectLst/>
              <a:uLnTx/>
              <a:uFillTx/>
              <a:latin typeface="santander Headline"/>
              <a:ea typeface="+mn-ea"/>
              <a:cs typeface="Arial" pitchFamily="34" charset="0"/>
            </a:endParaRPr>
          </a:p>
        </p:txBody>
      </p:sp>
      <p:sp>
        <p:nvSpPr>
          <p:cNvPr id="6" name="AutoShape 8">
            <a:extLst>
              <a:ext uri="{FF2B5EF4-FFF2-40B4-BE49-F238E27FC236}">
                <a16:creationId xmlns:a16="http://schemas.microsoft.com/office/drawing/2014/main" id="{4CA8395C-B504-D134-DA4A-1B416FEAE5DC}"/>
              </a:ext>
            </a:extLst>
          </p:cNvPr>
          <p:cNvSpPr>
            <a:spLocks noChangeArrowheads="1"/>
          </p:cNvSpPr>
          <p:nvPr/>
        </p:nvSpPr>
        <p:spPr bwMode="auto">
          <a:xfrm>
            <a:off x="7970270" y="1055017"/>
            <a:ext cx="1800000"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t" anchorCtr="0">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sz="1400" b="1" i="0" u="none" strike="noStrike" kern="1200" cap="none" spc="0" normalizeH="0" baseline="0" noProof="0">
                <a:ln>
                  <a:noFill/>
                </a:ln>
                <a:solidFill>
                  <a:srgbClr val="000000"/>
                </a:solidFill>
                <a:effectLst/>
                <a:uLnTx/>
                <a:uFillTx/>
                <a:latin typeface="santander Headline"/>
                <a:ea typeface="+mn-ea"/>
                <a:cs typeface="Arial" pitchFamily="34" charset="0"/>
              </a:rPr>
              <a:t>Dependencia</a:t>
            </a:r>
            <a:endParaRPr kumimoji="0" lang="es-PE" sz="1400" b="1" i="0" u="none" strike="noStrike" kern="1200" cap="none" spc="0" normalizeH="0" baseline="30000" noProof="0">
              <a:ln>
                <a:noFill/>
              </a:ln>
              <a:solidFill>
                <a:srgbClr val="000000"/>
              </a:solidFill>
              <a:effectLst/>
              <a:uLnTx/>
              <a:uFillTx/>
              <a:latin typeface="santander Headline"/>
              <a:ea typeface="+mn-ea"/>
              <a:cs typeface="Arial" pitchFamily="34" charset="0"/>
            </a:endParaRPr>
          </a:p>
        </p:txBody>
      </p:sp>
      <p:sp>
        <p:nvSpPr>
          <p:cNvPr id="9" name="AutoShape 8">
            <a:extLst>
              <a:ext uri="{FF2B5EF4-FFF2-40B4-BE49-F238E27FC236}">
                <a16:creationId xmlns:a16="http://schemas.microsoft.com/office/drawing/2014/main" id="{EFE718F1-071E-5240-CCF8-6555EAEE3554}"/>
              </a:ext>
            </a:extLst>
          </p:cNvPr>
          <p:cNvSpPr>
            <a:spLocks noChangeArrowheads="1"/>
          </p:cNvSpPr>
          <p:nvPr/>
        </p:nvSpPr>
        <p:spPr bwMode="auto">
          <a:xfrm>
            <a:off x="2661959" y="1055017"/>
            <a:ext cx="890374"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t" anchorCtr="0">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sz="1400" b="1" i="0" u="none" strike="noStrike" kern="1200" cap="none" spc="0" normalizeH="0" baseline="0" noProof="0">
                <a:ln>
                  <a:noFill/>
                </a:ln>
                <a:solidFill>
                  <a:srgbClr val="000000"/>
                </a:solidFill>
                <a:effectLst/>
                <a:uLnTx/>
                <a:uFillTx/>
                <a:latin typeface="santander Headline"/>
                <a:ea typeface="+mn-ea"/>
                <a:cs typeface="Arial" pitchFamily="34" charset="0"/>
              </a:rPr>
              <a:t>Estado</a:t>
            </a:r>
            <a:endParaRPr kumimoji="0" lang="es-PE" sz="1400" b="1" i="0" u="none" strike="noStrike" kern="1200" cap="none" spc="0" normalizeH="0" baseline="30000" noProof="0">
              <a:ln>
                <a:noFill/>
              </a:ln>
              <a:solidFill>
                <a:srgbClr val="000000"/>
              </a:solidFill>
              <a:effectLst/>
              <a:uLnTx/>
              <a:uFillTx/>
              <a:latin typeface="santander Headline"/>
              <a:ea typeface="+mn-ea"/>
              <a:cs typeface="Arial" pitchFamily="34" charset="0"/>
            </a:endParaRPr>
          </a:p>
        </p:txBody>
      </p:sp>
      <p:cxnSp>
        <p:nvCxnSpPr>
          <p:cNvPr id="10" name="73 Conector recto">
            <a:extLst>
              <a:ext uri="{FF2B5EF4-FFF2-40B4-BE49-F238E27FC236}">
                <a16:creationId xmlns:a16="http://schemas.microsoft.com/office/drawing/2014/main" id="{79656387-C0DF-DB0D-A897-B463342C6453}"/>
              </a:ext>
            </a:extLst>
          </p:cNvPr>
          <p:cNvCxnSpPr>
            <a:cxnSpLocks/>
          </p:cNvCxnSpPr>
          <p:nvPr/>
        </p:nvCxnSpPr>
        <p:spPr>
          <a:xfrm>
            <a:off x="515900" y="1447886"/>
            <a:ext cx="11268000" cy="0"/>
          </a:xfrm>
          <a:prstGeom prst="line">
            <a:avLst/>
          </a:prstGeom>
          <a:noFill/>
          <a:ln w="9525" cap="flat" cmpd="sng" algn="ctr">
            <a:solidFill>
              <a:sysClr val="window" lastClr="FFFFFF">
                <a:lumMod val="75000"/>
              </a:sysClr>
            </a:solidFill>
            <a:prstDash val="dash"/>
          </a:ln>
          <a:effectLst/>
        </p:spPr>
      </p:cxnSp>
      <p:sp>
        <p:nvSpPr>
          <p:cNvPr id="78" name="AutoShape 8">
            <a:extLst>
              <a:ext uri="{FF2B5EF4-FFF2-40B4-BE49-F238E27FC236}">
                <a16:creationId xmlns:a16="http://schemas.microsoft.com/office/drawing/2014/main" id="{9F03A49C-8777-D189-754B-72BAF0F6D627}"/>
              </a:ext>
            </a:extLst>
          </p:cNvPr>
          <p:cNvSpPr>
            <a:spLocks noChangeArrowheads="1"/>
          </p:cNvSpPr>
          <p:nvPr/>
        </p:nvSpPr>
        <p:spPr bwMode="auto">
          <a:xfrm>
            <a:off x="10144931" y="1063484"/>
            <a:ext cx="1684631"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t" anchorCtr="0">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sz="1400" b="1" i="0" u="none" strike="noStrike" kern="1200" cap="none" spc="0" normalizeH="0" baseline="0" noProof="0">
                <a:ln>
                  <a:noFill/>
                </a:ln>
                <a:solidFill>
                  <a:srgbClr val="000000"/>
                </a:solidFill>
                <a:effectLst/>
                <a:uLnTx/>
                <a:uFillTx/>
                <a:latin typeface="santander Headline"/>
                <a:ea typeface="+mn-ea"/>
                <a:cs typeface="Arial" pitchFamily="34" charset="0"/>
              </a:rPr>
              <a:t>Fecha requerida</a:t>
            </a:r>
            <a:endParaRPr kumimoji="0" lang="es-PE" sz="1400" b="1" i="0" u="none" strike="noStrike" kern="1200" cap="none" spc="0" normalizeH="0" baseline="30000" noProof="0">
              <a:ln>
                <a:noFill/>
              </a:ln>
              <a:solidFill>
                <a:srgbClr val="000000"/>
              </a:solidFill>
              <a:effectLst/>
              <a:uLnTx/>
              <a:uFillTx/>
              <a:latin typeface="santander Headline"/>
              <a:ea typeface="+mn-ea"/>
              <a:cs typeface="Arial" pitchFamily="34" charset="0"/>
            </a:endParaRPr>
          </a:p>
        </p:txBody>
      </p:sp>
      <p:sp>
        <p:nvSpPr>
          <p:cNvPr id="56" name="AutoShape 8">
            <a:extLst>
              <a:ext uri="{FF2B5EF4-FFF2-40B4-BE49-F238E27FC236}">
                <a16:creationId xmlns:a16="http://schemas.microsoft.com/office/drawing/2014/main" id="{954105EF-730A-0CC1-E9B2-186F48FB6BA9}"/>
              </a:ext>
            </a:extLst>
          </p:cNvPr>
          <p:cNvSpPr>
            <a:spLocks noChangeArrowheads="1"/>
          </p:cNvSpPr>
          <p:nvPr/>
        </p:nvSpPr>
        <p:spPr bwMode="auto">
          <a:xfrm>
            <a:off x="3609310" y="1055017"/>
            <a:ext cx="1157549"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t" anchorCtr="0">
            <a:spAutoFit/>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sz="1400" b="1" i="0" u="none" strike="noStrike" kern="1200" cap="none" spc="0" normalizeH="0" baseline="0" noProof="0">
                <a:ln>
                  <a:noFill/>
                </a:ln>
                <a:solidFill>
                  <a:srgbClr val="000000"/>
                </a:solidFill>
                <a:effectLst/>
                <a:uLnTx/>
                <a:uFillTx/>
                <a:latin typeface="santander Headline"/>
                <a:ea typeface="+mn-ea"/>
                <a:cs typeface="Arial" pitchFamily="34" charset="0"/>
              </a:rPr>
              <a:t>Responsable</a:t>
            </a:r>
            <a:endParaRPr kumimoji="0" lang="es-PE" sz="1400" b="1" i="0" u="none" strike="noStrike" kern="1200" cap="none" spc="0" normalizeH="0" baseline="30000" noProof="0">
              <a:ln>
                <a:noFill/>
              </a:ln>
              <a:solidFill>
                <a:srgbClr val="000000"/>
              </a:solidFill>
              <a:effectLst/>
              <a:uLnTx/>
              <a:uFillTx/>
              <a:latin typeface="santander Headline"/>
              <a:ea typeface="+mn-ea"/>
              <a:cs typeface="Arial" pitchFamily="34" charset="0"/>
            </a:endParaRPr>
          </a:p>
        </p:txBody>
      </p:sp>
      <p:grpSp>
        <p:nvGrpSpPr>
          <p:cNvPr id="97" name="Grupo 96">
            <a:extLst>
              <a:ext uri="{FF2B5EF4-FFF2-40B4-BE49-F238E27FC236}">
                <a16:creationId xmlns:a16="http://schemas.microsoft.com/office/drawing/2014/main" id="{FF00BCE8-3ADD-7380-9EBC-CBBC82F159AF}"/>
              </a:ext>
            </a:extLst>
          </p:cNvPr>
          <p:cNvGrpSpPr/>
          <p:nvPr/>
        </p:nvGrpSpPr>
        <p:grpSpPr>
          <a:xfrm>
            <a:off x="663107" y="6537357"/>
            <a:ext cx="1234703" cy="230832"/>
            <a:chOff x="4184836" y="3864962"/>
            <a:chExt cx="1234703" cy="230832"/>
          </a:xfrm>
        </p:grpSpPr>
        <p:sp>
          <p:nvSpPr>
            <p:cNvPr id="98" name="TextBox 64">
              <a:extLst>
                <a:ext uri="{FF2B5EF4-FFF2-40B4-BE49-F238E27FC236}">
                  <a16:creationId xmlns:a16="http://schemas.microsoft.com/office/drawing/2014/main" id="{A1E3F71F-C1D4-E04B-563F-36ACCAABF306}"/>
                </a:ext>
              </a:extLst>
            </p:cNvPr>
            <p:cNvSpPr txBox="1"/>
            <p:nvPr/>
          </p:nvSpPr>
          <p:spPr>
            <a:xfrm>
              <a:off x="4322972" y="3864962"/>
              <a:ext cx="1096567" cy="2308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antander Text"/>
                  <a:ea typeface="+mn-ea"/>
                  <a:cs typeface="+mn-cs"/>
                </a:rPr>
                <a:t>En </a:t>
              </a:r>
              <a:r>
                <a:rPr kumimoji="0" lang="en-US" sz="900" b="0" i="0" u="none" strike="noStrike" kern="0" cap="none" spc="0" normalizeH="0" baseline="0" noProof="0" err="1">
                  <a:ln>
                    <a:noFill/>
                  </a:ln>
                  <a:solidFill>
                    <a:srgbClr val="000000"/>
                  </a:solidFill>
                  <a:effectLst/>
                  <a:uLnTx/>
                  <a:uFillTx/>
                  <a:latin typeface="Santander Text"/>
                  <a:ea typeface="+mn-ea"/>
                  <a:cs typeface="+mn-cs"/>
                </a:rPr>
                <a:t>Fecha</a:t>
              </a:r>
              <a:r>
                <a:rPr kumimoji="0" lang="en-US" sz="900" b="0" i="0" u="none" strike="noStrike" kern="0" cap="none" spc="0" normalizeH="0" baseline="0" noProof="0">
                  <a:ln>
                    <a:noFill/>
                  </a:ln>
                  <a:solidFill>
                    <a:srgbClr val="000000"/>
                  </a:solidFill>
                  <a:effectLst/>
                  <a:uLnTx/>
                  <a:uFillTx/>
                  <a:latin typeface="Santander Text"/>
                  <a:ea typeface="+mn-ea"/>
                  <a:cs typeface="+mn-cs"/>
                </a:rPr>
                <a:t> sin </a:t>
              </a:r>
              <a:r>
                <a:rPr kumimoji="0" lang="en-US" sz="900" b="0" i="0" u="none" strike="noStrike" kern="0" cap="none" spc="0" normalizeH="0" baseline="0" noProof="0" err="1">
                  <a:ln>
                    <a:noFill/>
                  </a:ln>
                  <a:solidFill>
                    <a:srgbClr val="000000"/>
                  </a:solidFill>
                  <a:effectLst/>
                  <a:uLnTx/>
                  <a:uFillTx/>
                  <a:latin typeface="Santander Text"/>
                  <a:ea typeface="+mn-ea"/>
                  <a:cs typeface="+mn-cs"/>
                </a:rPr>
                <a:t>riesgo</a:t>
              </a:r>
              <a:endParaRPr kumimoji="0" lang="en-US" sz="900" b="0" i="0" u="none" strike="noStrike" kern="0" cap="none" spc="0" normalizeH="0" baseline="0" noProof="0">
                <a:ln>
                  <a:noFill/>
                </a:ln>
                <a:solidFill>
                  <a:srgbClr val="000000"/>
                </a:solidFill>
                <a:effectLst/>
                <a:uLnTx/>
                <a:uFillTx/>
                <a:latin typeface="Santander Text"/>
                <a:ea typeface="+mn-ea"/>
                <a:cs typeface="+mn-cs"/>
              </a:endParaRPr>
            </a:p>
          </p:txBody>
        </p:sp>
        <p:sp>
          <p:nvSpPr>
            <p:cNvPr id="99" name="Elipse 98">
              <a:extLst>
                <a:ext uri="{FF2B5EF4-FFF2-40B4-BE49-F238E27FC236}">
                  <a16:creationId xmlns:a16="http://schemas.microsoft.com/office/drawing/2014/main" id="{15821B68-7147-599B-A4CD-D204734ED57B}"/>
                </a:ext>
              </a:extLst>
            </p:cNvPr>
            <p:cNvSpPr/>
            <p:nvPr/>
          </p:nvSpPr>
          <p:spPr>
            <a:xfrm>
              <a:off x="4184836" y="3886582"/>
              <a:ext cx="187592" cy="187592"/>
            </a:xfrm>
            <a:prstGeom prst="ellipse">
              <a:avLst/>
            </a:prstGeom>
            <a:solidFill>
              <a:srgbClr val="63BA68"/>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000000"/>
                </a:solidFill>
                <a:effectLst/>
                <a:uLnTx/>
                <a:uFillTx/>
                <a:latin typeface="Santander Text"/>
                <a:ea typeface="+mn-ea"/>
                <a:cs typeface="+mn-cs"/>
              </a:endParaRPr>
            </a:p>
          </p:txBody>
        </p:sp>
      </p:grpSp>
      <p:grpSp>
        <p:nvGrpSpPr>
          <p:cNvPr id="106" name="Grupo 105">
            <a:extLst>
              <a:ext uri="{FF2B5EF4-FFF2-40B4-BE49-F238E27FC236}">
                <a16:creationId xmlns:a16="http://schemas.microsoft.com/office/drawing/2014/main" id="{AF018B96-1E9D-4EC3-3903-A56FD8CB9EAA}"/>
              </a:ext>
            </a:extLst>
          </p:cNvPr>
          <p:cNvGrpSpPr/>
          <p:nvPr/>
        </p:nvGrpSpPr>
        <p:grpSpPr>
          <a:xfrm>
            <a:off x="1856172" y="6537357"/>
            <a:ext cx="2262011" cy="230832"/>
            <a:chOff x="6543321" y="6237958"/>
            <a:chExt cx="2262011" cy="230832"/>
          </a:xfrm>
        </p:grpSpPr>
        <p:sp>
          <p:nvSpPr>
            <p:cNvPr id="101" name="TextBox 62">
              <a:extLst>
                <a:ext uri="{FF2B5EF4-FFF2-40B4-BE49-F238E27FC236}">
                  <a16:creationId xmlns:a16="http://schemas.microsoft.com/office/drawing/2014/main" id="{0B318BFA-C427-783C-832C-ED9F1D185B9B}"/>
                </a:ext>
              </a:extLst>
            </p:cNvPr>
            <p:cNvSpPr txBox="1"/>
            <p:nvPr/>
          </p:nvSpPr>
          <p:spPr>
            <a:xfrm>
              <a:off x="6701701" y="6237958"/>
              <a:ext cx="2103631" cy="2308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antander Text"/>
                  <a:ea typeface="+mn-ea"/>
                  <a:cs typeface="+mn-cs"/>
                </a:rPr>
                <a:t>En </a:t>
              </a:r>
              <a:r>
                <a:rPr kumimoji="0" lang="en-US" sz="900" b="0" i="0" u="none" strike="noStrike" kern="0" cap="none" spc="0" normalizeH="0" baseline="0" noProof="0" err="1">
                  <a:ln>
                    <a:noFill/>
                  </a:ln>
                  <a:solidFill>
                    <a:srgbClr val="000000"/>
                  </a:solidFill>
                  <a:effectLst/>
                  <a:uLnTx/>
                  <a:uFillTx/>
                  <a:latin typeface="Santander Text"/>
                  <a:ea typeface="+mn-ea"/>
                  <a:cs typeface="+mn-cs"/>
                </a:rPr>
                <a:t>curso</a:t>
              </a:r>
              <a:r>
                <a:rPr kumimoji="0" lang="en-US" sz="900" b="0" i="0" u="none" strike="noStrike" kern="0" cap="none" spc="0" normalizeH="0" baseline="0" noProof="0">
                  <a:ln>
                    <a:noFill/>
                  </a:ln>
                  <a:solidFill>
                    <a:srgbClr val="000000"/>
                  </a:solidFill>
                  <a:effectLst/>
                  <a:uLnTx/>
                  <a:uFillTx/>
                  <a:latin typeface="Santander Text"/>
                  <a:ea typeface="+mn-ea"/>
                  <a:cs typeface="+mn-cs"/>
                </a:rPr>
                <a:t> </a:t>
              </a:r>
              <a:r>
                <a:rPr kumimoji="0" lang="en-US" sz="900" b="0" i="0" u="none" strike="noStrike" kern="0" cap="none" spc="0" normalizeH="0" baseline="0" noProof="0" err="1">
                  <a:ln>
                    <a:noFill/>
                  </a:ln>
                  <a:solidFill>
                    <a:srgbClr val="000000"/>
                  </a:solidFill>
                  <a:effectLst/>
                  <a:uLnTx/>
                  <a:uFillTx/>
                  <a:latin typeface="Santander Text"/>
                  <a:ea typeface="+mn-ea"/>
                  <a:cs typeface="+mn-cs"/>
                </a:rPr>
                <a:t>medidas</a:t>
              </a:r>
              <a:r>
                <a:rPr kumimoji="0" lang="en-US" sz="900" b="0" i="0" u="none" strike="noStrike" kern="0" cap="none" spc="0" normalizeH="0" baseline="0" noProof="0">
                  <a:ln>
                    <a:noFill/>
                  </a:ln>
                  <a:solidFill>
                    <a:srgbClr val="000000"/>
                  </a:solidFill>
                  <a:effectLst/>
                  <a:uLnTx/>
                  <a:uFillTx/>
                  <a:latin typeface="Santander Text"/>
                  <a:ea typeface="+mn-ea"/>
                  <a:cs typeface="+mn-cs"/>
                </a:rPr>
                <a:t> </a:t>
              </a:r>
              <a:r>
                <a:rPr kumimoji="0" lang="en-US" sz="900" b="0" i="0" u="none" strike="noStrike" kern="0" cap="none" spc="0" normalizeH="0" baseline="0" noProof="0" err="1">
                  <a:ln>
                    <a:noFill/>
                  </a:ln>
                  <a:solidFill>
                    <a:srgbClr val="000000"/>
                  </a:solidFill>
                  <a:effectLst/>
                  <a:uLnTx/>
                  <a:uFillTx/>
                  <a:latin typeface="Santander Text"/>
                  <a:ea typeface="+mn-ea"/>
                  <a:cs typeface="+mn-cs"/>
                </a:rPr>
                <a:t>correctivas</a:t>
              </a:r>
              <a:endParaRPr kumimoji="0" lang="en-US" sz="900" b="0" i="0" u="none" strike="noStrike" kern="0" cap="none" spc="0" normalizeH="0" baseline="0" noProof="0">
                <a:ln>
                  <a:noFill/>
                </a:ln>
                <a:solidFill>
                  <a:srgbClr val="000000"/>
                </a:solidFill>
                <a:effectLst/>
                <a:uLnTx/>
                <a:uFillTx/>
                <a:latin typeface="Santander Text"/>
                <a:ea typeface="+mn-ea"/>
                <a:cs typeface="+mn-cs"/>
              </a:endParaRPr>
            </a:p>
          </p:txBody>
        </p:sp>
        <p:sp>
          <p:nvSpPr>
            <p:cNvPr id="102" name="Elipse 101">
              <a:extLst>
                <a:ext uri="{FF2B5EF4-FFF2-40B4-BE49-F238E27FC236}">
                  <a16:creationId xmlns:a16="http://schemas.microsoft.com/office/drawing/2014/main" id="{A9F89C88-3951-8D80-4BBF-E18013EB076E}"/>
                </a:ext>
              </a:extLst>
            </p:cNvPr>
            <p:cNvSpPr/>
            <p:nvPr/>
          </p:nvSpPr>
          <p:spPr>
            <a:xfrm>
              <a:off x="6543321" y="6259578"/>
              <a:ext cx="187592" cy="187592"/>
            </a:xfrm>
            <a:prstGeom prst="ellipse">
              <a:avLst/>
            </a:prstGeom>
            <a:solidFill>
              <a:srgbClr val="FFC000"/>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000000"/>
                </a:solidFill>
                <a:effectLst/>
                <a:uLnTx/>
                <a:uFillTx/>
                <a:latin typeface="Santander Text"/>
                <a:ea typeface="+mn-ea"/>
                <a:cs typeface="+mn-cs"/>
              </a:endParaRPr>
            </a:p>
          </p:txBody>
        </p:sp>
      </p:grpSp>
      <p:grpSp>
        <p:nvGrpSpPr>
          <p:cNvPr id="103" name="Grupo 102">
            <a:extLst>
              <a:ext uri="{FF2B5EF4-FFF2-40B4-BE49-F238E27FC236}">
                <a16:creationId xmlns:a16="http://schemas.microsoft.com/office/drawing/2014/main" id="{6354153A-69B1-A537-3381-988BCE59F64C}"/>
              </a:ext>
            </a:extLst>
          </p:cNvPr>
          <p:cNvGrpSpPr/>
          <p:nvPr/>
        </p:nvGrpSpPr>
        <p:grpSpPr>
          <a:xfrm>
            <a:off x="3623423" y="6538682"/>
            <a:ext cx="1260188" cy="230832"/>
            <a:chOff x="6268009" y="3866287"/>
            <a:chExt cx="1260188" cy="230832"/>
          </a:xfrm>
        </p:grpSpPr>
        <p:sp>
          <p:nvSpPr>
            <p:cNvPr id="104" name="TextBox 63">
              <a:extLst>
                <a:ext uri="{FF2B5EF4-FFF2-40B4-BE49-F238E27FC236}">
                  <a16:creationId xmlns:a16="http://schemas.microsoft.com/office/drawing/2014/main" id="{F18F3DF1-E747-C993-FBCC-95AAD15D211C}"/>
                </a:ext>
              </a:extLst>
            </p:cNvPr>
            <p:cNvSpPr txBox="1"/>
            <p:nvPr/>
          </p:nvSpPr>
          <p:spPr>
            <a:xfrm>
              <a:off x="6429725" y="3866287"/>
              <a:ext cx="1098472" cy="2308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antander Text"/>
                  <a:ea typeface="+mn-ea"/>
                  <a:cs typeface="+mn-cs"/>
                </a:rPr>
                <a:t>Riesgo </a:t>
              </a:r>
              <a:r>
                <a:rPr kumimoji="0" lang="en-US" sz="900" b="0" i="0" u="none" strike="noStrike" kern="0" cap="none" spc="0" normalizeH="0" baseline="0" noProof="0" err="1">
                  <a:ln>
                    <a:noFill/>
                  </a:ln>
                  <a:solidFill>
                    <a:srgbClr val="000000"/>
                  </a:solidFill>
                  <a:effectLst/>
                  <a:uLnTx/>
                  <a:uFillTx/>
                  <a:latin typeface="Santander Text"/>
                  <a:ea typeface="+mn-ea"/>
                  <a:cs typeface="+mn-cs"/>
                </a:rPr>
                <a:t>identificado</a:t>
              </a:r>
              <a:endParaRPr kumimoji="0" lang="en-US" sz="900" b="0" i="0" u="none" strike="noStrike" kern="0" cap="none" spc="0" normalizeH="0" baseline="0" noProof="0">
                <a:ln>
                  <a:noFill/>
                </a:ln>
                <a:solidFill>
                  <a:srgbClr val="000000"/>
                </a:solidFill>
                <a:effectLst/>
                <a:uLnTx/>
                <a:uFillTx/>
                <a:latin typeface="Santander Text"/>
                <a:ea typeface="+mn-ea"/>
                <a:cs typeface="+mn-cs"/>
              </a:endParaRPr>
            </a:p>
          </p:txBody>
        </p:sp>
        <p:sp>
          <p:nvSpPr>
            <p:cNvPr id="105" name="Elipse 104">
              <a:extLst>
                <a:ext uri="{FF2B5EF4-FFF2-40B4-BE49-F238E27FC236}">
                  <a16:creationId xmlns:a16="http://schemas.microsoft.com/office/drawing/2014/main" id="{887616D1-BF95-33CC-4AFE-97F11DB3385B}"/>
                </a:ext>
              </a:extLst>
            </p:cNvPr>
            <p:cNvSpPr/>
            <p:nvPr/>
          </p:nvSpPr>
          <p:spPr>
            <a:xfrm>
              <a:off x="6268009" y="3886582"/>
              <a:ext cx="187592" cy="187592"/>
            </a:xfrm>
            <a:prstGeom prst="ellipse">
              <a:avLst/>
            </a:prstGeom>
            <a:solidFill>
              <a:srgbClr val="FF0000"/>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000000"/>
                </a:solidFill>
                <a:effectLst/>
                <a:uLnTx/>
                <a:uFillTx/>
                <a:latin typeface="Santander Text"/>
                <a:ea typeface="+mn-ea"/>
                <a:cs typeface="+mn-cs"/>
              </a:endParaRPr>
            </a:p>
          </p:txBody>
        </p:sp>
      </p:grpSp>
      <p:cxnSp>
        <p:nvCxnSpPr>
          <p:cNvPr id="44" name="73 Conector recto">
            <a:extLst>
              <a:ext uri="{FF2B5EF4-FFF2-40B4-BE49-F238E27FC236}">
                <a16:creationId xmlns:a16="http://schemas.microsoft.com/office/drawing/2014/main" id="{B6D9D81B-BC97-396F-39FD-2D9B4EFD18AF}"/>
              </a:ext>
            </a:extLst>
          </p:cNvPr>
          <p:cNvCxnSpPr>
            <a:cxnSpLocks/>
          </p:cNvCxnSpPr>
          <p:nvPr/>
        </p:nvCxnSpPr>
        <p:spPr>
          <a:xfrm>
            <a:off x="514447" y="2547754"/>
            <a:ext cx="11268000" cy="0"/>
          </a:xfrm>
          <a:prstGeom prst="line">
            <a:avLst/>
          </a:prstGeom>
          <a:noFill/>
          <a:ln w="9525" cap="flat" cmpd="sng" algn="ctr">
            <a:solidFill>
              <a:sysClr val="window" lastClr="FFFFFF">
                <a:lumMod val="75000"/>
              </a:sysClr>
            </a:solidFill>
            <a:prstDash val="dash"/>
          </a:ln>
          <a:effectLst/>
        </p:spPr>
      </p:cxnSp>
      <p:grpSp>
        <p:nvGrpSpPr>
          <p:cNvPr id="48" name="105 Grupo">
            <a:extLst>
              <a:ext uri="{FF2B5EF4-FFF2-40B4-BE49-F238E27FC236}">
                <a16:creationId xmlns:a16="http://schemas.microsoft.com/office/drawing/2014/main" id="{BF3BF1AE-A7A5-F17D-5DD6-4763CE82C7B0}"/>
              </a:ext>
            </a:extLst>
          </p:cNvPr>
          <p:cNvGrpSpPr/>
          <p:nvPr/>
        </p:nvGrpSpPr>
        <p:grpSpPr>
          <a:xfrm>
            <a:off x="3038503" y="1716264"/>
            <a:ext cx="260354" cy="410504"/>
            <a:chOff x="10600106" y="1424888"/>
            <a:chExt cx="618262" cy="974835"/>
          </a:xfrm>
        </p:grpSpPr>
        <p:sp>
          <p:nvSpPr>
            <p:cNvPr id="49" name="Freeform 96">
              <a:extLst>
                <a:ext uri="{FF2B5EF4-FFF2-40B4-BE49-F238E27FC236}">
                  <a16:creationId xmlns:a16="http://schemas.microsoft.com/office/drawing/2014/main" id="{14880A1A-8FCE-D9C3-4B27-AD19A9E38DC1}"/>
                </a:ext>
              </a:extLst>
            </p:cNvPr>
            <p:cNvSpPr>
              <a:spLocks/>
            </p:cNvSpPr>
            <p:nvPr/>
          </p:nvSpPr>
          <p:spPr bwMode="gray">
            <a:xfrm flipH="1">
              <a:off x="11021750"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0" name="Freeform 96">
              <a:extLst>
                <a:ext uri="{FF2B5EF4-FFF2-40B4-BE49-F238E27FC236}">
                  <a16:creationId xmlns:a16="http://schemas.microsoft.com/office/drawing/2014/main" id="{37F53099-8BB6-46A9-7BF3-CCF311CA574B}"/>
                </a:ext>
              </a:extLst>
            </p:cNvPr>
            <p:cNvSpPr>
              <a:spLocks/>
            </p:cNvSpPr>
            <p:nvPr/>
          </p:nvSpPr>
          <p:spPr bwMode="gray">
            <a:xfrm flipH="1">
              <a:off x="11021752"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2" name="Freeform 97">
              <a:extLst>
                <a:ext uri="{FF2B5EF4-FFF2-40B4-BE49-F238E27FC236}">
                  <a16:creationId xmlns:a16="http://schemas.microsoft.com/office/drawing/2014/main" id="{DD875A70-5852-68C3-8096-FF382040FC5E}"/>
                </a:ext>
              </a:extLst>
            </p:cNvPr>
            <p:cNvSpPr>
              <a:spLocks/>
            </p:cNvSpPr>
            <p:nvPr/>
          </p:nvSpPr>
          <p:spPr bwMode="gray">
            <a:xfrm flipH="1">
              <a:off x="11021761"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3" name="Freeform 96">
              <a:extLst>
                <a:ext uri="{FF2B5EF4-FFF2-40B4-BE49-F238E27FC236}">
                  <a16:creationId xmlns:a16="http://schemas.microsoft.com/office/drawing/2014/main" id="{B82C6804-A6D7-9A93-7475-FD18EBB821DF}"/>
                </a:ext>
              </a:extLst>
            </p:cNvPr>
            <p:cNvSpPr>
              <a:spLocks/>
            </p:cNvSpPr>
            <p:nvPr/>
          </p:nvSpPr>
          <p:spPr bwMode="gray">
            <a:xfrm>
              <a:off x="10600106"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4" name="Freeform 96">
              <a:extLst>
                <a:ext uri="{FF2B5EF4-FFF2-40B4-BE49-F238E27FC236}">
                  <a16:creationId xmlns:a16="http://schemas.microsoft.com/office/drawing/2014/main" id="{FA475964-A5E1-F546-390A-6C3EC8987193}"/>
                </a:ext>
              </a:extLst>
            </p:cNvPr>
            <p:cNvSpPr>
              <a:spLocks/>
            </p:cNvSpPr>
            <p:nvPr/>
          </p:nvSpPr>
          <p:spPr bwMode="gray">
            <a:xfrm>
              <a:off x="10600111"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5" name="Freeform 97">
              <a:extLst>
                <a:ext uri="{FF2B5EF4-FFF2-40B4-BE49-F238E27FC236}">
                  <a16:creationId xmlns:a16="http://schemas.microsoft.com/office/drawing/2014/main" id="{71D1C992-1214-CE9E-7A81-133E37E72117}"/>
                </a:ext>
              </a:extLst>
            </p:cNvPr>
            <p:cNvSpPr>
              <a:spLocks/>
            </p:cNvSpPr>
            <p:nvPr/>
          </p:nvSpPr>
          <p:spPr bwMode="gray">
            <a:xfrm>
              <a:off x="10600122"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7" name="Freeform 95">
              <a:extLst>
                <a:ext uri="{FF2B5EF4-FFF2-40B4-BE49-F238E27FC236}">
                  <a16:creationId xmlns:a16="http://schemas.microsoft.com/office/drawing/2014/main" id="{58C193A2-339F-A347-C79F-F6D616D15476}"/>
                </a:ext>
              </a:extLst>
            </p:cNvPr>
            <p:cNvSpPr>
              <a:spLocks/>
            </p:cNvSpPr>
            <p:nvPr/>
          </p:nvSpPr>
          <p:spPr bwMode="gray">
            <a:xfrm>
              <a:off x="10725261" y="1424888"/>
              <a:ext cx="390660" cy="974835"/>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8" name="Freeform 98">
              <a:extLst>
                <a:ext uri="{FF2B5EF4-FFF2-40B4-BE49-F238E27FC236}">
                  <a16:creationId xmlns:a16="http://schemas.microsoft.com/office/drawing/2014/main" id="{BD6864FC-03F2-2DC3-1FBF-6DBED5F94CD4}"/>
                </a:ext>
              </a:extLst>
            </p:cNvPr>
            <p:cNvSpPr>
              <a:spLocks/>
            </p:cNvSpPr>
            <p:nvPr/>
          </p:nvSpPr>
          <p:spPr bwMode="gray">
            <a:xfrm>
              <a:off x="10804414" y="1488519"/>
              <a:ext cx="229800" cy="229075"/>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60" name="Freeform 103">
              <a:extLst>
                <a:ext uri="{FF2B5EF4-FFF2-40B4-BE49-F238E27FC236}">
                  <a16:creationId xmlns:a16="http://schemas.microsoft.com/office/drawing/2014/main" id="{0834E1EB-1124-E8F6-D9B3-087035E872F1}"/>
                </a:ext>
              </a:extLst>
            </p:cNvPr>
            <p:cNvSpPr>
              <a:spLocks/>
            </p:cNvSpPr>
            <p:nvPr/>
          </p:nvSpPr>
          <p:spPr bwMode="gray">
            <a:xfrm>
              <a:off x="10804441" y="1791403"/>
              <a:ext cx="229800" cy="231619"/>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61" name="Freeform 108">
              <a:extLst>
                <a:ext uri="{FF2B5EF4-FFF2-40B4-BE49-F238E27FC236}">
                  <a16:creationId xmlns:a16="http://schemas.microsoft.com/office/drawing/2014/main" id="{1DA7AEEA-5578-CFB1-78F2-2BA01F7E8A0C}"/>
                </a:ext>
              </a:extLst>
            </p:cNvPr>
            <p:cNvSpPr>
              <a:spLocks/>
            </p:cNvSpPr>
            <p:nvPr/>
          </p:nvSpPr>
          <p:spPr bwMode="gray">
            <a:xfrm>
              <a:off x="10804464" y="2107009"/>
              <a:ext cx="229800" cy="229073"/>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rgbClr val="05BC57"/>
            </a:solidFill>
            <a:ln>
              <a:noFill/>
            </a:ln>
          </p:spPr>
          <p:txBody>
            <a:bodyPr vert="horz" wrap="square" lIns="91440" tIns="45720" rIns="91440" bIns="45720" numCol="1" anchor="t" anchorCtr="0" compatLnSpc="1">
              <a:prstTxWarp prst="textNoShape">
                <a:avLst/>
              </a:prstTxWarp>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grpSp>
      <p:cxnSp>
        <p:nvCxnSpPr>
          <p:cNvPr id="79" name="73 Conector recto">
            <a:extLst>
              <a:ext uri="{FF2B5EF4-FFF2-40B4-BE49-F238E27FC236}">
                <a16:creationId xmlns:a16="http://schemas.microsoft.com/office/drawing/2014/main" id="{837F1514-B728-71FA-872E-DD9296CC8513}"/>
              </a:ext>
            </a:extLst>
          </p:cNvPr>
          <p:cNvCxnSpPr>
            <a:cxnSpLocks/>
          </p:cNvCxnSpPr>
          <p:nvPr/>
        </p:nvCxnSpPr>
        <p:spPr>
          <a:xfrm>
            <a:off x="556780" y="3379245"/>
            <a:ext cx="11268000" cy="0"/>
          </a:xfrm>
          <a:prstGeom prst="line">
            <a:avLst/>
          </a:prstGeom>
          <a:noFill/>
          <a:ln w="9525" cap="flat" cmpd="sng" algn="ctr">
            <a:solidFill>
              <a:sysClr val="window" lastClr="FFFFFF">
                <a:lumMod val="75000"/>
              </a:sysClr>
            </a:solidFill>
            <a:prstDash val="dash"/>
          </a:ln>
          <a:effectLst/>
        </p:spPr>
      </p:cxnSp>
      <p:sp>
        <p:nvSpPr>
          <p:cNvPr id="30" name="CuadroTexto 29">
            <a:extLst>
              <a:ext uri="{FF2B5EF4-FFF2-40B4-BE49-F238E27FC236}">
                <a16:creationId xmlns:a16="http://schemas.microsoft.com/office/drawing/2014/main" id="{E2F43911-4B95-FAC3-5763-07B86CA9A4AD}"/>
              </a:ext>
            </a:extLst>
          </p:cNvPr>
          <p:cNvSpPr txBox="1"/>
          <p:nvPr/>
        </p:nvSpPr>
        <p:spPr>
          <a:xfrm>
            <a:off x="3607645" y="1459849"/>
            <a:ext cx="1489151" cy="1018905"/>
          </a:xfrm>
          <a:prstGeom prst="rect">
            <a:avLst/>
          </a:prstGeom>
        </p:spPr>
        <p:txBody>
          <a:bodyPr vert="horz" wrap="square" lIns="0" tIns="180000" rIns="0" bIns="0" rtlCol="0" anchor="t">
            <a:noAutofit/>
          </a:bodyPr>
          <a:lstStyle/>
          <a:p>
            <a:pPr marL="171450" indent="-171450" algn="just">
              <a:buClr>
                <a:schemeClr val="accent4">
                  <a:lumMod val="75000"/>
                </a:schemeClr>
              </a:buClr>
              <a:buFont typeface="Arial" panose="020B0604020202020204" pitchFamily="34" charset="0"/>
              <a:buChar char="•"/>
            </a:pPr>
            <a:r>
              <a:rPr lang="es-MX" sz="1200">
                <a:solidFill>
                  <a:schemeClr val="bg2">
                    <a:lumMod val="75000"/>
                  </a:schemeClr>
                </a:solidFill>
              </a:rPr>
              <a:t>Equipo QA</a:t>
            </a:r>
          </a:p>
          <a:p>
            <a:pPr marL="171450" indent="-171450" algn="just">
              <a:buClr>
                <a:schemeClr val="accent4">
                  <a:lumMod val="75000"/>
                </a:schemeClr>
              </a:buClr>
              <a:buFont typeface="Arial" panose="020B0604020202020204" pitchFamily="34" charset="0"/>
              <a:buChar char="•"/>
            </a:pPr>
            <a:endParaRPr lang="es-MX">
              <a:solidFill>
                <a:schemeClr val="bg2">
                  <a:lumMod val="75000"/>
                </a:schemeClr>
              </a:solidFill>
            </a:endParaRPr>
          </a:p>
        </p:txBody>
      </p:sp>
      <p:sp>
        <p:nvSpPr>
          <p:cNvPr id="32" name="CuadroTexto 31">
            <a:extLst>
              <a:ext uri="{FF2B5EF4-FFF2-40B4-BE49-F238E27FC236}">
                <a16:creationId xmlns:a16="http://schemas.microsoft.com/office/drawing/2014/main" id="{69C464C2-EE73-BC3A-FAB7-594C098CD9AE}"/>
              </a:ext>
            </a:extLst>
          </p:cNvPr>
          <p:cNvSpPr txBox="1"/>
          <p:nvPr/>
        </p:nvSpPr>
        <p:spPr>
          <a:xfrm>
            <a:off x="4992622" y="1420623"/>
            <a:ext cx="2880000" cy="995701"/>
          </a:xfrm>
          <a:prstGeom prst="rect">
            <a:avLst/>
          </a:prstGeom>
        </p:spPr>
        <p:txBody>
          <a:bodyPr vert="horz" wrap="square" lIns="0" tIns="180000" rIns="0" bIns="0" rtlCol="0" anchor="t">
            <a:noAutofit/>
          </a:bodyPr>
          <a:lstStyle>
            <a:defPPr>
              <a:defRPr lang="es-PE"/>
            </a:defPPr>
            <a:lvl1pPr marL="171450" indent="-171450" algn="just">
              <a:spcBef>
                <a:spcPts val="1200"/>
              </a:spcBef>
              <a:spcAft>
                <a:spcPts val="1200"/>
              </a:spcAft>
              <a:buClr>
                <a:schemeClr val="accent4"/>
              </a:buClr>
              <a:buFont typeface="Arial" panose="020B0604020202020204" pitchFamily="34" charset="0"/>
              <a:buChar char="•"/>
              <a:defRPr sz="1200">
                <a:solidFill>
                  <a:schemeClr val="bg2">
                    <a:lumMod val="75000"/>
                  </a:schemeClr>
                </a:solidFill>
              </a:defRPr>
            </a:lvl1pPr>
          </a:lstStyle>
          <a:p>
            <a:pPr>
              <a:spcBef>
                <a:spcPts val="0"/>
              </a:spcBef>
              <a:spcAft>
                <a:spcPts val="0"/>
              </a:spcAft>
              <a:buClr>
                <a:schemeClr val="accent4">
                  <a:lumMod val="75000"/>
                </a:schemeClr>
              </a:buClr>
            </a:pPr>
            <a:r>
              <a:rPr lang="es-MX"/>
              <a:t>El equipo QA tiene el compromiso de cerrar hoy la actualización de los C.A de 4 EP.</a:t>
            </a:r>
          </a:p>
          <a:p>
            <a:pPr>
              <a:spcBef>
                <a:spcPts val="0"/>
              </a:spcBef>
              <a:spcAft>
                <a:spcPts val="0"/>
              </a:spcAft>
              <a:buClr>
                <a:schemeClr val="accent4">
                  <a:lumMod val="75000"/>
                </a:schemeClr>
              </a:buClr>
            </a:pPr>
            <a:r>
              <a:rPr lang="es-MX"/>
              <a:t>Dependemos de la entrega de estos 4 EP el 28/01 para iniciar las pruebas.</a:t>
            </a:r>
          </a:p>
        </p:txBody>
      </p:sp>
      <p:sp>
        <p:nvSpPr>
          <p:cNvPr id="35" name="CuadroTexto 34">
            <a:extLst>
              <a:ext uri="{FF2B5EF4-FFF2-40B4-BE49-F238E27FC236}">
                <a16:creationId xmlns:a16="http://schemas.microsoft.com/office/drawing/2014/main" id="{D55D9C35-E3D9-0EB3-6296-1AEFB2D58AF0}"/>
              </a:ext>
            </a:extLst>
          </p:cNvPr>
          <p:cNvSpPr txBox="1"/>
          <p:nvPr/>
        </p:nvSpPr>
        <p:spPr>
          <a:xfrm>
            <a:off x="9769600" y="-29034"/>
            <a:ext cx="2200342" cy="435599"/>
          </a:xfrm>
          <a:prstGeom prst="rect">
            <a:avLst/>
          </a:prstGeom>
        </p:spPr>
        <p:txBody>
          <a:bodyPr vert="horz" wrap="square" lIns="0" tIns="180000" rIns="0" bIns="0" rtlCol="0" anchor="t">
            <a:noAutofit/>
          </a:bodyPr>
          <a:lstStyle/>
          <a:p>
            <a:pPr algn="just">
              <a:spcBef>
                <a:spcPts val="1200"/>
              </a:spcBef>
              <a:spcAft>
                <a:spcPts val="1200"/>
              </a:spcAft>
            </a:pPr>
            <a:endParaRPr lang="es-MX" sz="1200">
              <a:solidFill>
                <a:schemeClr val="bg2">
                  <a:lumMod val="75000"/>
                </a:schemeClr>
              </a:solidFill>
            </a:endParaRPr>
          </a:p>
        </p:txBody>
      </p:sp>
      <p:sp>
        <p:nvSpPr>
          <p:cNvPr id="36" name="CuadroTexto 35">
            <a:extLst>
              <a:ext uri="{FF2B5EF4-FFF2-40B4-BE49-F238E27FC236}">
                <a16:creationId xmlns:a16="http://schemas.microsoft.com/office/drawing/2014/main" id="{CC65946E-2A41-4F29-F8FE-2BB5FB423C15}"/>
              </a:ext>
            </a:extLst>
          </p:cNvPr>
          <p:cNvSpPr txBox="1"/>
          <p:nvPr/>
        </p:nvSpPr>
        <p:spPr>
          <a:xfrm>
            <a:off x="10829073" y="1577674"/>
            <a:ext cx="799215" cy="393266"/>
          </a:xfrm>
          <a:prstGeom prst="rect">
            <a:avLst/>
          </a:prstGeom>
        </p:spPr>
        <p:txBody>
          <a:bodyPr vert="horz" wrap="square" lIns="0" tIns="180000" rIns="0" bIns="0" rtlCol="0" anchor="t">
            <a:noAutofit/>
          </a:bodyPr>
          <a:lstStyle/>
          <a:p>
            <a:pPr algn="just">
              <a:spcBef>
                <a:spcPts val="1200"/>
              </a:spcBef>
              <a:spcAft>
                <a:spcPts val="1200"/>
              </a:spcAft>
            </a:pPr>
            <a:r>
              <a:rPr lang="es-MX" sz="1200" b="1">
                <a:solidFill>
                  <a:schemeClr val="bg2">
                    <a:lumMod val="75000"/>
                  </a:schemeClr>
                </a:solidFill>
              </a:rPr>
              <a:t>23/01/2026</a:t>
            </a:r>
          </a:p>
          <a:p>
            <a:pPr algn="just">
              <a:spcBef>
                <a:spcPts val="1200"/>
              </a:spcBef>
              <a:spcAft>
                <a:spcPts val="1200"/>
              </a:spcAft>
            </a:pPr>
            <a:endParaRPr lang="es-MX" sz="1200" b="1">
              <a:solidFill>
                <a:schemeClr val="bg2">
                  <a:lumMod val="75000"/>
                </a:schemeClr>
              </a:solidFill>
            </a:endParaRPr>
          </a:p>
        </p:txBody>
      </p:sp>
      <p:sp>
        <p:nvSpPr>
          <p:cNvPr id="40" name="CuadroTexto 39">
            <a:extLst>
              <a:ext uri="{FF2B5EF4-FFF2-40B4-BE49-F238E27FC236}">
                <a16:creationId xmlns:a16="http://schemas.microsoft.com/office/drawing/2014/main" id="{902CD1F5-B551-C6EF-5745-DAE46ED9BA47}"/>
              </a:ext>
            </a:extLst>
          </p:cNvPr>
          <p:cNvSpPr txBox="1"/>
          <p:nvPr/>
        </p:nvSpPr>
        <p:spPr>
          <a:xfrm>
            <a:off x="10608288" y="6304006"/>
            <a:ext cx="2686497" cy="1256535"/>
          </a:xfrm>
          <a:prstGeom prst="rect">
            <a:avLst/>
          </a:prstGeom>
        </p:spPr>
        <p:txBody>
          <a:bodyPr vert="horz" wrap="square" lIns="0" tIns="180000" rIns="0" bIns="0" rtlCol="0" anchor="t">
            <a:noAutofit/>
          </a:bodyPr>
          <a:lstStyle/>
          <a:p>
            <a:pPr algn="just">
              <a:spcBef>
                <a:spcPts val="1200"/>
              </a:spcBef>
              <a:spcAft>
                <a:spcPts val="1200"/>
              </a:spcAft>
            </a:pPr>
            <a:endParaRPr lang="es-MX" sz="1200">
              <a:solidFill>
                <a:schemeClr val="bg2">
                  <a:lumMod val="75000"/>
                </a:schemeClr>
              </a:solidFill>
            </a:endParaRPr>
          </a:p>
        </p:txBody>
      </p:sp>
      <p:sp>
        <p:nvSpPr>
          <p:cNvPr id="41" name="CuadroTexto 40">
            <a:extLst>
              <a:ext uri="{FF2B5EF4-FFF2-40B4-BE49-F238E27FC236}">
                <a16:creationId xmlns:a16="http://schemas.microsoft.com/office/drawing/2014/main" id="{17FA6F59-1D00-AECD-83CF-7E73100ABD1D}"/>
              </a:ext>
            </a:extLst>
          </p:cNvPr>
          <p:cNvSpPr txBox="1"/>
          <p:nvPr/>
        </p:nvSpPr>
        <p:spPr>
          <a:xfrm>
            <a:off x="10386976" y="-97855"/>
            <a:ext cx="2200342" cy="435599"/>
          </a:xfrm>
          <a:prstGeom prst="rect">
            <a:avLst/>
          </a:prstGeom>
        </p:spPr>
        <p:txBody>
          <a:bodyPr vert="horz" wrap="square" lIns="0" tIns="180000" rIns="0" bIns="0" rtlCol="0" anchor="t">
            <a:noAutofit/>
          </a:bodyPr>
          <a:lstStyle/>
          <a:p>
            <a:pPr algn="just">
              <a:spcBef>
                <a:spcPts val="1200"/>
              </a:spcBef>
              <a:spcAft>
                <a:spcPts val="1200"/>
              </a:spcAft>
            </a:pPr>
            <a:endParaRPr lang="es-MX" sz="1200">
              <a:solidFill>
                <a:schemeClr val="bg2">
                  <a:lumMod val="75000"/>
                </a:schemeClr>
              </a:solidFill>
            </a:endParaRPr>
          </a:p>
        </p:txBody>
      </p:sp>
      <p:sp>
        <p:nvSpPr>
          <p:cNvPr id="42" name="CuadroTexto 41">
            <a:extLst>
              <a:ext uri="{FF2B5EF4-FFF2-40B4-BE49-F238E27FC236}">
                <a16:creationId xmlns:a16="http://schemas.microsoft.com/office/drawing/2014/main" id="{B8114B13-E468-77A0-9795-49791900227C}"/>
              </a:ext>
            </a:extLst>
          </p:cNvPr>
          <p:cNvSpPr txBox="1"/>
          <p:nvPr/>
        </p:nvSpPr>
        <p:spPr>
          <a:xfrm>
            <a:off x="9769600" y="6104731"/>
            <a:ext cx="2686497" cy="768716"/>
          </a:xfrm>
          <a:prstGeom prst="rect">
            <a:avLst/>
          </a:prstGeom>
        </p:spPr>
        <p:txBody>
          <a:bodyPr vert="horz" wrap="square" lIns="0" tIns="180000" rIns="0" bIns="0" rtlCol="0" anchor="t">
            <a:noAutofit/>
          </a:bodyPr>
          <a:lstStyle/>
          <a:p>
            <a:pPr algn="just">
              <a:spcBef>
                <a:spcPts val="1200"/>
              </a:spcBef>
              <a:spcAft>
                <a:spcPts val="1200"/>
              </a:spcAft>
            </a:pPr>
            <a:endParaRPr lang="es-MX" sz="1200">
              <a:solidFill>
                <a:schemeClr val="bg2">
                  <a:lumMod val="75000"/>
                </a:schemeClr>
              </a:solidFill>
            </a:endParaRPr>
          </a:p>
        </p:txBody>
      </p:sp>
      <p:sp>
        <p:nvSpPr>
          <p:cNvPr id="8" name="CuadroTexto 7">
            <a:extLst>
              <a:ext uri="{FF2B5EF4-FFF2-40B4-BE49-F238E27FC236}">
                <a16:creationId xmlns:a16="http://schemas.microsoft.com/office/drawing/2014/main" id="{DFAB1B3B-1204-4633-5AE6-5F161B4399DC}"/>
              </a:ext>
            </a:extLst>
          </p:cNvPr>
          <p:cNvSpPr txBox="1"/>
          <p:nvPr/>
        </p:nvSpPr>
        <p:spPr>
          <a:xfrm>
            <a:off x="631447" y="1429985"/>
            <a:ext cx="2200342" cy="435599"/>
          </a:xfrm>
          <a:prstGeom prst="rect">
            <a:avLst/>
          </a:prstGeom>
        </p:spPr>
        <p:txBody>
          <a:bodyPr vert="horz" wrap="square" lIns="0" tIns="180000" rIns="0" bIns="0" rtlCol="0" anchor="t">
            <a:noAutofit/>
          </a:bodyPr>
          <a:lstStyle/>
          <a:p>
            <a:pPr>
              <a:spcBef>
                <a:spcPts val="1200"/>
              </a:spcBef>
              <a:spcAft>
                <a:spcPts val="1200"/>
              </a:spcAft>
              <a:buClr>
                <a:schemeClr val="accent4"/>
              </a:buClr>
            </a:pPr>
            <a:r>
              <a:rPr lang="es-MX" sz="1200" b="1">
                <a:solidFill>
                  <a:schemeClr val="bg2">
                    <a:lumMod val="75000"/>
                  </a:schemeClr>
                </a:solidFill>
              </a:rPr>
              <a:t>CCA Primera Entrega |  DEV</a:t>
            </a:r>
            <a:br>
              <a:rPr lang="es-ES" sz="1200" b="1">
                <a:solidFill>
                  <a:schemeClr val="bg2">
                    <a:lumMod val="75000"/>
                  </a:schemeClr>
                </a:solidFill>
              </a:rPr>
            </a:br>
            <a:r>
              <a:rPr lang="es-ES" sz="1200" b="1">
                <a:solidFill>
                  <a:schemeClr val="bg2">
                    <a:lumMod val="75000"/>
                  </a:schemeClr>
                </a:solidFill>
              </a:rPr>
              <a:t>4 EndPoints (Nuevo PI 1)</a:t>
            </a:r>
            <a:br>
              <a:rPr lang="es-MX" sz="1200" b="1">
                <a:solidFill>
                  <a:schemeClr val="bg2">
                    <a:lumMod val="75000"/>
                  </a:schemeClr>
                </a:solidFill>
              </a:rPr>
            </a:br>
            <a:r>
              <a:rPr lang="es-MX" sz="1200" b="1">
                <a:solidFill>
                  <a:schemeClr val="bg2">
                    <a:lumMod val="75000"/>
                  </a:schemeClr>
                </a:solidFill>
              </a:rPr>
              <a:t>GENERA DOCUMENTACIÓN</a:t>
            </a:r>
            <a:endParaRPr lang="es-ES" sz="1200" b="1">
              <a:solidFill>
                <a:schemeClr val="bg2">
                  <a:lumMod val="75000"/>
                </a:schemeClr>
              </a:solidFill>
            </a:endParaRPr>
          </a:p>
        </p:txBody>
      </p:sp>
      <p:sp>
        <p:nvSpPr>
          <p:cNvPr id="71" name="CuadroTexto 70">
            <a:extLst>
              <a:ext uri="{FF2B5EF4-FFF2-40B4-BE49-F238E27FC236}">
                <a16:creationId xmlns:a16="http://schemas.microsoft.com/office/drawing/2014/main" id="{438D4447-0AA7-3D17-0867-91D930B9FA64}"/>
              </a:ext>
            </a:extLst>
          </p:cNvPr>
          <p:cNvSpPr txBox="1"/>
          <p:nvPr/>
        </p:nvSpPr>
        <p:spPr>
          <a:xfrm>
            <a:off x="10136711" y="6401802"/>
            <a:ext cx="2686497" cy="768716"/>
          </a:xfrm>
          <a:prstGeom prst="rect">
            <a:avLst/>
          </a:prstGeom>
        </p:spPr>
        <p:txBody>
          <a:bodyPr vert="horz" wrap="square" lIns="0" tIns="180000" rIns="0" bIns="0" rtlCol="0" anchor="t">
            <a:noAutofit/>
          </a:bodyPr>
          <a:lstStyle/>
          <a:p>
            <a:pPr algn="just">
              <a:spcBef>
                <a:spcPts val="1200"/>
              </a:spcBef>
              <a:spcAft>
                <a:spcPts val="1200"/>
              </a:spcAft>
            </a:pPr>
            <a:endParaRPr lang="es-MX" sz="1200">
              <a:solidFill>
                <a:schemeClr val="bg2">
                  <a:lumMod val="75000"/>
                </a:schemeClr>
              </a:solidFill>
            </a:endParaRPr>
          </a:p>
        </p:txBody>
      </p:sp>
      <p:sp>
        <p:nvSpPr>
          <p:cNvPr id="74" name="Title 5">
            <a:extLst>
              <a:ext uri="{FF2B5EF4-FFF2-40B4-BE49-F238E27FC236}">
                <a16:creationId xmlns:a16="http://schemas.microsoft.com/office/drawing/2014/main" id="{D0EF8EE8-460E-D5B8-3196-14C19B6F9A7F}"/>
              </a:ext>
            </a:extLst>
          </p:cNvPr>
          <p:cNvSpPr txBox="1">
            <a:spLocks/>
          </p:cNvSpPr>
          <p:nvPr/>
        </p:nvSpPr>
        <p:spPr>
          <a:xfrm>
            <a:off x="572521" y="249728"/>
            <a:ext cx="11090275" cy="614413"/>
          </a:xfrm>
          <a:prstGeom prst="rect">
            <a:avLst/>
          </a:prstGeom>
        </p:spPr>
        <p:txBody>
          <a:bodyPr vert="horz" lIns="0" tIns="0" rIns="0" bIns="0" rtlCol="0" anchor="b">
            <a:noAutofit/>
          </a:bodyPr>
          <a:lstStyle>
            <a:lvl1pPr algn="l" defTabSz="911045" rtl="0" eaLnBrk="1" latinLnBrk="0" hangingPunct="1">
              <a:lnSpc>
                <a:spcPts val="2396"/>
              </a:lnSpc>
              <a:spcBef>
                <a:spcPct val="0"/>
              </a:spcBef>
              <a:buNone/>
              <a:defRPr lang="en-US" sz="2396" b="1" kern="1200">
                <a:solidFill>
                  <a:schemeClr val="tx1"/>
                </a:solidFill>
                <a:latin typeface="+mj-lt"/>
                <a:ea typeface="+mj-ea"/>
                <a:cs typeface="Arial" panose="020B0604020202020204" pitchFamily="34" charset="0"/>
              </a:defRPr>
            </a:lvl1pPr>
          </a:lstStyle>
          <a:p>
            <a:pPr marL="0" marR="0" lvl="0" indent="0" algn="l" defTabSz="911045" rtl="0" eaLnBrk="1" fontAlgn="auto" latinLnBrk="0" hangingPunct="1">
              <a:lnSpc>
                <a:spcPts val="2396"/>
              </a:lnSpc>
              <a:spcBef>
                <a:spcPct val="0"/>
              </a:spcBef>
              <a:spcAft>
                <a:spcPts val="0"/>
              </a:spcAft>
              <a:buClrTx/>
              <a:buSzTx/>
              <a:buFontTx/>
              <a:buNone/>
              <a:tabLst/>
              <a:defRPr/>
            </a:pPr>
            <a:r>
              <a:rPr kumimoji="0" lang="es-MX" sz="2400" b="1" i="0" u="none" strike="noStrike" kern="1200" cap="none" spc="0" normalizeH="0" baseline="0" noProof="0">
                <a:ln>
                  <a:noFill/>
                </a:ln>
                <a:solidFill>
                  <a:srgbClr val="EB0000"/>
                </a:solidFill>
                <a:effectLst/>
                <a:uLnTx/>
                <a:uFillTx/>
                <a:latin typeface="Santander Headline"/>
                <a:ea typeface="+mj-ea"/>
                <a:cs typeface="Arial"/>
              </a:rPr>
              <a:t>Seguimiento QA - INTEGRACIÓN</a:t>
            </a:r>
            <a:endParaRPr lang="es-MX" sz="2400">
              <a:solidFill>
                <a:srgbClr val="EB0000"/>
              </a:solidFill>
              <a:latin typeface="Santander Headline"/>
              <a:cs typeface="Arial"/>
            </a:endParaRPr>
          </a:p>
        </p:txBody>
      </p:sp>
      <p:sp>
        <p:nvSpPr>
          <p:cNvPr id="95" name="CuadroTexto 94">
            <a:extLst>
              <a:ext uri="{FF2B5EF4-FFF2-40B4-BE49-F238E27FC236}">
                <a16:creationId xmlns:a16="http://schemas.microsoft.com/office/drawing/2014/main" id="{3522BAA3-713F-E8EE-05BF-2E7686526ED0}"/>
              </a:ext>
            </a:extLst>
          </p:cNvPr>
          <p:cNvSpPr txBox="1"/>
          <p:nvPr/>
        </p:nvSpPr>
        <p:spPr>
          <a:xfrm>
            <a:off x="7960597" y="1425641"/>
            <a:ext cx="2285405" cy="435599"/>
          </a:xfrm>
          <a:prstGeom prst="rect">
            <a:avLst/>
          </a:prstGeom>
        </p:spPr>
        <p:txBody>
          <a:bodyPr vert="horz" wrap="square" lIns="0" tIns="180000" rIns="0" bIns="0" rtlCol="0" anchor="t">
            <a:noAutofit/>
          </a:bodyPr>
          <a:lstStyle>
            <a:defPPr>
              <a:defRPr lang="es-PE"/>
            </a:defPPr>
            <a:lvl1pPr marL="171450" indent="-171450" algn="just">
              <a:spcBef>
                <a:spcPts val="1200"/>
              </a:spcBef>
              <a:spcAft>
                <a:spcPts val="1200"/>
              </a:spcAft>
              <a:buClr>
                <a:schemeClr val="accent4"/>
              </a:buClr>
              <a:buFont typeface="Arial" panose="020B0604020202020204" pitchFamily="34" charset="0"/>
              <a:buChar char="•"/>
              <a:defRPr sz="1200">
                <a:solidFill>
                  <a:schemeClr val="bg2">
                    <a:lumMod val="75000"/>
                  </a:schemeClr>
                </a:solidFill>
              </a:defRPr>
            </a:lvl1pPr>
          </a:lstStyle>
          <a:p>
            <a:pPr algn="l">
              <a:spcBef>
                <a:spcPts val="0"/>
              </a:spcBef>
              <a:spcAft>
                <a:spcPts val="0"/>
              </a:spcAft>
              <a:buClr>
                <a:schemeClr val="accent4">
                  <a:lumMod val="75000"/>
                </a:schemeClr>
              </a:buClr>
            </a:pPr>
            <a:r>
              <a:rPr lang="es-MX"/>
              <a:t>Se está considerado 2 QA para cerrar esta actividad, no hay dependencias se tienen los DOR.</a:t>
            </a:r>
          </a:p>
          <a:p>
            <a:pPr algn="l">
              <a:buClr>
                <a:schemeClr val="accent4">
                  <a:lumMod val="75000"/>
                </a:schemeClr>
              </a:buClr>
            </a:pPr>
            <a:endParaRPr lang="es-MX"/>
          </a:p>
        </p:txBody>
      </p:sp>
      <p:cxnSp>
        <p:nvCxnSpPr>
          <p:cNvPr id="2" name="73 Conector recto">
            <a:extLst>
              <a:ext uri="{FF2B5EF4-FFF2-40B4-BE49-F238E27FC236}">
                <a16:creationId xmlns:a16="http://schemas.microsoft.com/office/drawing/2014/main" id="{920E5908-D134-194D-0B8F-0F3EB1216564}"/>
              </a:ext>
            </a:extLst>
          </p:cNvPr>
          <p:cNvCxnSpPr>
            <a:cxnSpLocks/>
          </p:cNvCxnSpPr>
          <p:nvPr/>
        </p:nvCxnSpPr>
        <p:spPr>
          <a:xfrm>
            <a:off x="514447" y="4526094"/>
            <a:ext cx="11268000" cy="0"/>
          </a:xfrm>
          <a:prstGeom prst="line">
            <a:avLst/>
          </a:prstGeom>
          <a:noFill/>
          <a:ln w="9525" cap="flat" cmpd="sng" algn="ctr">
            <a:solidFill>
              <a:sysClr val="window" lastClr="FFFFFF">
                <a:lumMod val="75000"/>
              </a:sysClr>
            </a:solidFill>
            <a:prstDash val="dash"/>
          </a:ln>
          <a:effectLst/>
        </p:spPr>
      </p:cxnSp>
      <p:grpSp>
        <p:nvGrpSpPr>
          <p:cNvPr id="7" name="105 Grupo">
            <a:extLst>
              <a:ext uri="{FF2B5EF4-FFF2-40B4-BE49-F238E27FC236}">
                <a16:creationId xmlns:a16="http://schemas.microsoft.com/office/drawing/2014/main" id="{7FA3520D-342F-CB72-BBE8-A980EB46C16F}"/>
              </a:ext>
            </a:extLst>
          </p:cNvPr>
          <p:cNvGrpSpPr/>
          <p:nvPr/>
        </p:nvGrpSpPr>
        <p:grpSpPr>
          <a:xfrm>
            <a:off x="3053261" y="2769920"/>
            <a:ext cx="260354" cy="410504"/>
            <a:chOff x="10600106" y="1424888"/>
            <a:chExt cx="618262" cy="974835"/>
          </a:xfrm>
        </p:grpSpPr>
        <p:sp>
          <p:nvSpPr>
            <p:cNvPr id="31" name="Freeform 96">
              <a:extLst>
                <a:ext uri="{FF2B5EF4-FFF2-40B4-BE49-F238E27FC236}">
                  <a16:creationId xmlns:a16="http://schemas.microsoft.com/office/drawing/2014/main" id="{9014B789-A64D-0B35-DA2C-7095922AF10C}"/>
                </a:ext>
              </a:extLst>
            </p:cNvPr>
            <p:cNvSpPr>
              <a:spLocks/>
            </p:cNvSpPr>
            <p:nvPr/>
          </p:nvSpPr>
          <p:spPr bwMode="gray">
            <a:xfrm flipH="1">
              <a:off x="11021750"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33" name="Freeform 96">
              <a:extLst>
                <a:ext uri="{FF2B5EF4-FFF2-40B4-BE49-F238E27FC236}">
                  <a16:creationId xmlns:a16="http://schemas.microsoft.com/office/drawing/2014/main" id="{AF44D176-1DA4-91E4-06F9-6771D7D543BF}"/>
                </a:ext>
              </a:extLst>
            </p:cNvPr>
            <p:cNvSpPr>
              <a:spLocks/>
            </p:cNvSpPr>
            <p:nvPr/>
          </p:nvSpPr>
          <p:spPr bwMode="gray">
            <a:xfrm flipH="1">
              <a:off x="11021752"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34" name="Freeform 97">
              <a:extLst>
                <a:ext uri="{FF2B5EF4-FFF2-40B4-BE49-F238E27FC236}">
                  <a16:creationId xmlns:a16="http://schemas.microsoft.com/office/drawing/2014/main" id="{BFFBBB33-3018-42BC-7B42-B20EAFCC1807}"/>
                </a:ext>
              </a:extLst>
            </p:cNvPr>
            <p:cNvSpPr>
              <a:spLocks/>
            </p:cNvSpPr>
            <p:nvPr/>
          </p:nvSpPr>
          <p:spPr bwMode="gray">
            <a:xfrm flipH="1">
              <a:off x="11021761"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43" name="Freeform 96">
              <a:extLst>
                <a:ext uri="{FF2B5EF4-FFF2-40B4-BE49-F238E27FC236}">
                  <a16:creationId xmlns:a16="http://schemas.microsoft.com/office/drawing/2014/main" id="{597C86AA-593F-8FF5-1C15-85D8EB910E79}"/>
                </a:ext>
              </a:extLst>
            </p:cNvPr>
            <p:cNvSpPr>
              <a:spLocks/>
            </p:cNvSpPr>
            <p:nvPr/>
          </p:nvSpPr>
          <p:spPr bwMode="gray">
            <a:xfrm>
              <a:off x="10600106"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70" name="Freeform 96">
              <a:extLst>
                <a:ext uri="{FF2B5EF4-FFF2-40B4-BE49-F238E27FC236}">
                  <a16:creationId xmlns:a16="http://schemas.microsoft.com/office/drawing/2014/main" id="{828D75D1-81EE-EF84-C86F-513D776412FB}"/>
                </a:ext>
              </a:extLst>
            </p:cNvPr>
            <p:cNvSpPr>
              <a:spLocks/>
            </p:cNvSpPr>
            <p:nvPr/>
          </p:nvSpPr>
          <p:spPr bwMode="gray">
            <a:xfrm>
              <a:off x="10600111"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73" name="Freeform 97">
              <a:extLst>
                <a:ext uri="{FF2B5EF4-FFF2-40B4-BE49-F238E27FC236}">
                  <a16:creationId xmlns:a16="http://schemas.microsoft.com/office/drawing/2014/main" id="{2985D11C-96CE-10E1-A883-42352C53CA8D}"/>
                </a:ext>
              </a:extLst>
            </p:cNvPr>
            <p:cNvSpPr>
              <a:spLocks/>
            </p:cNvSpPr>
            <p:nvPr/>
          </p:nvSpPr>
          <p:spPr bwMode="gray">
            <a:xfrm>
              <a:off x="10600122"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08" name="Freeform 95">
              <a:extLst>
                <a:ext uri="{FF2B5EF4-FFF2-40B4-BE49-F238E27FC236}">
                  <a16:creationId xmlns:a16="http://schemas.microsoft.com/office/drawing/2014/main" id="{4CACFDA1-C121-EB21-C93C-C1BDDE8E4393}"/>
                </a:ext>
              </a:extLst>
            </p:cNvPr>
            <p:cNvSpPr>
              <a:spLocks/>
            </p:cNvSpPr>
            <p:nvPr/>
          </p:nvSpPr>
          <p:spPr bwMode="gray">
            <a:xfrm>
              <a:off x="10725261" y="1424888"/>
              <a:ext cx="390660" cy="974835"/>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10" name="Freeform 98">
              <a:extLst>
                <a:ext uri="{FF2B5EF4-FFF2-40B4-BE49-F238E27FC236}">
                  <a16:creationId xmlns:a16="http://schemas.microsoft.com/office/drawing/2014/main" id="{984B9109-7C09-3984-DA0F-4842FD4FFE60}"/>
                </a:ext>
              </a:extLst>
            </p:cNvPr>
            <p:cNvSpPr>
              <a:spLocks/>
            </p:cNvSpPr>
            <p:nvPr/>
          </p:nvSpPr>
          <p:spPr bwMode="gray">
            <a:xfrm>
              <a:off x="10804414" y="1488519"/>
              <a:ext cx="229800" cy="229075"/>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11" name="Freeform 103">
              <a:extLst>
                <a:ext uri="{FF2B5EF4-FFF2-40B4-BE49-F238E27FC236}">
                  <a16:creationId xmlns:a16="http://schemas.microsoft.com/office/drawing/2014/main" id="{1E900C82-F2DB-A536-C55E-785C497E98BC}"/>
                </a:ext>
              </a:extLst>
            </p:cNvPr>
            <p:cNvSpPr>
              <a:spLocks/>
            </p:cNvSpPr>
            <p:nvPr/>
          </p:nvSpPr>
          <p:spPr bwMode="gray">
            <a:xfrm>
              <a:off x="10804441" y="1791403"/>
              <a:ext cx="229800" cy="231619"/>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23" name="Freeform 108">
              <a:extLst>
                <a:ext uri="{FF2B5EF4-FFF2-40B4-BE49-F238E27FC236}">
                  <a16:creationId xmlns:a16="http://schemas.microsoft.com/office/drawing/2014/main" id="{CB124EF5-8D51-25E9-5E10-53295355EE89}"/>
                </a:ext>
              </a:extLst>
            </p:cNvPr>
            <p:cNvSpPr>
              <a:spLocks/>
            </p:cNvSpPr>
            <p:nvPr/>
          </p:nvSpPr>
          <p:spPr bwMode="gray">
            <a:xfrm>
              <a:off x="10804464" y="2107009"/>
              <a:ext cx="229800" cy="229073"/>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rgbClr val="05BC57"/>
            </a:solidFill>
            <a:ln>
              <a:noFill/>
            </a:ln>
          </p:spPr>
          <p:txBody>
            <a:bodyPr vert="horz" wrap="square" lIns="91440" tIns="45720" rIns="91440" bIns="45720" numCol="1" anchor="t" anchorCtr="0" compatLnSpc="1">
              <a:prstTxWarp prst="textNoShape">
                <a:avLst/>
              </a:prstTxWarp>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grpSp>
      <p:sp>
        <p:nvSpPr>
          <p:cNvPr id="124" name="CuadroTexto 123">
            <a:extLst>
              <a:ext uri="{FF2B5EF4-FFF2-40B4-BE49-F238E27FC236}">
                <a16:creationId xmlns:a16="http://schemas.microsoft.com/office/drawing/2014/main" id="{FFA4D4C7-EF70-716F-BDC1-D8F3E3730990}"/>
              </a:ext>
            </a:extLst>
          </p:cNvPr>
          <p:cNvSpPr txBox="1"/>
          <p:nvPr/>
        </p:nvSpPr>
        <p:spPr>
          <a:xfrm>
            <a:off x="3622403" y="2571839"/>
            <a:ext cx="1489151" cy="1018905"/>
          </a:xfrm>
          <a:prstGeom prst="rect">
            <a:avLst/>
          </a:prstGeom>
        </p:spPr>
        <p:txBody>
          <a:bodyPr vert="horz" wrap="square" lIns="0" tIns="180000" rIns="0" bIns="0" rtlCol="0" anchor="t">
            <a:noAutofit/>
          </a:bodyPr>
          <a:lstStyle/>
          <a:p>
            <a:pPr marL="171450" indent="-171450" algn="just">
              <a:buClr>
                <a:schemeClr val="accent4">
                  <a:lumMod val="75000"/>
                </a:schemeClr>
              </a:buClr>
              <a:buFont typeface="Arial" panose="020B0604020202020204" pitchFamily="34" charset="0"/>
              <a:buChar char="•"/>
            </a:pPr>
            <a:r>
              <a:rPr lang="es-MX" sz="1200">
                <a:solidFill>
                  <a:schemeClr val="bg2">
                    <a:lumMod val="75000"/>
                  </a:schemeClr>
                </a:solidFill>
              </a:rPr>
              <a:t>Equipo SCB</a:t>
            </a:r>
          </a:p>
          <a:p>
            <a:pPr marL="171450" indent="-171450" algn="just">
              <a:buClr>
                <a:schemeClr val="accent4">
                  <a:lumMod val="75000"/>
                </a:schemeClr>
              </a:buClr>
              <a:buFont typeface="Arial" panose="020B0604020202020204" pitchFamily="34" charset="0"/>
              <a:buChar char="•"/>
            </a:pPr>
            <a:r>
              <a:rPr lang="es-MX" sz="1200">
                <a:solidFill>
                  <a:schemeClr val="bg2">
                    <a:lumMod val="75000"/>
                  </a:schemeClr>
                </a:solidFill>
              </a:rPr>
              <a:t>Carlos Abanto</a:t>
            </a:r>
            <a:endParaRPr lang="es-MX">
              <a:solidFill>
                <a:schemeClr val="bg2">
                  <a:lumMod val="75000"/>
                </a:schemeClr>
              </a:solidFill>
            </a:endParaRPr>
          </a:p>
        </p:txBody>
      </p:sp>
      <p:sp>
        <p:nvSpPr>
          <p:cNvPr id="125" name="CuadroTexto 124">
            <a:extLst>
              <a:ext uri="{FF2B5EF4-FFF2-40B4-BE49-F238E27FC236}">
                <a16:creationId xmlns:a16="http://schemas.microsoft.com/office/drawing/2014/main" id="{B98CE21E-5AF4-5206-B2BC-A6C86867CEA5}"/>
              </a:ext>
            </a:extLst>
          </p:cNvPr>
          <p:cNvSpPr txBox="1"/>
          <p:nvPr/>
        </p:nvSpPr>
        <p:spPr>
          <a:xfrm>
            <a:off x="5007380" y="2532613"/>
            <a:ext cx="2880000" cy="995701"/>
          </a:xfrm>
          <a:prstGeom prst="rect">
            <a:avLst/>
          </a:prstGeom>
        </p:spPr>
        <p:txBody>
          <a:bodyPr vert="horz" wrap="square" lIns="0" tIns="180000" rIns="0" bIns="0" rtlCol="0" anchor="t">
            <a:noAutofit/>
          </a:bodyPr>
          <a:lstStyle>
            <a:defPPr>
              <a:defRPr lang="es-PE"/>
            </a:defPPr>
            <a:lvl1pPr marL="171450" indent="-171450" algn="just">
              <a:spcBef>
                <a:spcPts val="1200"/>
              </a:spcBef>
              <a:spcAft>
                <a:spcPts val="1200"/>
              </a:spcAft>
              <a:buClr>
                <a:schemeClr val="accent4"/>
              </a:buClr>
              <a:buFont typeface="Arial" panose="020B0604020202020204" pitchFamily="34" charset="0"/>
              <a:buChar char="•"/>
              <a:defRPr sz="1200">
                <a:solidFill>
                  <a:schemeClr val="bg2">
                    <a:lumMod val="75000"/>
                  </a:schemeClr>
                </a:solidFill>
              </a:defRPr>
            </a:lvl1pPr>
          </a:lstStyle>
          <a:p>
            <a:pPr>
              <a:spcBef>
                <a:spcPts val="0"/>
              </a:spcBef>
              <a:spcAft>
                <a:spcPts val="0"/>
              </a:spcAft>
              <a:buClr>
                <a:schemeClr val="accent4">
                  <a:lumMod val="75000"/>
                </a:schemeClr>
              </a:buClr>
            </a:pPr>
            <a:r>
              <a:rPr lang="es-MX"/>
              <a:t>Se debe iniciar pruebas de 4 EndPoints el 29/01 y se deben finalizar el 30/01</a:t>
            </a:r>
          </a:p>
        </p:txBody>
      </p:sp>
      <p:sp>
        <p:nvSpPr>
          <p:cNvPr id="126" name="CuadroTexto 125">
            <a:extLst>
              <a:ext uri="{FF2B5EF4-FFF2-40B4-BE49-F238E27FC236}">
                <a16:creationId xmlns:a16="http://schemas.microsoft.com/office/drawing/2014/main" id="{486BFFD3-3641-1B97-7A8E-47F06B113215}"/>
              </a:ext>
            </a:extLst>
          </p:cNvPr>
          <p:cNvSpPr txBox="1"/>
          <p:nvPr/>
        </p:nvSpPr>
        <p:spPr>
          <a:xfrm>
            <a:off x="10878336" y="2771712"/>
            <a:ext cx="799217" cy="393266"/>
          </a:xfrm>
          <a:prstGeom prst="rect">
            <a:avLst/>
          </a:prstGeom>
        </p:spPr>
        <p:txBody>
          <a:bodyPr vert="horz" wrap="square" lIns="0" tIns="180000" rIns="0" bIns="0" rtlCol="0" anchor="t">
            <a:noAutofit/>
          </a:bodyPr>
          <a:lstStyle/>
          <a:p>
            <a:pPr algn="just">
              <a:spcBef>
                <a:spcPts val="1200"/>
              </a:spcBef>
              <a:spcAft>
                <a:spcPts val="1200"/>
              </a:spcAft>
            </a:pPr>
            <a:r>
              <a:rPr lang="es-MX" sz="1200" b="1">
                <a:solidFill>
                  <a:schemeClr val="bg2">
                    <a:lumMod val="75000"/>
                  </a:schemeClr>
                </a:solidFill>
              </a:rPr>
              <a:t>30/01/2026</a:t>
            </a:r>
          </a:p>
          <a:p>
            <a:pPr algn="just">
              <a:spcBef>
                <a:spcPts val="1200"/>
              </a:spcBef>
              <a:spcAft>
                <a:spcPts val="1200"/>
              </a:spcAft>
            </a:pPr>
            <a:endParaRPr lang="es-MX" sz="1200" b="1">
              <a:solidFill>
                <a:schemeClr val="bg2">
                  <a:lumMod val="75000"/>
                </a:schemeClr>
              </a:solidFill>
            </a:endParaRPr>
          </a:p>
        </p:txBody>
      </p:sp>
      <p:sp>
        <p:nvSpPr>
          <p:cNvPr id="127" name="CuadroTexto 126">
            <a:extLst>
              <a:ext uri="{FF2B5EF4-FFF2-40B4-BE49-F238E27FC236}">
                <a16:creationId xmlns:a16="http://schemas.microsoft.com/office/drawing/2014/main" id="{D419F198-5FA4-BE9B-D5D4-C47988FA5716}"/>
              </a:ext>
            </a:extLst>
          </p:cNvPr>
          <p:cNvSpPr txBox="1"/>
          <p:nvPr/>
        </p:nvSpPr>
        <p:spPr>
          <a:xfrm>
            <a:off x="631447" y="2547753"/>
            <a:ext cx="2200342" cy="657811"/>
          </a:xfrm>
          <a:prstGeom prst="rect">
            <a:avLst/>
          </a:prstGeom>
        </p:spPr>
        <p:txBody>
          <a:bodyPr vert="horz" wrap="square" lIns="0" tIns="180000" rIns="0" bIns="0" rtlCol="0" anchor="t">
            <a:noAutofit/>
          </a:bodyPr>
          <a:lstStyle/>
          <a:p>
            <a:pPr>
              <a:spcBef>
                <a:spcPts val="1200"/>
              </a:spcBef>
              <a:spcAft>
                <a:spcPts val="1200"/>
              </a:spcAft>
              <a:buClr>
                <a:schemeClr val="accent4"/>
              </a:buClr>
            </a:pPr>
            <a:r>
              <a:rPr lang="es-MX" sz="1200" b="1">
                <a:solidFill>
                  <a:schemeClr val="bg2">
                    <a:lumMod val="75000"/>
                  </a:schemeClr>
                </a:solidFill>
              </a:rPr>
              <a:t>CCA Primera Entrega |  DEV Y TEST</a:t>
            </a:r>
            <a:br>
              <a:rPr lang="es-ES" sz="1200" b="1">
                <a:solidFill>
                  <a:schemeClr val="bg2">
                    <a:lumMod val="75000"/>
                  </a:schemeClr>
                </a:solidFill>
              </a:rPr>
            </a:br>
            <a:r>
              <a:rPr lang="es-ES" sz="1200" b="1">
                <a:solidFill>
                  <a:schemeClr val="bg2">
                    <a:lumMod val="75000"/>
                  </a:schemeClr>
                </a:solidFill>
              </a:rPr>
              <a:t>4 EndPoints (Nuevo PI 1)</a:t>
            </a:r>
            <a:br>
              <a:rPr lang="es-MX" sz="1200" b="1">
                <a:solidFill>
                  <a:schemeClr val="bg2">
                    <a:lumMod val="75000"/>
                  </a:schemeClr>
                </a:solidFill>
              </a:rPr>
            </a:br>
            <a:r>
              <a:rPr lang="es-MX" sz="1200" b="1">
                <a:solidFill>
                  <a:schemeClr val="bg2">
                    <a:lumMod val="75000"/>
                  </a:schemeClr>
                </a:solidFill>
              </a:rPr>
              <a:t>EJECUCIÓN DE PRUEBAS</a:t>
            </a:r>
            <a:endParaRPr lang="es-ES" sz="1200" b="1">
              <a:solidFill>
                <a:schemeClr val="bg2">
                  <a:lumMod val="75000"/>
                </a:schemeClr>
              </a:solidFill>
            </a:endParaRPr>
          </a:p>
        </p:txBody>
      </p:sp>
      <p:sp>
        <p:nvSpPr>
          <p:cNvPr id="128" name="CuadroTexto 127">
            <a:extLst>
              <a:ext uri="{FF2B5EF4-FFF2-40B4-BE49-F238E27FC236}">
                <a16:creationId xmlns:a16="http://schemas.microsoft.com/office/drawing/2014/main" id="{A5704E22-6B69-238D-261F-1696B660FABB}"/>
              </a:ext>
            </a:extLst>
          </p:cNvPr>
          <p:cNvSpPr txBox="1"/>
          <p:nvPr/>
        </p:nvSpPr>
        <p:spPr>
          <a:xfrm>
            <a:off x="7975355" y="2537631"/>
            <a:ext cx="2285405" cy="435599"/>
          </a:xfrm>
          <a:prstGeom prst="rect">
            <a:avLst/>
          </a:prstGeom>
        </p:spPr>
        <p:txBody>
          <a:bodyPr vert="horz" wrap="square" lIns="0" tIns="180000" rIns="0" bIns="0" rtlCol="0" anchor="t">
            <a:noAutofit/>
          </a:bodyPr>
          <a:lstStyle>
            <a:defPPr>
              <a:defRPr lang="es-PE"/>
            </a:defPPr>
            <a:lvl1pPr marL="171450" indent="-171450" algn="just">
              <a:spcBef>
                <a:spcPts val="1200"/>
              </a:spcBef>
              <a:spcAft>
                <a:spcPts val="1200"/>
              </a:spcAft>
              <a:buClr>
                <a:schemeClr val="accent4"/>
              </a:buClr>
              <a:buFont typeface="Arial" panose="020B0604020202020204" pitchFamily="34" charset="0"/>
              <a:buChar char="•"/>
              <a:defRPr sz="1200">
                <a:solidFill>
                  <a:schemeClr val="bg2">
                    <a:lumMod val="75000"/>
                  </a:schemeClr>
                </a:solidFill>
              </a:defRPr>
            </a:lvl1pPr>
          </a:lstStyle>
          <a:p>
            <a:pPr algn="l">
              <a:spcBef>
                <a:spcPts val="0"/>
              </a:spcBef>
              <a:spcAft>
                <a:spcPts val="0"/>
              </a:spcAft>
              <a:buClr>
                <a:schemeClr val="accent4">
                  <a:lumMod val="75000"/>
                </a:schemeClr>
              </a:buClr>
            </a:pPr>
            <a:r>
              <a:rPr lang="es-MX"/>
              <a:t>Dependemos de la entrega del equipo de desarrollo SCB en fechas.</a:t>
            </a:r>
          </a:p>
          <a:p>
            <a:pPr algn="l">
              <a:buClr>
                <a:schemeClr val="accent4">
                  <a:lumMod val="75000"/>
                </a:schemeClr>
              </a:buClr>
            </a:pPr>
            <a:endParaRPr lang="es-MX"/>
          </a:p>
        </p:txBody>
      </p:sp>
      <p:cxnSp>
        <p:nvCxnSpPr>
          <p:cNvPr id="11" name="73 Conector recto">
            <a:extLst>
              <a:ext uri="{FF2B5EF4-FFF2-40B4-BE49-F238E27FC236}">
                <a16:creationId xmlns:a16="http://schemas.microsoft.com/office/drawing/2014/main" id="{5E4051B6-9992-E86E-89BF-9F52B0FC2738}"/>
              </a:ext>
            </a:extLst>
          </p:cNvPr>
          <p:cNvCxnSpPr>
            <a:cxnSpLocks/>
          </p:cNvCxnSpPr>
          <p:nvPr/>
        </p:nvCxnSpPr>
        <p:spPr>
          <a:xfrm>
            <a:off x="465507" y="5521432"/>
            <a:ext cx="11268000" cy="0"/>
          </a:xfrm>
          <a:prstGeom prst="line">
            <a:avLst/>
          </a:prstGeom>
          <a:noFill/>
          <a:ln w="9525" cap="flat" cmpd="sng" algn="ctr">
            <a:solidFill>
              <a:sysClr val="window" lastClr="FFFFFF">
                <a:lumMod val="75000"/>
              </a:sysClr>
            </a:solidFill>
            <a:prstDash val="dash"/>
          </a:ln>
          <a:effectLst/>
        </p:spPr>
      </p:cxnSp>
      <p:grpSp>
        <p:nvGrpSpPr>
          <p:cNvPr id="12" name="105 Grupo">
            <a:extLst>
              <a:ext uri="{FF2B5EF4-FFF2-40B4-BE49-F238E27FC236}">
                <a16:creationId xmlns:a16="http://schemas.microsoft.com/office/drawing/2014/main" id="{5D10B80B-C4AD-53A8-A53C-410191EEDA17}"/>
              </a:ext>
            </a:extLst>
          </p:cNvPr>
          <p:cNvGrpSpPr/>
          <p:nvPr/>
        </p:nvGrpSpPr>
        <p:grpSpPr>
          <a:xfrm>
            <a:off x="2938453" y="5785345"/>
            <a:ext cx="260354" cy="410504"/>
            <a:chOff x="10600106" y="1424888"/>
            <a:chExt cx="618262" cy="974835"/>
          </a:xfrm>
        </p:grpSpPr>
        <p:sp>
          <p:nvSpPr>
            <p:cNvPr id="13" name="Freeform 96">
              <a:extLst>
                <a:ext uri="{FF2B5EF4-FFF2-40B4-BE49-F238E27FC236}">
                  <a16:creationId xmlns:a16="http://schemas.microsoft.com/office/drawing/2014/main" id="{93DAE1D4-C9F4-3926-B619-667A059DE002}"/>
                </a:ext>
              </a:extLst>
            </p:cNvPr>
            <p:cNvSpPr>
              <a:spLocks/>
            </p:cNvSpPr>
            <p:nvPr/>
          </p:nvSpPr>
          <p:spPr bwMode="gray">
            <a:xfrm flipH="1">
              <a:off x="11021750"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4" name="Freeform 96">
              <a:extLst>
                <a:ext uri="{FF2B5EF4-FFF2-40B4-BE49-F238E27FC236}">
                  <a16:creationId xmlns:a16="http://schemas.microsoft.com/office/drawing/2014/main" id="{2A0F312A-9196-1806-48E4-578CA3653E4D}"/>
                </a:ext>
              </a:extLst>
            </p:cNvPr>
            <p:cNvSpPr>
              <a:spLocks/>
            </p:cNvSpPr>
            <p:nvPr/>
          </p:nvSpPr>
          <p:spPr bwMode="gray">
            <a:xfrm flipH="1">
              <a:off x="11021752"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5" name="Freeform 97">
              <a:extLst>
                <a:ext uri="{FF2B5EF4-FFF2-40B4-BE49-F238E27FC236}">
                  <a16:creationId xmlns:a16="http://schemas.microsoft.com/office/drawing/2014/main" id="{57720F88-75FF-68FE-01A9-376C9A804FAF}"/>
                </a:ext>
              </a:extLst>
            </p:cNvPr>
            <p:cNvSpPr>
              <a:spLocks/>
            </p:cNvSpPr>
            <p:nvPr/>
          </p:nvSpPr>
          <p:spPr bwMode="gray">
            <a:xfrm flipH="1">
              <a:off x="11021761"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6" name="Freeform 96">
              <a:extLst>
                <a:ext uri="{FF2B5EF4-FFF2-40B4-BE49-F238E27FC236}">
                  <a16:creationId xmlns:a16="http://schemas.microsoft.com/office/drawing/2014/main" id="{C0F770C3-5F68-4A09-E380-0CB914102BDE}"/>
                </a:ext>
              </a:extLst>
            </p:cNvPr>
            <p:cNvSpPr>
              <a:spLocks/>
            </p:cNvSpPr>
            <p:nvPr/>
          </p:nvSpPr>
          <p:spPr bwMode="gray">
            <a:xfrm>
              <a:off x="10600106"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7" name="Freeform 96">
              <a:extLst>
                <a:ext uri="{FF2B5EF4-FFF2-40B4-BE49-F238E27FC236}">
                  <a16:creationId xmlns:a16="http://schemas.microsoft.com/office/drawing/2014/main" id="{F956825E-28A8-ED6C-F5BC-2C537503FD46}"/>
                </a:ext>
              </a:extLst>
            </p:cNvPr>
            <p:cNvSpPr>
              <a:spLocks/>
            </p:cNvSpPr>
            <p:nvPr/>
          </p:nvSpPr>
          <p:spPr bwMode="gray">
            <a:xfrm>
              <a:off x="10600111"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8" name="Freeform 97">
              <a:extLst>
                <a:ext uri="{FF2B5EF4-FFF2-40B4-BE49-F238E27FC236}">
                  <a16:creationId xmlns:a16="http://schemas.microsoft.com/office/drawing/2014/main" id="{C8D36457-455E-05A3-D362-249F7B7410E6}"/>
                </a:ext>
              </a:extLst>
            </p:cNvPr>
            <p:cNvSpPr>
              <a:spLocks/>
            </p:cNvSpPr>
            <p:nvPr/>
          </p:nvSpPr>
          <p:spPr bwMode="gray">
            <a:xfrm>
              <a:off x="10600122"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9" name="Freeform 95">
              <a:extLst>
                <a:ext uri="{FF2B5EF4-FFF2-40B4-BE49-F238E27FC236}">
                  <a16:creationId xmlns:a16="http://schemas.microsoft.com/office/drawing/2014/main" id="{89096F00-39EB-7A8F-8917-5B4E865E04E8}"/>
                </a:ext>
              </a:extLst>
            </p:cNvPr>
            <p:cNvSpPr>
              <a:spLocks/>
            </p:cNvSpPr>
            <p:nvPr/>
          </p:nvSpPr>
          <p:spPr bwMode="gray">
            <a:xfrm>
              <a:off x="10725261" y="1424888"/>
              <a:ext cx="390660" cy="974835"/>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20" name="Freeform 98">
              <a:extLst>
                <a:ext uri="{FF2B5EF4-FFF2-40B4-BE49-F238E27FC236}">
                  <a16:creationId xmlns:a16="http://schemas.microsoft.com/office/drawing/2014/main" id="{92C4515F-DA18-41BD-6354-3257EC832740}"/>
                </a:ext>
              </a:extLst>
            </p:cNvPr>
            <p:cNvSpPr>
              <a:spLocks/>
            </p:cNvSpPr>
            <p:nvPr/>
          </p:nvSpPr>
          <p:spPr bwMode="gray">
            <a:xfrm>
              <a:off x="10804414" y="1488519"/>
              <a:ext cx="229800" cy="229075"/>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21" name="Freeform 103">
              <a:extLst>
                <a:ext uri="{FF2B5EF4-FFF2-40B4-BE49-F238E27FC236}">
                  <a16:creationId xmlns:a16="http://schemas.microsoft.com/office/drawing/2014/main" id="{D9103F1E-9FFF-0134-BCB6-583E3AFAB525}"/>
                </a:ext>
              </a:extLst>
            </p:cNvPr>
            <p:cNvSpPr>
              <a:spLocks/>
            </p:cNvSpPr>
            <p:nvPr/>
          </p:nvSpPr>
          <p:spPr bwMode="gray">
            <a:xfrm>
              <a:off x="10804441" y="1791403"/>
              <a:ext cx="229800" cy="231619"/>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22" name="Freeform 108">
              <a:extLst>
                <a:ext uri="{FF2B5EF4-FFF2-40B4-BE49-F238E27FC236}">
                  <a16:creationId xmlns:a16="http://schemas.microsoft.com/office/drawing/2014/main" id="{F57334F5-66A4-B554-560C-BE33192E3043}"/>
                </a:ext>
              </a:extLst>
            </p:cNvPr>
            <p:cNvSpPr>
              <a:spLocks/>
            </p:cNvSpPr>
            <p:nvPr/>
          </p:nvSpPr>
          <p:spPr bwMode="gray">
            <a:xfrm>
              <a:off x="10804464" y="2107009"/>
              <a:ext cx="229800" cy="229073"/>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rgbClr val="05BC57"/>
            </a:solidFill>
            <a:ln>
              <a:noFill/>
            </a:ln>
          </p:spPr>
          <p:txBody>
            <a:bodyPr vert="horz" wrap="square" lIns="91440" tIns="45720" rIns="91440" bIns="45720" numCol="1" anchor="t" anchorCtr="0" compatLnSpc="1">
              <a:prstTxWarp prst="textNoShape">
                <a:avLst/>
              </a:prstTxWarp>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grpSp>
      <p:sp>
        <p:nvSpPr>
          <p:cNvPr id="23" name="CuadroTexto 22">
            <a:extLst>
              <a:ext uri="{FF2B5EF4-FFF2-40B4-BE49-F238E27FC236}">
                <a16:creationId xmlns:a16="http://schemas.microsoft.com/office/drawing/2014/main" id="{DDD35580-EB8E-AD60-1C80-02CDC066E79E}"/>
              </a:ext>
            </a:extLst>
          </p:cNvPr>
          <p:cNvSpPr txBox="1"/>
          <p:nvPr/>
        </p:nvSpPr>
        <p:spPr>
          <a:xfrm>
            <a:off x="3562139" y="5485529"/>
            <a:ext cx="1489151" cy="1018905"/>
          </a:xfrm>
          <a:prstGeom prst="rect">
            <a:avLst/>
          </a:prstGeom>
        </p:spPr>
        <p:txBody>
          <a:bodyPr vert="horz" wrap="square" lIns="0" tIns="180000" rIns="0" bIns="0" rtlCol="0" anchor="t">
            <a:noAutofit/>
          </a:bodyPr>
          <a:lstStyle/>
          <a:p>
            <a:pPr marL="171450" indent="-171450" algn="just">
              <a:buClr>
                <a:schemeClr val="accent4">
                  <a:lumMod val="75000"/>
                </a:schemeClr>
              </a:buClr>
              <a:buFont typeface="Arial" panose="020B0604020202020204" pitchFamily="34" charset="0"/>
              <a:buChar char="•"/>
            </a:pPr>
            <a:r>
              <a:rPr lang="es-MX" sz="1200">
                <a:solidFill>
                  <a:schemeClr val="bg2">
                    <a:lumMod val="75000"/>
                  </a:schemeClr>
                </a:solidFill>
              </a:rPr>
              <a:t>Equipo QA</a:t>
            </a:r>
            <a:endParaRPr lang="es-MX">
              <a:solidFill>
                <a:schemeClr val="bg2">
                  <a:lumMod val="75000"/>
                </a:schemeClr>
              </a:solidFill>
            </a:endParaRPr>
          </a:p>
        </p:txBody>
      </p:sp>
      <p:sp>
        <p:nvSpPr>
          <p:cNvPr id="24" name="CuadroTexto 23">
            <a:extLst>
              <a:ext uri="{FF2B5EF4-FFF2-40B4-BE49-F238E27FC236}">
                <a16:creationId xmlns:a16="http://schemas.microsoft.com/office/drawing/2014/main" id="{9422200E-6841-E07E-4CEC-AF763921BD7D}"/>
              </a:ext>
            </a:extLst>
          </p:cNvPr>
          <p:cNvSpPr txBox="1"/>
          <p:nvPr/>
        </p:nvSpPr>
        <p:spPr>
          <a:xfrm>
            <a:off x="4891551" y="5446303"/>
            <a:ext cx="2880000" cy="995701"/>
          </a:xfrm>
          <a:prstGeom prst="rect">
            <a:avLst/>
          </a:prstGeom>
        </p:spPr>
        <p:txBody>
          <a:bodyPr vert="horz" wrap="square" lIns="0" tIns="180000" rIns="0" bIns="0" rtlCol="0" anchor="t">
            <a:noAutofit/>
          </a:bodyPr>
          <a:lstStyle>
            <a:defPPr>
              <a:defRPr lang="es-PE"/>
            </a:defPPr>
            <a:lvl1pPr marL="171450" indent="-171450" algn="just">
              <a:spcBef>
                <a:spcPts val="1200"/>
              </a:spcBef>
              <a:spcAft>
                <a:spcPts val="1200"/>
              </a:spcAft>
              <a:buClr>
                <a:schemeClr val="accent4"/>
              </a:buClr>
              <a:buFont typeface="Arial" panose="020B0604020202020204" pitchFamily="34" charset="0"/>
              <a:buChar char="•"/>
              <a:defRPr sz="1200">
                <a:solidFill>
                  <a:schemeClr val="bg2">
                    <a:lumMod val="75000"/>
                  </a:schemeClr>
                </a:solidFill>
              </a:defRPr>
            </a:lvl1pPr>
          </a:lstStyle>
          <a:p>
            <a:pPr>
              <a:spcBef>
                <a:spcPts val="0"/>
              </a:spcBef>
              <a:spcAft>
                <a:spcPts val="0"/>
              </a:spcAft>
              <a:buClr>
                <a:schemeClr val="accent4">
                  <a:lumMod val="75000"/>
                </a:schemeClr>
              </a:buClr>
            </a:pPr>
            <a:r>
              <a:rPr lang="es-MX"/>
              <a:t>El equipo Globant debe cerrar el desarrollo de esta actualización 09/02 e iniciar prueba el 10/02 certificándolo el 13/02 </a:t>
            </a:r>
            <a:r>
              <a:rPr lang="es-MX" err="1"/>
              <a:t>dev</a:t>
            </a:r>
            <a:r>
              <a:rPr lang="es-MX"/>
              <a:t> y test</a:t>
            </a:r>
          </a:p>
        </p:txBody>
      </p:sp>
      <p:sp>
        <p:nvSpPr>
          <p:cNvPr id="25" name="CuadroTexto 24">
            <a:extLst>
              <a:ext uri="{FF2B5EF4-FFF2-40B4-BE49-F238E27FC236}">
                <a16:creationId xmlns:a16="http://schemas.microsoft.com/office/drawing/2014/main" id="{1934914B-2381-08F8-E0FF-277A9873A6DB}"/>
              </a:ext>
            </a:extLst>
          </p:cNvPr>
          <p:cNvSpPr txBox="1"/>
          <p:nvPr/>
        </p:nvSpPr>
        <p:spPr>
          <a:xfrm>
            <a:off x="10863579" y="5694047"/>
            <a:ext cx="799217" cy="393266"/>
          </a:xfrm>
          <a:prstGeom prst="rect">
            <a:avLst/>
          </a:prstGeom>
        </p:spPr>
        <p:txBody>
          <a:bodyPr vert="horz" wrap="square" lIns="0" tIns="180000" rIns="0" bIns="0" rtlCol="0" anchor="t">
            <a:noAutofit/>
          </a:bodyPr>
          <a:lstStyle/>
          <a:p>
            <a:pPr algn="just">
              <a:spcBef>
                <a:spcPts val="1200"/>
              </a:spcBef>
              <a:spcAft>
                <a:spcPts val="1200"/>
              </a:spcAft>
            </a:pPr>
            <a:r>
              <a:rPr lang="es-MX" sz="1200" b="1">
                <a:solidFill>
                  <a:schemeClr val="bg2">
                    <a:lumMod val="75000"/>
                  </a:schemeClr>
                </a:solidFill>
              </a:rPr>
              <a:t>13/02/2026</a:t>
            </a:r>
          </a:p>
          <a:p>
            <a:pPr algn="just">
              <a:spcBef>
                <a:spcPts val="1200"/>
              </a:spcBef>
              <a:spcAft>
                <a:spcPts val="1200"/>
              </a:spcAft>
            </a:pPr>
            <a:endParaRPr lang="es-MX" sz="1200" b="1">
              <a:solidFill>
                <a:schemeClr val="bg2">
                  <a:lumMod val="75000"/>
                </a:schemeClr>
              </a:solidFill>
            </a:endParaRPr>
          </a:p>
        </p:txBody>
      </p:sp>
      <p:sp>
        <p:nvSpPr>
          <p:cNvPr id="26" name="CuadroTexto 25">
            <a:extLst>
              <a:ext uri="{FF2B5EF4-FFF2-40B4-BE49-F238E27FC236}">
                <a16:creationId xmlns:a16="http://schemas.microsoft.com/office/drawing/2014/main" id="{DA336E3B-191C-3095-34D8-BD15B929B76B}"/>
              </a:ext>
            </a:extLst>
          </p:cNvPr>
          <p:cNvSpPr txBox="1"/>
          <p:nvPr/>
        </p:nvSpPr>
        <p:spPr>
          <a:xfrm>
            <a:off x="547412" y="5526340"/>
            <a:ext cx="2200342" cy="657811"/>
          </a:xfrm>
          <a:prstGeom prst="rect">
            <a:avLst/>
          </a:prstGeom>
        </p:spPr>
        <p:txBody>
          <a:bodyPr vert="horz" wrap="square" lIns="0" tIns="180000" rIns="0" bIns="0" rtlCol="0" anchor="t">
            <a:noAutofit/>
          </a:bodyPr>
          <a:lstStyle/>
          <a:p>
            <a:pPr>
              <a:spcBef>
                <a:spcPts val="1200"/>
              </a:spcBef>
              <a:spcAft>
                <a:spcPts val="1200"/>
              </a:spcAft>
              <a:buClr>
                <a:schemeClr val="accent4"/>
              </a:buClr>
            </a:pPr>
            <a:r>
              <a:rPr lang="es-MX" sz="1200" b="1">
                <a:solidFill>
                  <a:schemeClr val="bg2">
                    <a:lumMod val="75000"/>
                  </a:schemeClr>
                </a:solidFill>
              </a:rPr>
              <a:t>CCA Primera Entrega |  DEV Y TEST</a:t>
            </a:r>
            <a:br>
              <a:rPr lang="es-ES" sz="1200" b="1">
                <a:solidFill>
                  <a:schemeClr val="bg2">
                    <a:lumMod val="75000"/>
                  </a:schemeClr>
                </a:solidFill>
              </a:rPr>
            </a:br>
            <a:r>
              <a:rPr lang="es-ES" sz="1200" b="1">
                <a:solidFill>
                  <a:schemeClr val="bg2">
                    <a:lumMod val="75000"/>
                  </a:schemeClr>
                </a:solidFill>
              </a:rPr>
              <a:t>1 EndPoints (Nuevo PI 1)</a:t>
            </a:r>
            <a:br>
              <a:rPr lang="es-ES" sz="1200" b="1">
                <a:solidFill>
                  <a:schemeClr val="bg2">
                    <a:lumMod val="75000"/>
                  </a:schemeClr>
                </a:solidFill>
              </a:rPr>
            </a:br>
            <a:r>
              <a:rPr lang="es-ES" sz="1200" b="1">
                <a:solidFill>
                  <a:schemeClr val="bg2">
                    <a:lumMod val="75000"/>
                  </a:schemeClr>
                </a:solidFill>
              </a:rPr>
              <a:t>EJECUCION DE PRUEBAS</a:t>
            </a:r>
            <a:endParaRPr lang="es-MX" sz="1200" b="1">
              <a:solidFill>
                <a:schemeClr val="bg2">
                  <a:lumMod val="75000"/>
                </a:schemeClr>
              </a:solidFill>
            </a:endParaRPr>
          </a:p>
        </p:txBody>
      </p:sp>
      <p:sp>
        <p:nvSpPr>
          <p:cNvPr id="29" name="CuadroTexto 28">
            <a:extLst>
              <a:ext uri="{FF2B5EF4-FFF2-40B4-BE49-F238E27FC236}">
                <a16:creationId xmlns:a16="http://schemas.microsoft.com/office/drawing/2014/main" id="{6A1F32A0-9D9C-387C-0749-2EC48FF53906}"/>
              </a:ext>
            </a:extLst>
          </p:cNvPr>
          <p:cNvSpPr txBox="1"/>
          <p:nvPr/>
        </p:nvSpPr>
        <p:spPr>
          <a:xfrm>
            <a:off x="7859526" y="5451321"/>
            <a:ext cx="2285405" cy="435599"/>
          </a:xfrm>
          <a:prstGeom prst="rect">
            <a:avLst/>
          </a:prstGeom>
        </p:spPr>
        <p:txBody>
          <a:bodyPr vert="horz" wrap="square" lIns="0" tIns="180000" rIns="0" bIns="0" rtlCol="0" anchor="t">
            <a:noAutofit/>
          </a:bodyPr>
          <a:lstStyle>
            <a:defPPr>
              <a:defRPr lang="es-PE"/>
            </a:defPPr>
            <a:lvl1pPr marL="171450" indent="-171450" algn="just">
              <a:spcBef>
                <a:spcPts val="1200"/>
              </a:spcBef>
              <a:spcAft>
                <a:spcPts val="1200"/>
              </a:spcAft>
              <a:buClr>
                <a:schemeClr val="accent4"/>
              </a:buClr>
              <a:buFont typeface="Arial" panose="020B0604020202020204" pitchFamily="34" charset="0"/>
              <a:buChar char="•"/>
              <a:defRPr sz="1200">
                <a:solidFill>
                  <a:schemeClr val="bg2">
                    <a:lumMod val="75000"/>
                  </a:schemeClr>
                </a:solidFill>
              </a:defRPr>
            </a:lvl1pPr>
          </a:lstStyle>
          <a:p>
            <a:pPr algn="l">
              <a:spcBef>
                <a:spcPts val="0"/>
              </a:spcBef>
              <a:spcAft>
                <a:spcPts val="0"/>
              </a:spcAft>
              <a:buClr>
                <a:schemeClr val="accent4">
                  <a:lumMod val="75000"/>
                </a:schemeClr>
              </a:buClr>
            </a:pPr>
            <a:r>
              <a:rPr lang="es-MX"/>
              <a:t>Dependemos de la entrega del equipo de desarrollo GLOBANT en fechas</a:t>
            </a:r>
          </a:p>
        </p:txBody>
      </p:sp>
      <p:grpSp>
        <p:nvGrpSpPr>
          <p:cNvPr id="5" name="105 Grupo">
            <a:extLst>
              <a:ext uri="{FF2B5EF4-FFF2-40B4-BE49-F238E27FC236}">
                <a16:creationId xmlns:a16="http://schemas.microsoft.com/office/drawing/2014/main" id="{5936EF38-7B76-2E86-73EE-4BEE809606C9}"/>
              </a:ext>
            </a:extLst>
          </p:cNvPr>
          <p:cNvGrpSpPr/>
          <p:nvPr/>
        </p:nvGrpSpPr>
        <p:grpSpPr>
          <a:xfrm>
            <a:off x="2981931" y="4807992"/>
            <a:ext cx="260354" cy="410504"/>
            <a:chOff x="10600106" y="1424888"/>
            <a:chExt cx="618262" cy="974835"/>
          </a:xfrm>
        </p:grpSpPr>
        <p:sp>
          <p:nvSpPr>
            <p:cNvPr id="27" name="Freeform 96">
              <a:extLst>
                <a:ext uri="{FF2B5EF4-FFF2-40B4-BE49-F238E27FC236}">
                  <a16:creationId xmlns:a16="http://schemas.microsoft.com/office/drawing/2014/main" id="{69138CD3-8373-EE3E-D2E0-1D9CE96D87EB}"/>
                </a:ext>
              </a:extLst>
            </p:cNvPr>
            <p:cNvSpPr>
              <a:spLocks/>
            </p:cNvSpPr>
            <p:nvPr/>
          </p:nvSpPr>
          <p:spPr bwMode="gray">
            <a:xfrm flipH="1">
              <a:off x="11021750"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37" name="Freeform 96">
              <a:extLst>
                <a:ext uri="{FF2B5EF4-FFF2-40B4-BE49-F238E27FC236}">
                  <a16:creationId xmlns:a16="http://schemas.microsoft.com/office/drawing/2014/main" id="{08A85C9D-2C05-99D1-648A-FF850505DC19}"/>
                </a:ext>
              </a:extLst>
            </p:cNvPr>
            <p:cNvSpPr>
              <a:spLocks/>
            </p:cNvSpPr>
            <p:nvPr/>
          </p:nvSpPr>
          <p:spPr bwMode="gray">
            <a:xfrm flipH="1">
              <a:off x="11021752"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38" name="Freeform 97">
              <a:extLst>
                <a:ext uri="{FF2B5EF4-FFF2-40B4-BE49-F238E27FC236}">
                  <a16:creationId xmlns:a16="http://schemas.microsoft.com/office/drawing/2014/main" id="{8EDDA3C8-E83F-D83D-F41E-5EF6463BD61D}"/>
                </a:ext>
              </a:extLst>
            </p:cNvPr>
            <p:cNvSpPr>
              <a:spLocks/>
            </p:cNvSpPr>
            <p:nvPr/>
          </p:nvSpPr>
          <p:spPr bwMode="gray">
            <a:xfrm flipH="1">
              <a:off x="11021761"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39" name="Freeform 96">
              <a:extLst>
                <a:ext uri="{FF2B5EF4-FFF2-40B4-BE49-F238E27FC236}">
                  <a16:creationId xmlns:a16="http://schemas.microsoft.com/office/drawing/2014/main" id="{8E88DE0D-8B2D-2049-13EC-81A4CC48422E}"/>
                </a:ext>
              </a:extLst>
            </p:cNvPr>
            <p:cNvSpPr>
              <a:spLocks/>
            </p:cNvSpPr>
            <p:nvPr/>
          </p:nvSpPr>
          <p:spPr bwMode="gray">
            <a:xfrm>
              <a:off x="10600106"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46" name="Freeform 96">
              <a:extLst>
                <a:ext uri="{FF2B5EF4-FFF2-40B4-BE49-F238E27FC236}">
                  <a16:creationId xmlns:a16="http://schemas.microsoft.com/office/drawing/2014/main" id="{1AE907BC-C53F-F471-7DD2-9745A28EE5D0}"/>
                </a:ext>
              </a:extLst>
            </p:cNvPr>
            <p:cNvSpPr>
              <a:spLocks/>
            </p:cNvSpPr>
            <p:nvPr/>
          </p:nvSpPr>
          <p:spPr bwMode="gray">
            <a:xfrm>
              <a:off x="10600111"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47" name="Freeform 97">
              <a:extLst>
                <a:ext uri="{FF2B5EF4-FFF2-40B4-BE49-F238E27FC236}">
                  <a16:creationId xmlns:a16="http://schemas.microsoft.com/office/drawing/2014/main" id="{0C88B8B1-BC4B-666C-85B3-0BF374FD9A6C}"/>
                </a:ext>
              </a:extLst>
            </p:cNvPr>
            <p:cNvSpPr>
              <a:spLocks/>
            </p:cNvSpPr>
            <p:nvPr/>
          </p:nvSpPr>
          <p:spPr bwMode="gray">
            <a:xfrm>
              <a:off x="10600122"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1" name="Freeform 95">
              <a:extLst>
                <a:ext uri="{FF2B5EF4-FFF2-40B4-BE49-F238E27FC236}">
                  <a16:creationId xmlns:a16="http://schemas.microsoft.com/office/drawing/2014/main" id="{E77B81A3-93EF-D5F1-9CDC-9C5541FBAD7F}"/>
                </a:ext>
              </a:extLst>
            </p:cNvPr>
            <p:cNvSpPr>
              <a:spLocks/>
            </p:cNvSpPr>
            <p:nvPr/>
          </p:nvSpPr>
          <p:spPr bwMode="gray">
            <a:xfrm>
              <a:off x="10725261" y="1424888"/>
              <a:ext cx="390660" cy="974835"/>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59" name="Freeform 98">
              <a:extLst>
                <a:ext uri="{FF2B5EF4-FFF2-40B4-BE49-F238E27FC236}">
                  <a16:creationId xmlns:a16="http://schemas.microsoft.com/office/drawing/2014/main" id="{0A1620F2-26ED-1301-E911-EB915848133A}"/>
                </a:ext>
              </a:extLst>
            </p:cNvPr>
            <p:cNvSpPr>
              <a:spLocks/>
            </p:cNvSpPr>
            <p:nvPr/>
          </p:nvSpPr>
          <p:spPr bwMode="gray">
            <a:xfrm>
              <a:off x="10804414" y="1488519"/>
              <a:ext cx="229800" cy="229075"/>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62" name="Freeform 103">
              <a:extLst>
                <a:ext uri="{FF2B5EF4-FFF2-40B4-BE49-F238E27FC236}">
                  <a16:creationId xmlns:a16="http://schemas.microsoft.com/office/drawing/2014/main" id="{5F8160AE-FFB6-0149-67EE-9FD9E98EC803}"/>
                </a:ext>
              </a:extLst>
            </p:cNvPr>
            <p:cNvSpPr>
              <a:spLocks/>
            </p:cNvSpPr>
            <p:nvPr/>
          </p:nvSpPr>
          <p:spPr bwMode="gray">
            <a:xfrm>
              <a:off x="10804441" y="1791403"/>
              <a:ext cx="229800" cy="231619"/>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63" name="Freeform 108">
              <a:extLst>
                <a:ext uri="{FF2B5EF4-FFF2-40B4-BE49-F238E27FC236}">
                  <a16:creationId xmlns:a16="http://schemas.microsoft.com/office/drawing/2014/main" id="{DE2B2F1C-F5FE-438C-5C36-F1BD4AEE164B}"/>
                </a:ext>
              </a:extLst>
            </p:cNvPr>
            <p:cNvSpPr>
              <a:spLocks/>
            </p:cNvSpPr>
            <p:nvPr/>
          </p:nvSpPr>
          <p:spPr bwMode="gray">
            <a:xfrm>
              <a:off x="10804464" y="2107009"/>
              <a:ext cx="229800" cy="229073"/>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rgbClr val="05BC57"/>
            </a:solidFill>
            <a:ln>
              <a:noFill/>
            </a:ln>
          </p:spPr>
          <p:txBody>
            <a:bodyPr vert="horz" wrap="square" lIns="91440" tIns="45720" rIns="91440" bIns="45720" numCol="1" anchor="t" anchorCtr="0" compatLnSpc="1">
              <a:prstTxWarp prst="textNoShape">
                <a:avLst/>
              </a:prstTxWarp>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grpSp>
      <p:sp>
        <p:nvSpPr>
          <p:cNvPr id="64" name="CuadroTexto 63">
            <a:extLst>
              <a:ext uri="{FF2B5EF4-FFF2-40B4-BE49-F238E27FC236}">
                <a16:creationId xmlns:a16="http://schemas.microsoft.com/office/drawing/2014/main" id="{B4C811CB-C222-DF76-D2B3-D50A2624980E}"/>
              </a:ext>
            </a:extLst>
          </p:cNvPr>
          <p:cNvSpPr txBox="1"/>
          <p:nvPr/>
        </p:nvSpPr>
        <p:spPr>
          <a:xfrm>
            <a:off x="3562140" y="4638481"/>
            <a:ext cx="1489151" cy="1018905"/>
          </a:xfrm>
          <a:prstGeom prst="rect">
            <a:avLst/>
          </a:prstGeom>
        </p:spPr>
        <p:txBody>
          <a:bodyPr vert="horz" wrap="square" lIns="0" tIns="180000" rIns="0" bIns="0" rtlCol="0" anchor="t">
            <a:noAutofit/>
          </a:bodyPr>
          <a:lstStyle/>
          <a:p>
            <a:pPr marL="171450" indent="-171450" algn="just">
              <a:buClr>
                <a:schemeClr val="accent4">
                  <a:lumMod val="75000"/>
                </a:schemeClr>
              </a:buClr>
              <a:buFont typeface="Arial" panose="020B0604020202020204" pitchFamily="34" charset="0"/>
              <a:buChar char="•"/>
            </a:pPr>
            <a:r>
              <a:rPr lang="es-MX" sz="1200">
                <a:solidFill>
                  <a:schemeClr val="bg2">
                    <a:lumMod val="75000"/>
                  </a:schemeClr>
                </a:solidFill>
              </a:rPr>
              <a:t>Equipo QA</a:t>
            </a:r>
            <a:endParaRPr lang="es-MX">
              <a:solidFill>
                <a:schemeClr val="bg2">
                  <a:lumMod val="75000"/>
                </a:schemeClr>
              </a:solidFill>
            </a:endParaRPr>
          </a:p>
        </p:txBody>
      </p:sp>
      <p:sp>
        <p:nvSpPr>
          <p:cNvPr id="65" name="CuadroTexto 64">
            <a:extLst>
              <a:ext uri="{FF2B5EF4-FFF2-40B4-BE49-F238E27FC236}">
                <a16:creationId xmlns:a16="http://schemas.microsoft.com/office/drawing/2014/main" id="{05BF2152-1925-80A2-4F12-599B0C9BF168}"/>
              </a:ext>
            </a:extLst>
          </p:cNvPr>
          <p:cNvSpPr txBox="1"/>
          <p:nvPr/>
        </p:nvSpPr>
        <p:spPr>
          <a:xfrm>
            <a:off x="4947117" y="4599255"/>
            <a:ext cx="2880000" cy="995701"/>
          </a:xfrm>
          <a:prstGeom prst="rect">
            <a:avLst/>
          </a:prstGeom>
        </p:spPr>
        <p:txBody>
          <a:bodyPr vert="horz" wrap="square" lIns="0" tIns="180000" rIns="0" bIns="0" rtlCol="0" anchor="t">
            <a:noAutofit/>
          </a:bodyPr>
          <a:lstStyle>
            <a:defPPr>
              <a:defRPr lang="es-PE"/>
            </a:defPPr>
            <a:lvl1pPr marL="171450" indent="-171450" algn="just">
              <a:spcBef>
                <a:spcPts val="1200"/>
              </a:spcBef>
              <a:spcAft>
                <a:spcPts val="1200"/>
              </a:spcAft>
              <a:buClr>
                <a:schemeClr val="accent4"/>
              </a:buClr>
              <a:buFont typeface="Arial" panose="020B0604020202020204" pitchFamily="34" charset="0"/>
              <a:buChar char="•"/>
              <a:defRPr sz="1200">
                <a:solidFill>
                  <a:schemeClr val="bg2">
                    <a:lumMod val="75000"/>
                  </a:schemeClr>
                </a:solidFill>
              </a:defRPr>
            </a:lvl1pPr>
          </a:lstStyle>
          <a:p>
            <a:pPr>
              <a:spcBef>
                <a:spcPts val="0"/>
              </a:spcBef>
              <a:spcAft>
                <a:spcPts val="0"/>
              </a:spcAft>
              <a:buClr>
                <a:schemeClr val="accent4">
                  <a:lumMod val="75000"/>
                </a:schemeClr>
              </a:buClr>
            </a:pPr>
            <a:r>
              <a:rPr lang="es-MX"/>
              <a:t>Se tiene planificado para iniciar el 02/02 y cerrarlo el 06/02 </a:t>
            </a:r>
          </a:p>
        </p:txBody>
      </p:sp>
      <p:sp>
        <p:nvSpPr>
          <p:cNvPr id="66" name="CuadroTexto 65">
            <a:extLst>
              <a:ext uri="{FF2B5EF4-FFF2-40B4-BE49-F238E27FC236}">
                <a16:creationId xmlns:a16="http://schemas.microsoft.com/office/drawing/2014/main" id="{6AC4596A-BCB3-E0B0-617C-717102101D0D}"/>
              </a:ext>
            </a:extLst>
          </p:cNvPr>
          <p:cNvSpPr txBox="1"/>
          <p:nvPr/>
        </p:nvSpPr>
        <p:spPr>
          <a:xfrm>
            <a:off x="10818073" y="4838354"/>
            <a:ext cx="799217" cy="393266"/>
          </a:xfrm>
          <a:prstGeom prst="rect">
            <a:avLst/>
          </a:prstGeom>
        </p:spPr>
        <p:txBody>
          <a:bodyPr vert="horz" wrap="square" lIns="0" tIns="180000" rIns="0" bIns="0" rtlCol="0" anchor="t">
            <a:noAutofit/>
          </a:bodyPr>
          <a:lstStyle/>
          <a:p>
            <a:pPr algn="just">
              <a:spcBef>
                <a:spcPts val="1200"/>
              </a:spcBef>
              <a:spcAft>
                <a:spcPts val="1200"/>
              </a:spcAft>
            </a:pPr>
            <a:r>
              <a:rPr lang="es-MX" sz="1200" b="1">
                <a:solidFill>
                  <a:schemeClr val="bg2">
                    <a:lumMod val="75000"/>
                  </a:schemeClr>
                </a:solidFill>
              </a:rPr>
              <a:t>06/02/2026</a:t>
            </a:r>
          </a:p>
          <a:p>
            <a:pPr algn="just">
              <a:spcBef>
                <a:spcPts val="1200"/>
              </a:spcBef>
              <a:spcAft>
                <a:spcPts val="1200"/>
              </a:spcAft>
            </a:pPr>
            <a:endParaRPr lang="es-MX" sz="1200" b="1">
              <a:solidFill>
                <a:schemeClr val="bg2">
                  <a:lumMod val="75000"/>
                </a:schemeClr>
              </a:solidFill>
            </a:endParaRPr>
          </a:p>
        </p:txBody>
      </p:sp>
      <p:sp>
        <p:nvSpPr>
          <p:cNvPr id="67" name="CuadroTexto 66">
            <a:extLst>
              <a:ext uri="{FF2B5EF4-FFF2-40B4-BE49-F238E27FC236}">
                <a16:creationId xmlns:a16="http://schemas.microsoft.com/office/drawing/2014/main" id="{1B9AD732-95CE-3952-4547-E6F2E78943E5}"/>
              </a:ext>
            </a:extLst>
          </p:cNvPr>
          <p:cNvSpPr txBox="1"/>
          <p:nvPr/>
        </p:nvSpPr>
        <p:spPr>
          <a:xfrm>
            <a:off x="571184" y="4583737"/>
            <a:ext cx="2200342" cy="657811"/>
          </a:xfrm>
          <a:prstGeom prst="rect">
            <a:avLst/>
          </a:prstGeom>
        </p:spPr>
        <p:txBody>
          <a:bodyPr vert="horz" wrap="square" lIns="0" tIns="180000" rIns="0" bIns="0" rtlCol="0" anchor="t">
            <a:noAutofit/>
          </a:bodyPr>
          <a:lstStyle/>
          <a:p>
            <a:pPr>
              <a:spcBef>
                <a:spcPts val="1200"/>
              </a:spcBef>
              <a:spcAft>
                <a:spcPts val="1200"/>
              </a:spcAft>
              <a:buClr>
                <a:schemeClr val="accent4"/>
              </a:buClr>
            </a:pPr>
            <a:r>
              <a:rPr lang="es-MX" sz="1200" b="1">
                <a:solidFill>
                  <a:schemeClr val="bg2">
                    <a:lumMod val="75000"/>
                  </a:schemeClr>
                </a:solidFill>
              </a:rPr>
              <a:t>Segunda Entrega |  DEV Y TEST</a:t>
            </a:r>
            <a:br>
              <a:rPr lang="es-ES" sz="1200" b="1">
                <a:solidFill>
                  <a:schemeClr val="bg2">
                    <a:lumMod val="75000"/>
                  </a:schemeClr>
                </a:solidFill>
              </a:rPr>
            </a:br>
            <a:r>
              <a:rPr lang="es-ES" sz="1200" b="1">
                <a:solidFill>
                  <a:schemeClr val="bg2">
                    <a:lumMod val="75000"/>
                  </a:schemeClr>
                </a:solidFill>
              </a:rPr>
              <a:t>4 EndPoints (Nuevo PI 1)</a:t>
            </a:r>
            <a:br>
              <a:rPr lang="es-MX" sz="1200" b="1">
                <a:solidFill>
                  <a:schemeClr val="bg2">
                    <a:lumMod val="75000"/>
                  </a:schemeClr>
                </a:solidFill>
              </a:rPr>
            </a:br>
            <a:r>
              <a:rPr lang="es-MX" sz="1200" b="1">
                <a:solidFill>
                  <a:schemeClr val="bg2">
                    <a:lumMod val="75000"/>
                  </a:schemeClr>
                </a:solidFill>
              </a:rPr>
              <a:t>EJECUCION DE PRUEBAS</a:t>
            </a:r>
            <a:endParaRPr lang="es-ES" sz="1200" b="1">
              <a:solidFill>
                <a:schemeClr val="bg2">
                  <a:lumMod val="75000"/>
                </a:schemeClr>
              </a:solidFill>
            </a:endParaRPr>
          </a:p>
        </p:txBody>
      </p:sp>
      <p:sp>
        <p:nvSpPr>
          <p:cNvPr id="68" name="CuadroTexto 67">
            <a:extLst>
              <a:ext uri="{FF2B5EF4-FFF2-40B4-BE49-F238E27FC236}">
                <a16:creationId xmlns:a16="http://schemas.microsoft.com/office/drawing/2014/main" id="{09D28A57-02F8-41E3-714D-666436CD18EF}"/>
              </a:ext>
            </a:extLst>
          </p:cNvPr>
          <p:cNvSpPr txBox="1"/>
          <p:nvPr/>
        </p:nvSpPr>
        <p:spPr>
          <a:xfrm>
            <a:off x="7926090" y="5541968"/>
            <a:ext cx="2285405" cy="435599"/>
          </a:xfrm>
          <a:prstGeom prst="rect">
            <a:avLst/>
          </a:prstGeom>
        </p:spPr>
        <p:txBody>
          <a:bodyPr vert="horz" wrap="square" lIns="0" tIns="180000" rIns="0" bIns="0" rtlCol="0" anchor="t">
            <a:noAutofit/>
          </a:bodyPr>
          <a:lstStyle>
            <a:defPPr>
              <a:defRPr lang="es-PE"/>
            </a:defPPr>
            <a:lvl1pPr marL="171450" indent="-171450" algn="just">
              <a:spcBef>
                <a:spcPts val="1200"/>
              </a:spcBef>
              <a:spcAft>
                <a:spcPts val="1200"/>
              </a:spcAft>
              <a:buClr>
                <a:schemeClr val="accent4"/>
              </a:buClr>
              <a:buFont typeface="Arial" panose="020B0604020202020204" pitchFamily="34" charset="0"/>
              <a:buChar char="•"/>
              <a:defRPr sz="1200">
                <a:solidFill>
                  <a:schemeClr val="bg2">
                    <a:lumMod val="75000"/>
                  </a:schemeClr>
                </a:solidFill>
              </a:defRPr>
            </a:lvl1pPr>
          </a:lstStyle>
          <a:p>
            <a:pPr algn="l">
              <a:buClr>
                <a:schemeClr val="accent4">
                  <a:lumMod val="75000"/>
                </a:schemeClr>
              </a:buClr>
            </a:pPr>
            <a:endParaRPr lang="es-MX"/>
          </a:p>
        </p:txBody>
      </p:sp>
      <p:sp>
        <p:nvSpPr>
          <p:cNvPr id="69" name="CuadroTexto 68">
            <a:extLst>
              <a:ext uri="{FF2B5EF4-FFF2-40B4-BE49-F238E27FC236}">
                <a16:creationId xmlns:a16="http://schemas.microsoft.com/office/drawing/2014/main" id="{0F451E19-40FD-B12E-E286-FDA343F7F34B}"/>
              </a:ext>
            </a:extLst>
          </p:cNvPr>
          <p:cNvSpPr txBox="1"/>
          <p:nvPr/>
        </p:nvSpPr>
        <p:spPr>
          <a:xfrm>
            <a:off x="7949598" y="4604272"/>
            <a:ext cx="2285405" cy="435599"/>
          </a:xfrm>
          <a:prstGeom prst="rect">
            <a:avLst/>
          </a:prstGeom>
        </p:spPr>
        <p:txBody>
          <a:bodyPr vert="horz" wrap="square" lIns="0" tIns="180000" rIns="0" bIns="0" rtlCol="0" anchor="t">
            <a:noAutofit/>
          </a:bodyPr>
          <a:lstStyle>
            <a:defPPr>
              <a:defRPr lang="es-PE"/>
            </a:defPPr>
            <a:lvl1pPr marL="171450" indent="-171450" algn="just">
              <a:spcBef>
                <a:spcPts val="1200"/>
              </a:spcBef>
              <a:spcAft>
                <a:spcPts val="1200"/>
              </a:spcAft>
              <a:buClr>
                <a:schemeClr val="accent4"/>
              </a:buClr>
              <a:buFont typeface="Arial" panose="020B0604020202020204" pitchFamily="34" charset="0"/>
              <a:buChar char="•"/>
              <a:defRPr sz="1200">
                <a:solidFill>
                  <a:schemeClr val="bg2">
                    <a:lumMod val="75000"/>
                  </a:schemeClr>
                </a:solidFill>
              </a:defRPr>
            </a:lvl1pPr>
          </a:lstStyle>
          <a:p>
            <a:pPr algn="l">
              <a:spcBef>
                <a:spcPts val="0"/>
              </a:spcBef>
              <a:spcAft>
                <a:spcPts val="0"/>
              </a:spcAft>
              <a:buClr>
                <a:schemeClr val="accent4">
                  <a:lumMod val="75000"/>
                </a:schemeClr>
              </a:buClr>
            </a:pPr>
            <a:r>
              <a:rPr lang="es-MX"/>
              <a:t>No hay dependencias</a:t>
            </a:r>
          </a:p>
        </p:txBody>
      </p:sp>
      <p:grpSp>
        <p:nvGrpSpPr>
          <p:cNvPr id="72" name="105 Grupo">
            <a:extLst>
              <a:ext uri="{FF2B5EF4-FFF2-40B4-BE49-F238E27FC236}">
                <a16:creationId xmlns:a16="http://schemas.microsoft.com/office/drawing/2014/main" id="{6EC3AF22-4D42-E8B2-AEA8-AF96831C9289}"/>
              </a:ext>
            </a:extLst>
          </p:cNvPr>
          <p:cNvGrpSpPr/>
          <p:nvPr/>
        </p:nvGrpSpPr>
        <p:grpSpPr>
          <a:xfrm>
            <a:off x="3028525" y="3750631"/>
            <a:ext cx="260354" cy="410504"/>
            <a:chOff x="10600106" y="1424888"/>
            <a:chExt cx="618262" cy="974835"/>
          </a:xfrm>
        </p:grpSpPr>
        <p:sp>
          <p:nvSpPr>
            <p:cNvPr id="76" name="Freeform 96">
              <a:extLst>
                <a:ext uri="{FF2B5EF4-FFF2-40B4-BE49-F238E27FC236}">
                  <a16:creationId xmlns:a16="http://schemas.microsoft.com/office/drawing/2014/main" id="{E30C0D77-6814-9E80-2E26-E9D70BA424B9}"/>
                </a:ext>
              </a:extLst>
            </p:cNvPr>
            <p:cNvSpPr>
              <a:spLocks/>
            </p:cNvSpPr>
            <p:nvPr/>
          </p:nvSpPr>
          <p:spPr bwMode="gray">
            <a:xfrm flipH="1">
              <a:off x="11021750"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77" name="Freeform 96">
              <a:extLst>
                <a:ext uri="{FF2B5EF4-FFF2-40B4-BE49-F238E27FC236}">
                  <a16:creationId xmlns:a16="http://schemas.microsoft.com/office/drawing/2014/main" id="{3489CEB0-3B72-3E06-E695-29841D409517}"/>
                </a:ext>
              </a:extLst>
            </p:cNvPr>
            <p:cNvSpPr>
              <a:spLocks/>
            </p:cNvSpPr>
            <p:nvPr/>
          </p:nvSpPr>
          <p:spPr bwMode="gray">
            <a:xfrm flipH="1">
              <a:off x="11021752"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80" name="Freeform 97">
              <a:extLst>
                <a:ext uri="{FF2B5EF4-FFF2-40B4-BE49-F238E27FC236}">
                  <a16:creationId xmlns:a16="http://schemas.microsoft.com/office/drawing/2014/main" id="{7348BD87-D0D4-9C7D-B3DE-04C112EAA34F}"/>
                </a:ext>
              </a:extLst>
            </p:cNvPr>
            <p:cNvSpPr>
              <a:spLocks/>
            </p:cNvSpPr>
            <p:nvPr/>
          </p:nvSpPr>
          <p:spPr bwMode="gray">
            <a:xfrm flipH="1">
              <a:off x="11021761"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84" name="Freeform 96">
              <a:extLst>
                <a:ext uri="{FF2B5EF4-FFF2-40B4-BE49-F238E27FC236}">
                  <a16:creationId xmlns:a16="http://schemas.microsoft.com/office/drawing/2014/main" id="{A410AA64-A282-73C3-DB9B-F2F4A7FEBDB7}"/>
                </a:ext>
              </a:extLst>
            </p:cNvPr>
            <p:cNvSpPr>
              <a:spLocks/>
            </p:cNvSpPr>
            <p:nvPr/>
          </p:nvSpPr>
          <p:spPr bwMode="gray">
            <a:xfrm>
              <a:off x="10600106" y="1496092"/>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94" name="Freeform 96">
              <a:extLst>
                <a:ext uri="{FF2B5EF4-FFF2-40B4-BE49-F238E27FC236}">
                  <a16:creationId xmlns:a16="http://schemas.microsoft.com/office/drawing/2014/main" id="{DB352E2A-76DF-B2D2-74D3-77BB6BDB773C}"/>
                </a:ext>
              </a:extLst>
            </p:cNvPr>
            <p:cNvSpPr>
              <a:spLocks/>
            </p:cNvSpPr>
            <p:nvPr/>
          </p:nvSpPr>
          <p:spPr bwMode="gray">
            <a:xfrm>
              <a:off x="10600111" y="1791403"/>
              <a:ext cx="196607" cy="162897"/>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00" name="Freeform 97">
              <a:extLst>
                <a:ext uri="{FF2B5EF4-FFF2-40B4-BE49-F238E27FC236}">
                  <a16:creationId xmlns:a16="http://schemas.microsoft.com/office/drawing/2014/main" id="{D8F5AFD5-0FA2-9FD8-6667-575A0709D3C1}"/>
                </a:ext>
              </a:extLst>
            </p:cNvPr>
            <p:cNvSpPr>
              <a:spLocks/>
            </p:cNvSpPr>
            <p:nvPr/>
          </p:nvSpPr>
          <p:spPr bwMode="gray">
            <a:xfrm>
              <a:off x="10600122" y="2096836"/>
              <a:ext cx="196607" cy="162897"/>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07" name="Freeform 95">
              <a:extLst>
                <a:ext uri="{FF2B5EF4-FFF2-40B4-BE49-F238E27FC236}">
                  <a16:creationId xmlns:a16="http://schemas.microsoft.com/office/drawing/2014/main" id="{5815CAF2-3309-D5F4-A8DE-3D7AE90422D1}"/>
                </a:ext>
              </a:extLst>
            </p:cNvPr>
            <p:cNvSpPr>
              <a:spLocks/>
            </p:cNvSpPr>
            <p:nvPr/>
          </p:nvSpPr>
          <p:spPr bwMode="gray">
            <a:xfrm>
              <a:off x="10725261" y="1424888"/>
              <a:ext cx="390660" cy="974835"/>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ysClr val="windowText" lastClr="000000">
                <a:lumMod val="75000"/>
                <a:lumOff val="25000"/>
              </a:sysClr>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09" name="Freeform 98">
              <a:extLst>
                <a:ext uri="{FF2B5EF4-FFF2-40B4-BE49-F238E27FC236}">
                  <a16:creationId xmlns:a16="http://schemas.microsoft.com/office/drawing/2014/main" id="{73772229-C9E7-F068-6E73-FAB14D07FC56}"/>
                </a:ext>
              </a:extLst>
            </p:cNvPr>
            <p:cNvSpPr>
              <a:spLocks/>
            </p:cNvSpPr>
            <p:nvPr/>
          </p:nvSpPr>
          <p:spPr bwMode="gray">
            <a:xfrm>
              <a:off x="10804414" y="1488519"/>
              <a:ext cx="229800" cy="229075"/>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12" name="Freeform 103">
              <a:extLst>
                <a:ext uri="{FF2B5EF4-FFF2-40B4-BE49-F238E27FC236}">
                  <a16:creationId xmlns:a16="http://schemas.microsoft.com/office/drawing/2014/main" id="{A32B7CB1-FBA6-892C-57F6-CE513FB15560}"/>
                </a:ext>
              </a:extLst>
            </p:cNvPr>
            <p:cNvSpPr>
              <a:spLocks/>
            </p:cNvSpPr>
            <p:nvPr/>
          </p:nvSpPr>
          <p:spPr bwMode="gray">
            <a:xfrm>
              <a:off x="10804441" y="1791403"/>
              <a:ext cx="229800" cy="231619"/>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sp>
          <p:nvSpPr>
            <p:cNvPr id="113" name="Freeform 108">
              <a:extLst>
                <a:ext uri="{FF2B5EF4-FFF2-40B4-BE49-F238E27FC236}">
                  <a16:creationId xmlns:a16="http://schemas.microsoft.com/office/drawing/2014/main" id="{EA184A42-F490-2BCB-E529-391348F01E98}"/>
                </a:ext>
              </a:extLst>
            </p:cNvPr>
            <p:cNvSpPr>
              <a:spLocks/>
            </p:cNvSpPr>
            <p:nvPr/>
          </p:nvSpPr>
          <p:spPr bwMode="gray">
            <a:xfrm>
              <a:off x="10804464" y="2107009"/>
              <a:ext cx="229800" cy="229073"/>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rgbClr val="05BC57"/>
            </a:solidFill>
            <a:ln>
              <a:noFill/>
            </a:ln>
          </p:spPr>
          <p:txBody>
            <a:bodyPr vert="horz" wrap="square" lIns="91440" tIns="45720" rIns="91440" bIns="45720" numCol="1" anchor="t" anchorCtr="0" compatLnSpc="1">
              <a:prstTxWarp prst="textNoShape">
                <a:avLst/>
              </a:prstTxWarp>
            </a:bodyPr>
            <a:lstStyle>
              <a:defPPr>
                <a:defRPr lang="es-ES"/>
              </a:defPPr>
              <a:lvl1pPr algn="l" rtl="0" fontAlgn="base">
                <a:spcBef>
                  <a:spcPct val="0"/>
                </a:spcBef>
                <a:spcAft>
                  <a:spcPct val="0"/>
                </a:spcAft>
                <a:defRPr kern="1200">
                  <a:solidFill>
                    <a:schemeClr val="tx1"/>
                  </a:solidFill>
                  <a:latin typeface="Arial" charset="0"/>
                  <a:ea typeface="+mn-ea"/>
                  <a:cs typeface="+mn-cs"/>
                </a:defRPr>
              </a:lvl1pPr>
              <a:lvl2pPr marL="457055" algn="l" rtl="0" fontAlgn="base">
                <a:spcBef>
                  <a:spcPct val="0"/>
                </a:spcBef>
                <a:spcAft>
                  <a:spcPct val="0"/>
                </a:spcAft>
                <a:defRPr kern="1200">
                  <a:solidFill>
                    <a:schemeClr val="tx1"/>
                  </a:solidFill>
                  <a:latin typeface="Arial" charset="0"/>
                  <a:ea typeface="+mn-ea"/>
                  <a:cs typeface="+mn-cs"/>
                </a:defRPr>
              </a:lvl2pPr>
              <a:lvl3pPr marL="914100" algn="l" rtl="0" fontAlgn="base">
                <a:spcBef>
                  <a:spcPct val="0"/>
                </a:spcBef>
                <a:spcAft>
                  <a:spcPct val="0"/>
                </a:spcAft>
                <a:defRPr kern="1200">
                  <a:solidFill>
                    <a:schemeClr val="tx1"/>
                  </a:solidFill>
                  <a:latin typeface="Arial" charset="0"/>
                  <a:ea typeface="+mn-ea"/>
                  <a:cs typeface="+mn-cs"/>
                </a:defRPr>
              </a:lvl3pPr>
              <a:lvl4pPr marL="1371160" algn="l" rtl="0" fontAlgn="base">
                <a:spcBef>
                  <a:spcPct val="0"/>
                </a:spcBef>
                <a:spcAft>
                  <a:spcPct val="0"/>
                </a:spcAft>
                <a:defRPr kern="1200">
                  <a:solidFill>
                    <a:schemeClr val="tx1"/>
                  </a:solidFill>
                  <a:latin typeface="Arial" charset="0"/>
                  <a:ea typeface="+mn-ea"/>
                  <a:cs typeface="+mn-cs"/>
                </a:defRPr>
              </a:lvl4pPr>
              <a:lvl5pPr marL="1828213" algn="l" rtl="0" fontAlgn="base">
                <a:spcBef>
                  <a:spcPct val="0"/>
                </a:spcBef>
                <a:spcAft>
                  <a:spcPct val="0"/>
                </a:spcAft>
                <a:defRPr kern="1200">
                  <a:solidFill>
                    <a:schemeClr val="tx1"/>
                  </a:solidFill>
                  <a:latin typeface="Arial" charset="0"/>
                  <a:ea typeface="+mn-ea"/>
                  <a:cs typeface="+mn-cs"/>
                </a:defRPr>
              </a:lvl5pPr>
              <a:lvl6pPr marL="2285268" algn="l" defTabSz="914100" rtl="0" eaLnBrk="1" latinLnBrk="0" hangingPunct="1">
                <a:defRPr kern="1200">
                  <a:solidFill>
                    <a:schemeClr val="tx1"/>
                  </a:solidFill>
                  <a:latin typeface="Arial" charset="0"/>
                  <a:ea typeface="+mn-ea"/>
                  <a:cs typeface="+mn-cs"/>
                </a:defRPr>
              </a:lvl6pPr>
              <a:lvl7pPr marL="2742322" algn="l" defTabSz="914100" rtl="0" eaLnBrk="1" latinLnBrk="0" hangingPunct="1">
                <a:defRPr kern="1200">
                  <a:solidFill>
                    <a:schemeClr val="tx1"/>
                  </a:solidFill>
                  <a:latin typeface="Arial" charset="0"/>
                  <a:ea typeface="+mn-ea"/>
                  <a:cs typeface="+mn-cs"/>
                </a:defRPr>
              </a:lvl7pPr>
              <a:lvl8pPr marL="3199375" algn="l" defTabSz="914100" rtl="0" eaLnBrk="1" latinLnBrk="0" hangingPunct="1">
                <a:defRPr kern="1200">
                  <a:solidFill>
                    <a:schemeClr val="tx1"/>
                  </a:solidFill>
                  <a:latin typeface="Arial" charset="0"/>
                  <a:ea typeface="+mn-ea"/>
                  <a:cs typeface="+mn-cs"/>
                </a:defRPr>
              </a:lvl8pPr>
              <a:lvl9pPr marL="3656428" algn="l" defTabSz="914100" rtl="0" eaLnBrk="1" latinLnBrk="0" hangingPunct="1">
                <a:defRPr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Santander Text"/>
                <a:ea typeface="+mn-ea"/>
                <a:cs typeface="+mn-cs"/>
              </a:endParaRPr>
            </a:p>
          </p:txBody>
        </p:sp>
      </p:grpSp>
      <p:sp>
        <p:nvSpPr>
          <p:cNvPr id="114" name="CuadroTexto 113">
            <a:extLst>
              <a:ext uri="{FF2B5EF4-FFF2-40B4-BE49-F238E27FC236}">
                <a16:creationId xmlns:a16="http://schemas.microsoft.com/office/drawing/2014/main" id="{29251582-89AD-CC69-3ED3-2DF3E4C0B278}"/>
              </a:ext>
            </a:extLst>
          </p:cNvPr>
          <p:cNvSpPr txBox="1"/>
          <p:nvPr/>
        </p:nvSpPr>
        <p:spPr>
          <a:xfrm>
            <a:off x="3596646" y="3450815"/>
            <a:ext cx="1489151" cy="1018905"/>
          </a:xfrm>
          <a:prstGeom prst="rect">
            <a:avLst/>
          </a:prstGeom>
        </p:spPr>
        <p:txBody>
          <a:bodyPr vert="horz" wrap="square" lIns="0" tIns="180000" rIns="0" bIns="0" rtlCol="0" anchor="t">
            <a:noAutofit/>
          </a:bodyPr>
          <a:lstStyle/>
          <a:p>
            <a:pPr marL="171450" indent="-171450" algn="just">
              <a:buClr>
                <a:schemeClr val="accent4">
                  <a:lumMod val="75000"/>
                </a:schemeClr>
              </a:buClr>
              <a:buFont typeface="Arial" panose="020B0604020202020204" pitchFamily="34" charset="0"/>
              <a:buChar char="•"/>
            </a:pPr>
            <a:r>
              <a:rPr lang="es-MX" sz="1200">
                <a:solidFill>
                  <a:schemeClr val="bg2">
                    <a:lumMod val="75000"/>
                  </a:schemeClr>
                </a:solidFill>
              </a:rPr>
              <a:t>Equipo QA</a:t>
            </a:r>
            <a:endParaRPr lang="es-MX">
              <a:solidFill>
                <a:schemeClr val="bg2">
                  <a:lumMod val="75000"/>
                </a:schemeClr>
              </a:solidFill>
            </a:endParaRPr>
          </a:p>
        </p:txBody>
      </p:sp>
      <p:sp>
        <p:nvSpPr>
          <p:cNvPr id="115" name="CuadroTexto 114">
            <a:extLst>
              <a:ext uri="{FF2B5EF4-FFF2-40B4-BE49-F238E27FC236}">
                <a16:creationId xmlns:a16="http://schemas.microsoft.com/office/drawing/2014/main" id="{1F1ED65A-FF58-F675-7833-FA3B18D0BC45}"/>
              </a:ext>
            </a:extLst>
          </p:cNvPr>
          <p:cNvSpPr txBox="1"/>
          <p:nvPr/>
        </p:nvSpPr>
        <p:spPr>
          <a:xfrm>
            <a:off x="4981623" y="3411589"/>
            <a:ext cx="2880000" cy="995701"/>
          </a:xfrm>
          <a:prstGeom prst="rect">
            <a:avLst/>
          </a:prstGeom>
        </p:spPr>
        <p:txBody>
          <a:bodyPr vert="horz" wrap="square" lIns="0" tIns="180000" rIns="0" bIns="0" rtlCol="0" anchor="t">
            <a:noAutofit/>
          </a:bodyPr>
          <a:lstStyle>
            <a:defPPr>
              <a:defRPr lang="es-PE"/>
            </a:defPPr>
            <a:lvl1pPr marL="171450" indent="-171450" algn="just">
              <a:spcBef>
                <a:spcPts val="1200"/>
              </a:spcBef>
              <a:spcAft>
                <a:spcPts val="1200"/>
              </a:spcAft>
              <a:buClr>
                <a:schemeClr val="accent4"/>
              </a:buClr>
              <a:buFont typeface="Arial" panose="020B0604020202020204" pitchFamily="34" charset="0"/>
              <a:buChar char="•"/>
              <a:defRPr sz="1200">
                <a:solidFill>
                  <a:schemeClr val="bg2">
                    <a:lumMod val="75000"/>
                  </a:schemeClr>
                </a:solidFill>
              </a:defRPr>
            </a:lvl1pPr>
          </a:lstStyle>
          <a:p>
            <a:pPr>
              <a:spcBef>
                <a:spcPts val="0"/>
              </a:spcBef>
              <a:spcAft>
                <a:spcPts val="0"/>
              </a:spcAft>
              <a:buClr>
                <a:schemeClr val="accent4">
                  <a:lumMod val="75000"/>
                </a:schemeClr>
              </a:buClr>
            </a:pPr>
            <a:r>
              <a:rPr lang="es-MX"/>
              <a:t>Diseño de casos de prueba y criterios de aceptación de 8 EndPoints</a:t>
            </a:r>
          </a:p>
        </p:txBody>
      </p:sp>
      <p:sp>
        <p:nvSpPr>
          <p:cNvPr id="116" name="CuadroTexto 115">
            <a:extLst>
              <a:ext uri="{FF2B5EF4-FFF2-40B4-BE49-F238E27FC236}">
                <a16:creationId xmlns:a16="http://schemas.microsoft.com/office/drawing/2014/main" id="{9E7439AA-8CF3-E94A-753A-E1191AA06746}"/>
              </a:ext>
            </a:extLst>
          </p:cNvPr>
          <p:cNvSpPr txBox="1"/>
          <p:nvPr/>
        </p:nvSpPr>
        <p:spPr>
          <a:xfrm>
            <a:off x="10852579" y="3650688"/>
            <a:ext cx="799217" cy="393266"/>
          </a:xfrm>
          <a:prstGeom prst="rect">
            <a:avLst/>
          </a:prstGeom>
        </p:spPr>
        <p:txBody>
          <a:bodyPr vert="horz" wrap="square" lIns="0" tIns="180000" rIns="0" bIns="0" rtlCol="0" anchor="t">
            <a:noAutofit/>
          </a:bodyPr>
          <a:lstStyle/>
          <a:p>
            <a:pPr algn="just">
              <a:spcBef>
                <a:spcPts val="1200"/>
              </a:spcBef>
              <a:spcAft>
                <a:spcPts val="1200"/>
              </a:spcAft>
            </a:pPr>
            <a:r>
              <a:rPr lang="es-MX" sz="1200" b="1">
                <a:solidFill>
                  <a:schemeClr val="bg2">
                    <a:lumMod val="75000"/>
                  </a:schemeClr>
                </a:solidFill>
              </a:rPr>
              <a:t>06/02/2026</a:t>
            </a:r>
          </a:p>
          <a:p>
            <a:pPr algn="just">
              <a:spcBef>
                <a:spcPts val="1200"/>
              </a:spcBef>
              <a:spcAft>
                <a:spcPts val="1200"/>
              </a:spcAft>
            </a:pPr>
            <a:endParaRPr lang="es-MX" sz="1200" b="1">
              <a:solidFill>
                <a:schemeClr val="bg2">
                  <a:lumMod val="75000"/>
                </a:schemeClr>
              </a:solidFill>
            </a:endParaRPr>
          </a:p>
        </p:txBody>
      </p:sp>
      <p:sp>
        <p:nvSpPr>
          <p:cNvPr id="117" name="CuadroTexto 116">
            <a:extLst>
              <a:ext uri="{FF2B5EF4-FFF2-40B4-BE49-F238E27FC236}">
                <a16:creationId xmlns:a16="http://schemas.microsoft.com/office/drawing/2014/main" id="{4BAEDE37-A656-29F2-8DBA-04A245D22071}"/>
              </a:ext>
            </a:extLst>
          </p:cNvPr>
          <p:cNvSpPr txBox="1"/>
          <p:nvPr/>
        </p:nvSpPr>
        <p:spPr>
          <a:xfrm>
            <a:off x="637484" y="3491626"/>
            <a:ext cx="2200342" cy="657811"/>
          </a:xfrm>
          <a:prstGeom prst="rect">
            <a:avLst/>
          </a:prstGeom>
        </p:spPr>
        <p:txBody>
          <a:bodyPr vert="horz" wrap="square" lIns="0" tIns="180000" rIns="0" bIns="0" rtlCol="0" anchor="t">
            <a:noAutofit/>
          </a:bodyPr>
          <a:lstStyle/>
          <a:p>
            <a:pPr>
              <a:spcBef>
                <a:spcPts val="1200"/>
              </a:spcBef>
              <a:spcAft>
                <a:spcPts val="1200"/>
              </a:spcAft>
              <a:buClr>
                <a:schemeClr val="accent4"/>
              </a:buClr>
            </a:pPr>
            <a:r>
              <a:rPr lang="es-MX" sz="1200" b="1">
                <a:solidFill>
                  <a:schemeClr val="bg2">
                    <a:lumMod val="75000"/>
                  </a:schemeClr>
                </a:solidFill>
              </a:rPr>
              <a:t>Cuarta Entrega |  DEV</a:t>
            </a:r>
            <a:br>
              <a:rPr lang="es-ES" sz="1200" b="1">
                <a:solidFill>
                  <a:schemeClr val="bg2">
                    <a:lumMod val="75000"/>
                  </a:schemeClr>
                </a:solidFill>
              </a:rPr>
            </a:br>
            <a:r>
              <a:rPr lang="es-ES" sz="1200" b="1">
                <a:solidFill>
                  <a:schemeClr val="bg2">
                    <a:lumMod val="75000"/>
                  </a:schemeClr>
                </a:solidFill>
              </a:rPr>
              <a:t>8 EndPoints (Nuevo PI 1)</a:t>
            </a:r>
            <a:br>
              <a:rPr lang="es-ES" sz="1200" b="1">
                <a:solidFill>
                  <a:schemeClr val="bg2">
                    <a:lumMod val="75000"/>
                  </a:schemeClr>
                </a:solidFill>
              </a:rPr>
            </a:br>
            <a:r>
              <a:rPr lang="es-ES" sz="1200" b="1">
                <a:solidFill>
                  <a:schemeClr val="bg2">
                    <a:lumMod val="75000"/>
                  </a:schemeClr>
                </a:solidFill>
              </a:rPr>
              <a:t>GENERA DOCUMENTACION</a:t>
            </a:r>
            <a:endParaRPr lang="es-MX" sz="1200" b="1">
              <a:solidFill>
                <a:schemeClr val="bg2">
                  <a:lumMod val="75000"/>
                </a:schemeClr>
              </a:solidFill>
            </a:endParaRPr>
          </a:p>
        </p:txBody>
      </p:sp>
      <p:sp>
        <p:nvSpPr>
          <p:cNvPr id="118" name="CuadroTexto 117">
            <a:extLst>
              <a:ext uri="{FF2B5EF4-FFF2-40B4-BE49-F238E27FC236}">
                <a16:creationId xmlns:a16="http://schemas.microsoft.com/office/drawing/2014/main" id="{E5066E59-6258-C71E-727B-2D9C5BC68BF6}"/>
              </a:ext>
            </a:extLst>
          </p:cNvPr>
          <p:cNvSpPr txBox="1"/>
          <p:nvPr/>
        </p:nvSpPr>
        <p:spPr>
          <a:xfrm>
            <a:off x="7949598" y="3416607"/>
            <a:ext cx="2285405" cy="435599"/>
          </a:xfrm>
          <a:prstGeom prst="rect">
            <a:avLst/>
          </a:prstGeom>
        </p:spPr>
        <p:txBody>
          <a:bodyPr vert="horz" wrap="square" lIns="0" tIns="180000" rIns="0" bIns="0" rtlCol="0" anchor="t">
            <a:noAutofit/>
          </a:bodyPr>
          <a:lstStyle>
            <a:defPPr>
              <a:defRPr lang="es-PE"/>
            </a:defPPr>
            <a:lvl1pPr marL="171450" indent="-171450" algn="just">
              <a:spcBef>
                <a:spcPts val="1200"/>
              </a:spcBef>
              <a:spcAft>
                <a:spcPts val="1200"/>
              </a:spcAft>
              <a:buClr>
                <a:schemeClr val="accent4"/>
              </a:buClr>
              <a:buFont typeface="Arial" panose="020B0604020202020204" pitchFamily="34" charset="0"/>
              <a:buChar char="•"/>
              <a:defRPr sz="1200">
                <a:solidFill>
                  <a:schemeClr val="bg2">
                    <a:lumMod val="75000"/>
                  </a:schemeClr>
                </a:solidFill>
              </a:defRPr>
            </a:lvl1pPr>
          </a:lstStyle>
          <a:p>
            <a:pPr algn="l">
              <a:spcBef>
                <a:spcPts val="0"/>
              </a:spcBef>
              <a:spcAft>
                <a:spcPts val="0"/>
              </a:spcAft>
              <a:buClr>
                <a:schemeClr val="accent4">
                  <a:lumMod val="75000"/>
                </a:schemeClr>
              </a:buClr>
            </a:pPr>
            <a:r>
              <a:rPr lang="es-MX"/>
              <a:t>Dependemos de que Desarrollo finalice los DOR antes del 30/01 y QA inicia el 02/02 finalizando el </a:t>
            </a:r>
          </a:p>
        </p:txBody>
      </p:sp>
    </p:spTree>
    <p:extLst>
      <p:ext uri="{BB962C8B-B14F-4D97-AF65-F5344CB8AC3E}">
        <p14:creationId xmlns:p14="http://schemas.microsoft.com/office/powerpoint/2010/main" val="18762875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F4086E-D44A-3A45-B69F-4C7710B790C4}"/>
            </a:ext>
          </a:extLst>
        </p:cNvPr>
        <p:cNvGrpSpPr/>
        <p:nvPr/>
      </p:nvGrpSpPr>
      <p:grpSpPr>
        <a:xfrm>
          <a:off x="0" y="0"/>
          <a:ext cx="0" cy="0"/>
          <a:chOff x="0" y="0"/>
          <a:chExt cx="0" cy="0"/>
        </a:xfrm>
      </p:grpSpPr>
      <p:sp>
        <p:nvSpPr>
          <p:cNvPr id="113" name="Rectángulo 112">
            <a:extLst>
              <a:ext uri="{FF2B5EF4-FFF2-40B4-BE49-F238E27FC236}">
                <a16:creationId xmlns:a16="http://schemas.microsoft.com/office/drawing/2014/main" id="{0F26146A-781A-497C-D8B9-F8A5A705DBCE}"/>
              </a:ext>
            </a:extLst>
          </p:cNvPr>
          <p:cNvSpPr/>
          <p:nvPr/>
        </p:nvSpPr>
        <p:spPr>
          <a:xfrm>
            <a:off x="747030" y="1052993"/>
            <a:ext cx="10964445" cy="105409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grpSp>
        <p:nvGrpSpPr>
          <p:cNvPr id="119" name="Grupo 118">
            <a:extLst>
              <a:ext uri="{FF2B5EF4-FFF2-40B4-BE49-F238E27FC236}">
                <a16:creationId xmlns:a16="http://schemas.microsoft.com/office/drawing/2014/main" id="{8375C97F-BB8F-BC3C-7628-E81F700ABB75}"/>
              </a:ext>
            </a:extLst>
          </p:cNvPr>
          <p:cNvGrpSpPr/>
          <p:nvPr/>
        </p:nvGrpSpPr>
        <p:grpSpPr>
          <a:xfrm>
            <a:off x="550864" y="1288309"/>
            <a:ext cx="11158372" cy="5534642"/>
            <a:chOff x="568489" y="290647"/>
            <a:chExt cx="11158372" cy="5534642"/>
          </a:xfrm>
        </p:grpSpPr>
        <p:sp>
          <p:nvSpPr>
            <p:cNvPr id="109" name="Rectángulo 108">
              <a:extLst>
                <a:ext uri="{FF2B5EF4-FFF2-40B4-BE49-F238E27FC236}">
                  <a16:creationId xmlns:a16="http://schemas.microsoft.com/office/drawing/2014/main" id="{C5496D8E-AB21-4637-1FB5-3B977BEC146B}"/>
                </a:ext>
              </a:extLst>
            </p:cNvPr>
            <p:cNvSpPr/>
            <p:nvPr/>
          </p:nvSpPr>
          <p:spPr>
            <a:xfrm>
              <a:off x="10046485" y="1214798"/>
              <a:ext cx="1680376" cy="4516732"/>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7" name="Rectángulo 106">
              <a:extLst>
                <a:ext uri="{FF2B5EF4-FFF2-40B4-BE49-F238E27FC236}">
                  <a16:creationId xmlns:a16="http://schemas.microsoft.com/office/drawing/2014/main" id="{286F816C-6AA0-9CA9-7C19-F1930EB557FB}"/>
                </a:ext>
              </a:extLst>
            </p:cNvPr>
            <p:cNvSpPr/>
            <p:nvPr/>
          </p:nvSpPr>
          <p:spPr>
            <a:xfrm>
              <a:off x="8185214" y="1214798"/>
              <a:ext cx="1680376" cy="4516732"/>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5" name="Rectángulo 104">
              <a:extLst>
                <a:ext uri="{FF2B5EF4-FFF2-40B4-BE49-F238E27FC236}">
                  <a16:creationId xmlns:a16="http://schemas.microsoft.com/office/drawing/2014/main" id="{2E18DC23-B2C1-406D-8B21-D991C79A3617}"/>
                </a:ext>
              </a:extLst>
            </p:cNvPr>
            <p:cNvSpPr/>
            <p:nvPr/>
          </p:nvSpPr>
          <p:spPr>
            <a:xfrm>
              <a:off x="6323943" y="1214798"/>
              <a:ext cx="1680376" cy="4516732"/>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3" name="Rectángulo 102">
              <a:extLst>
                <a:ext uri="{FF2B5EF4-FFF2-40B4-BE49-F238E27FC236}">
                  <a16:creationId xmlns:a16="http://schemas.microsoft.com/office/drawing/2014/main" id="{A956861D-1BC0-47AD-338C-C0DEFDCDAE16}"/>
                </a:ext>
              </a:extLst>
            </p:cNvPr>
            <p:cNvSpPr/>
            <p:nvPr/>
          </p:nvSpPr>
          <p:spPr>
            <a:xfrm>
              <a:off x="4462672" y="1214798"/>
              <a:ext cx="1680376" cy="4516732"/>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0" name="Rectángulo 99">
              <a:extLst>
                <a:ext uri="{FF2B5EF4-FFF2-40B4-BE49-F238E27FC236}">
                  <a16:creationId xmlns:a16="http://schemas.microsoft.com/office/drawing/2014/main" id="{510CF67D-80E0-833D-1319-09532E08D545}"/>
                </a:ext>
              </a:extLst>
            </p:cNvPr>
            <p:cNvSpPr/>
            <p:nvPr/>
          </p:nvSpPr>
          <p:spPr>
            <a:xfrm>
              <a:off x="2597430" y="1214798"/>
              <a:ext cx="1680376" cy="4516732"/>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99" name="Rectángulo 98">
              <a:extLst>
                <a:ext uri="{FF2B5EF4-FFF2-40B4-BE49-F238E27FC236}">
                  <a16:creationId xmlns:a16="http://schemas.microsoft.com/office/drawing/2014/main" id="{6CEF89BF-67B4-C0BC-5575-B1B5FB483F30}"/>
                </a:ext>
              </a:extLst>
            </p:cNvPr>
            <p:cNvSpPr/>
            <p:nvPr/>
          </p:nvSpPr>
          <p:spPr>
            <a:xfrm>
              <a:off x="771282" y="1216159"/>
              <a:ext cx="1680376" cy="4516732"/>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8" name="Rectángulo: esquinas redondeadas 7">
              <a:extLst>
                <a:ext uri="{FF2B5EF4-FFF2-40B4-BE49-F238E27FC236}">
                  <a16:creationId xmlns:a16="http://schemas.microsoft.com/office/drawing/2014/main" id="{85457122-324D-5913-F442-C02AB39901F3}"/>
                </a:ext>
              </a:extLst>
            </p:cNvPr>
            <p:cNvSpPr/>
            <p:nvPr/>
          </p:nvSpPr>
          <p:spPr>
            <a:xfrm>
              <a:off x="889311" y="290647"/>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Abraham Rivera</a:t>
              </a:r>
            </a:p>
          </p:txBody>
        </p:sp>
        <p:sp>
          <p:nvSpPr>
            <p:cNvPr id="9" name="Elipse 8">
              <a:extLst>
                <a:ext uri="{FF2B5EF4-FFF2-40B4-BE49-F238E27FC236}">
                  <a16:creationId xmlns:a16="http://schemas.microsoft.com/office/drawing/2014/main" id="{FF970326-6B33-1730-470F-C1CB5D249044}"/>
                </a:ext>
              </a:extLst>
            </p:cNvPr>
            <p:cNvSpPr/>
            <p:nvPr/>
          </p:nvSpPr>
          <p:spPr>
            <a:xfrm>
              <a:off x="1080142" y="370918"/>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 name="Rectángulo: esquinas redondeadas 9">
              <a:extLst>
                <a:ext uri="{FF2B5EF4-FFF2-40B4-BE49-F238E27FC236}">
                  <a16:creationId xmlns:a16="http://schemas.microsoft.com/office/drawing/2014/main" id="{E8FC992D-4852-0DC7-FC70-C654A8473C9B}"/>
                </a:ext>
              </a:extLst>
            </p:cNvPr>
            <p:cNvSpPr/>
            <p:nvPr/>
          </p:nvSpPr>
          <p:spPr>
            <a:xfrm>
              <a:off x="3605916" y="290648"/>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Saul Galan</a:t>
              </a:r>
            </a:p>
          </p:txBody>
        </p:sp>
        <p:sp>
          <p:nvSpPr>
            <p:cNvPr id="11" name="Elipse 10">
              <a:extLst>
                <a:ext uri="{FF2B5EF4-FFF2-40B4-BE49-F238E27FC236}">
                  <a16:creationId xmlns:a16="http://schemas.microsoft.com/office/drawing/2014/main" id="{30029015-AD61-96BC-B4FE-07A2D49656EC}"/>
                </a:ext>
              </a:extLst>
            </p:cNvPr>
            <p:cNvSpPr/>
            <p:nvPr/>
          </p:nvSpPr>
          <p:spPr>
            <a:xfrm>
              <a:off x="3685430" y="370919"/>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2" name="Rectángulo: esquinas redondeadas 11">
              <a:extLst>
                <a:ext uri="{FF2B5EF4-FFF2-40B4-BE49-F238E27FC236}">
                  <a16:creationId xmlns:a16="http://schemas.microsoft.com/office/drawing/2014/main" id="{363928BF-6C63-C89B-588B-AB7653DF8B72}"/>
                </a:ext>
              </a:extLst>
            </p:cNvPr>
            <p:cNvSpPr/>
            <p:nvPr/>
          </p:nvSpPr>
          <p:spPr>
            <a:xfrm>
              <a:off x="6016486" y="290648"/>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Carlos Flores</a:t>
              </a:r>
            </a:p>
          </p:txBody>
        </p:sp>
        <p:sp>
          <p:nvSpPr>
            <p:cNvPr id="13" name="Elipse 12">
              <a:extLst>
                <a:ext uri="{FF2B5EF4-FFF2-40B4-BE49-F238E27FC236}">
                  <a16:creationId xmlns:a16="http://schemas.microsoft.com/office/drawing/2014/main" id="{5CCFB05F-EE5A-E963-CD2D-0B9432E91752}"/>
                </a:ext>
              </a:extLst>
            </p:cNvPr>
            <p:cNvSpPr/>
            <p:nvPr/>
          </p:nvSpPr>
          <p:spPr>
            <a:xfrm>
              <a:off x="6096000" y="370919"/>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4" name="Rectángulo: esquinas redondeadas 13">
              <a:extLst>
                <a:ext uri="{FF2B5EF4-FFF2-40B4-BE49-F238E27FC236}">
                  <a16:creationId xmlns:a16="http://schemas.microsoft.com/office/drawing/2014/main" id="{20B159F3-A935-D107-B6FD-DD3D141A4DD9}"/>
                </a:ext>
              </a:extLst>
            </p:cNvPr>
            <p:cNvSpPr/>
            <p:nvPr/>
          </p:nvSpPr>
          <p:spPr>
            <a:xfrm>
              <a:off x="8444107" y="290648"/>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15" name="Elipse 14">
              <a:extLst>
                <a:ext uri="{FF2B5EF4-FFF2-40B4-BE49-F238E27FC236}">
                  <a16:creationId xmlns:a16="http://schemas.microsoft.com/office/drawing/2014/main" id="{B53C8BA2-86CB-18D3-1A10-B808FB62A095}"/>
                </a:ext>
              </a:extLst>
            </p:cNvPr>
            <p:cNvSpPr/>
            <p:nvPr/>
          </p:nvSpPr>
          <p:spPr>
            <a:xfrm>
              <a:off x="8523621" y="370919"/>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esquinas redondeadas 15">
              <a:extLst>
                <a:ext uri="{FF2B5EF4-FFF2-40B4-BE49-F238E27FC236}">
                  <a16:creationId xmlns:a16="http://schemas.microsoft.com/office/drawing/2014/main" id="{6D3A80E8-8FFD-EE6A-89B2-9AD2A9977DC1}"/>
                </a:ext>
              </a:extLst>
            </p:cNvPr>
            <p:cNvSpPr/>
            <p:nvPr/>
          </p:nvSpPr>
          <p:spPr>
            <a:xfrm>
              <a:off x="893201" y="1331849"/>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Dayan Ipince</a:t>
              </a:r>
            </a:p>
          </p:txBody>
        </p:sp>
        <p:sp>
          <p:nvSpPr>
            <p:cNvPr id="17" name="Elipse 16">
              <a:extLst>
                <a:ext uri="{FF2B5EF4-FFF2-40B4-BE49-F238E27FC236}">
                  <a16:creationId xmlns:a16="http://schemas.microsoft.com/office/drawing/2014/main" id="{2E042655-327D-7857-0A2C-15F70AF6D343}"/>
                </a:ext>
              </a:extLst>
            </p:cNvPr>
            <p:cNvSpPr/>
            <p:nvPr/>
          </p:nvSpPr>
          <p:spPr>
            <a:xfrm>
              <a:off x="972715" y="1412120"/>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8" name="Rectángulo: esquinas redondeadas 17">
              <a:extLst>
                <a:ext uri="{FF2B5EF4-FFF2-40B4-BE49-F238E27FC236}">
                  <a16:creationId xmlns:a16="http://schemas.microsoft.com/office/drawing/2014/main" id="{AA26F9F6-24C4-068B-8787-8CC6A7ABEAD8}"/>
                </a:ext>
              </a:extLst>
            </p:cNvPr>
            <p:cNvSpPr/>
            <p:nvPr/>
          </p:nvSpPr>
          <p:spPr>
            <a:xfrm>
              <a:off x="902345" y="1822180"/>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Ivett Torres</a:t>
              </a:r>
            </a:p>
          </p:txBody>
        </p:sp>
        <p:sp>
          <p:nvSpPr>
            <p:cNvPr id="19" name="Elipse 18">
              <a:extLst>
                <a:ext uri="{FF2B5EF4-FFF2-40B4-BE49-F238E27FC236}">
                  <a16:creationId xmlns:a16="http://schemas.microsoft.com/office/drawing/2014/main" id="{3256DAAC-048F-FF53-1B78-090CA9685E7E}"/>
                </a:ext>
              </a:extLst>
            </p:cNvPr>
            <p:cNvSpPr/>
            <p:nvPr/>
          </p:nvSpPr>
          <p:spPr>
            <a:xfrm>
              <a:off x="972715" y="1902451"/>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0" name="Rectángulo: esquinas redondeadas 19">
              <a:extLst>
                <a:ext uri="{FF2B5EF4-FFF2-40B4-BE49-F238E27FC236}">
                  <a16:creationId xmlns:a16="http://schemas.microsoft.com/office/drawing/2014/main" id="{85B81B42-FC77-7232-811C-EEE4311C88B6}"/>
                </a:ext>
              </a:extLst>
            </p:cNvPr>
            <p:cNvSpPr/>
            <p:nvPr/>
          </p:nvSpPr>
          <p:spPr>
            <a:xfrm>
              <a:off x="893201" y="2312511"/>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Claudio Ponte</a:t>
              </a:r>
            </a:p>
          </p:txBody>
        </p:sp>
        <p:sp>
          <p:nvSpPr>
            <p:cNvPr id="21" name="Elipse 20">
              <a:extLst>
                <a:ext uri="{FF2B5EF4-FFF2-40B4-BE49-F238E27FC236}">
                  <a16:creationId xmlns:a16="http://schemas.microsoft.com/office/drawing/2014/main" id="{5D5B66DC-A5AE-D439-BE7E-BD8B844B6C8A}"/>
                </a:ext>
              </a:extLst>
            </p:cNvPr>
            <p:cNvSpPr/>
            <p:nvPr/>
          </p:nvSpPr>
          <p:spPr>
            <a:xfrm>
              <a:off x="972715" y="2392782"/>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2" name="Rectángulo: esquinas redondeadas 21">
              <a:extLst>
                <a:ext uri="{FF2B5EF4-FFF2-40B4-BE49-F238E27FC236}">
                  <a16:creationId xmlns:a16="http://schemas.microsoft.com/office/drawing/2014/main" id="{6E78537A-54AA-063B-A74D-DF451B3AC539}"/>
                </a:ext>
              </a:extLst>
            </p:cNvPr>
            <p:cNvSpPr/>
            <p:nvPr/>
          </p:nvSpPr>
          <p:spPr>
            <a:xfrm>
              <a:off x="893201" y="2798299"/>
              <a:ext cx="1478942" cy="405517"/>
            </a:xfrm>
            <a:prstGeom prst="roundRect">
              <a:avLst/>
            </a:prstGeom>
            <a:solidFill>
              <a:srgbClr val="99CCFF"/>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Heidi Vega</a:t>
              </a:r>
            </a:p>
          </p:txBody>
        </p:sp>
        <p:sp>
          <p:nvSpPr>
            <p:cNvPr id="23" name="Elipse 22">
              <a:extLst>
                <a:ext uri="{FF2B5EF4-FFF2-40B4-BE49-F238E27FC236}">
                  <a16:creationId xmlns:a16="http://schemas.microsoft.com/office/drawing/2014/main" id="{85EA0688-1082-9BA9-ACC4-E894F5CF6832}"/>
                </a:ext>
              </a:extLst>
            </p:cNvPr>
            <p:cNvSpPr/>
            <p:nvPr/>
          </p:nvSpPr>
          <p:spPr>
            <a:xfrm>
              <a:off x="972715" y="2878570"/>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4" name="Rectángulo: esquinas redondeadas 23">
              <a:extLst>
                <a:ext uri="{FF2B5EF4-FFF2-40B4-BE49-F238E27FC236}">
                  <a16:creationId xmlns:a16="http://schemas.microsoft.com/office/drawing/2014/main" id="{54360F5C-5F13-6B8F-7B7D-33ABF4A96383}"/>
                </a:ext>
              </a:extLst>
            </p:cNvPr>
            <p:cNvSpPr/>
            <p:nvPr/>
          </p:nvSpPr>
          <p:spPr>
            <a:xfrm>
              <a:off x="893201" y="3284087"/>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25" name="Elipse 24">
              <a:extLst>
                <a:ext uri="{FF2B5EF4-FFF2-40B4-BE49-F238E27FC236}">
                  <a16:creationId xmlns:a16="http://schemas.microsoft.com/office/drawing/2014/main" id="{D224A17F-3921-5E66-A2DF-9AB807D3D89D}"/>
                </a:ext>
              </a:extLst>
            </p:cNvPr>
            <p:cNvSpPr/>
            <p:nvPr/>
          </p:nvSpPr>
          <p:spPr>
            <a:xfrm>
              <a:off x="972715" y="3364358"/>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6" name="Rectángulo: esquinas redondeadas 25">
              <a:extLst>
                <a:ext uri="{FF2B5EF4-FFF2-40B4-BE49-F238E27FC236}">
                  <a16:creationId xmlns:a16="http://schemas.microsoft.com/office/drawing/2014/main" id="{803B4E7E-0433-0CF6-BFAE-6DB8F66B19A4}"/>
                </a:ext>
              </a:extLst>
            </p:cNvPr>
            <p:cNvSpPr/>
            <p:nvPr/>
          </p:nvSpPr>
          <p:spPr>
            <a:xfrm>
              <a:off x="893201" y="3774418"/>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27" name="Elipse 26">
              <a:extLst>
                <a:ext uri="{FF2B5EF4-FFF2-40B4-BE49-F238E27FC236}">
                  <a16:creationId xmlns:a16="http://schemas.microsoft.com/office/drawing/2014/main" id="{CA3058FB-F6BD-B2F0-1D8C-B618F94796BD}"/>
                </a:ext>
              </a:extLst>
            </p:cNvPr>
            <p:cNvSpPr/>
            <p:nvPr/>
          </p:nvSpPr>
          <p:spPr>
            <a:xfrm>
              <a:off x="972715" y="3854689"/>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8" name="Rectángulo: esquinas redondeadas 27">
              <a:extLst>
                <a:ext uri="{FF2B5EF4-FFF2-40B4-BE49-F238E27FC236}">
                  <a16:creationId xmlns:a16="http://schemas.microsoft.com/office/drawing/2014/main" id="{FE706068-406A-D604-35AD-338BD9AEA36C}"/>
                </a:ext>
              </a:extLst>
            </p:cNvPr>
            <p:cNvSpPr/>
            <p:nvPr/>
          </p:nvSpPr>
          <p:spPr>
            <a:xfrm>
              <a:off x="893201" y="4264749"/>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29" name="Elipse 28">
              <a:extLst>
                <a:ext uri="{FF2B5EF4-FFF2-40B4-BE49-F238E27FC236}">
                  <a16:creationId xmlns:a16="http://schemas.microsoft.com/office/drawing/2014/main" id="{C68D748A-EAC9-8E35-CD1B-3B1350D54634}"/>
                </a:ext>
              </a:extLst>
            </p:cNvPr>
            <p:cNvSpPr/>
            <p:nvPr/>
          </p:nvSpPr>
          <p:spPr>
            <a:xfrm>
              <a:off x="972715" y="4345020"/>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0" name="Rectángulo: esquinas redondeadas 29">
              <a:extLst>
                <a:ext uri="{FF2B5EF4-FFF2-40B4-BE49-F238E27FC236}">
                  <a16:creationId xmlns:a16="http://schemas.microsoft.com/office/drawing/2014/main" id="{B212DBB4-B471-263E-F9FE-96969B93AA49}"/>
                </a:ext>
              </a:extLst>
            </p:cNvPr>
            <p:cNvSpPr/>
            <p:nvPr/>
          </p:nvSpPr>
          <p:spPr>
            <a:xfrm>
              <a:off x="893201" y="4750537"/>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31" name="Elipse 30">
              <a:extLst>
                <a:ext uri="{FF2B5EF4-FFF2-40B4-BE49-F238E27FC236}">
                  <a16:creationId xmlns:a16="http://schemas.microsoft.com/office/drawing/2014/main" id="{B3A525EA-CE0C-F1CF-0CF8-018FA60C6385}"/>
                </a:ext>
              </a:extLst>
            </p:cNvPr>
            <p:cNvSpPr/>
            <p:nvPr/>
          </p:nvSpPr>
          <p:spPr>
            <a:xfrm>
              <a:off x="972715" y="4830808"/>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2" name="Rectángulo: esquinas redondeadas 31">
              <a:extLst>
                <a:ext uri="{FF2B5EF4-FFF2-40B4-BE49-F238E27FC236}">
                  <a16:creationId xmlns:a16="http://schemas.microsoft.com/office/drawing/2014/main" id="{C76C2800-F8D8-CC13-EA64-AE5E3CEDBE9C}"/>
                </a:ext>
              </a:extLst>
            </p:cNvPr>
            <p:cNvSpPr/>
            <p:nvPr/>
          </p:nvSpPr>
          <p:spPr>
            <a:xfrm>
              <a:off x="893201" y="5236325"/>
              <a:ext cx="1478942" cy="405517"/>
            </a:xfrm>
            <a:prstGeom prst="roundRect">
              <a:avLst/>
            </a:prstGeom>
            <a:solidFill>
              <a:schemeClr val="tx2">
                <a:lumMod val="50000"/>
              </a:schemeClr>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a:p>
              <a:pPr algn="r"/>
              <a:r>
                <a:rPr lang="es-MX" sz="1000">
                  <a:solidFill>
                    <a:schemeClr val="tx2">
                      <a:lumMod val="50000"/>
                    </a:schemeClr>
                  </a:solidFill>
                </a:rPr>
                <a:t>Automatizador (E)</a:t>
              </a:r>
              <a:endParaRPr lang="es-PE" sz="1000">
                <a:solidFill>
                  <a:schemeClr val="tx2">
                    <a:lumMod val="50000"/>
                  </a:schemeClr>
                </a:solidFill>
              </a:endParaRPr>
            </a:p>
          </p:txBody>
        </p:sp>
        <p:sp>
          <p:nvSpPr>
            <p:cNvPr id="33" name="Elipse 32">
              <a:extLst>
                <a:ext uri="{FF2B5EF4-FFF2-40B4-BE49-F238E27FC236}">
                  <a16:creationId xmlns:a16="http://schemas.microsoft.com/office/drawing/2014/main" id="{1066E44E-1B10-DD5A-78EB-B88B35AD3E65}"/>
                </a:ext>
              </a:extLst>
            </p:cNvPr>
            <p:cNvSpPr/>
            <p:nvPr/>
          </p:nvSpPr>
          <p:spPr>
            <a:xfrm>
              <a:off x="972715" y="5316596"/>
              <a:ext cx="256666" cy="256666"/>
            </a:xfrm>
            <a:prstGeom prst="ellipse">
              <a:avLst/>
            </a:prstGeom>
            <a:solidFill>
              <a:schemeClr val="bg1">
                <a:lumMod val="7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4" name="Rectángulo: esquinas redondeadas 33">
              <a:extLst>
                <a:ext uri="{FF2B5EF4-FFF2-40B4-BE49-F238E27FC236}">
                  <a16:creationId xmlns:a16="http://schemas.microsoft.com/office/drawing/2014/main" id="{3E5C27EE-486B-8C33-53C0-411E1F4473B3}"/>
                </a:ext>
              </a:extLst>
            </p:cNvPr>
            <p:cNvSpPr/>
            <p:nvPr/>
          </p:nvSpPr>
          <p:spPr>
            <a:xfrm>
              <a:off x="2707420" y="1331849"/>
              <a:ext cx="1478942" cy="405517"/>
            </a:xfrm>
            <a:prstGeom prst="roundRect">
              <a:avLst/>
            </a:prstGeom>
            <a:solidFill>
              <a:srgbClr val="99CCFF"/>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Karen Villaca</a:t>
              </a:r>
            </a:p>
          </p:txBody>
        </p:sp>
        <p:sp>
          <p:nvSpPr>
            <p:cNvPr id="35" name="Elipse 34">
              <a:extLst>
                <a:ext uri="{FF2B5EF4-FFF2-40B4-BE49-F238E27FC236}">
                  <a16:creationId xmlns:a16="http://schemas.microsoft.com/office/drawing/2014/main" id="{1CE5A906-5CFA-AB54-F7B6-E2683753AE16}"/>
                </a:ext>
              </a:extLst>
            </p:cNvPr>
            <p:cNvSpPr/>
            <p:nvPr/>
          </p:nvSpPr>
          <p:spPr>
            <a:xfrm>
              <a:off x="2786934" y="1412120"/>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6" name="Rectángulo: esquinas redondeadas 35">
              <a:extLst>
                <a:ext uri="{FF2B5EF4-FFF2-40B4-BE49-F238E27FC236}">
                  <a16:creationId xmlns:a16="http://schemas.microsoft.com/office/drawing/2014/main" id="{23F6393A-F0C2-C7CE-5A50-2BABF3A59CC1}"/>
                </a:ext>
              </a:extLst>
            </p:cNvPr>
            <p:cNvSpPr/>
            <p:nvPr/>
          </p:nvSpPr>
          <p:spPr>
            <a:xfrm>
              <a:off x="2707420" y="1822180"/>
              <a:ext cx="1478942" cy="405517"/>
            </a:xfrm>
            <a:prstGeom prst="roundRect">
              <a:avLst/>
            </a:prstGeom>
            <a:solidFill>
              <a:srgbClr val="99CCFF"/>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Jair Tarazona</a:t>
              </a:r>
            </a:p>
          </p:txBody>
        </p:sp>
        <p:sp>
          <p:nvSpPr>
            <p:cNvPr id="37" name="Elipse 36">
              <a:extLst>
                <a:ext uri="{FF2B5EF4-FFF2-40B4-BE49-F238E27FC236}">
                  <a16:creationId xmlns:a16="http://schemas.microsoft.com/office/drawing/2014/main" id="{97B3AE8A-5298-81EB-FB66-F8F27FC2C1E8}"/>
                </a:ext>
              </a:extLst>
            </p:cNvPr>
            <p:cNvSpPr/>
            <p:nvPr/>
          </p:nvSpPr>
          <p:spPr>
            <a:xfrm>
              <a:off x="2786934" y="1902451"/>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8" name="Rectángulo: esquinas redondeadas 37">
              <a:extLst>
                <a:ext uri="{FF2B5EF4-FFF2-40B4-BE49-F238E27FC236}">
                  <a16:creationId xmlns:a16="http://schemas.microsoft.com/office/drawing/2014/main" id="{994428E1-D0D9-D791-282C-A6FC51B3998C}"/>
                </a:ext>
              </a:extLst>
            </p:cNvPr>
            <p:cNvSpPr/>
            <p:nvPr/>
          </p:nvSpPr>
          <p:spPr>
            <a:xfrm>
              <a:off x="2707420" y="2312511"/>
              <a:ext cx="1478942" cy="405517"/>
            </a:xfrm>
            <a:prstGeom prst="roundRect">
              <a:avLst/>
            </a:prstGeom>
            <a:solidFill>
              <a:srgbClr val="99CCFF"/>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Lesly Vildoso</a:t>
              </a:r>
            </a:p>
          </p:txBody>
        </p:sp>
        <p:sp>
          <p:nvSpPr>
            <p:cNvPr id="39" name="Elipse 38">
              <a:extLst>
                <a:ext uri="{FF2B5EF4-FFF2-40B4-BE49-F238E27FC236}">
                  <a16:creationId xmlns:a16="http://schemas.microsoft.com/office/drawing/2014/main" id="{FCF9E8E9-49EA-10AD-C0BC-598D42020D98}"/>
                </a:ext>
              </a:extLst>
            </p:cNvPr>
            <p:cNvSpPr/>
            <p:nvPr/>
          </p:nvSpPr>
          <p:spPr>
            <a:xfrm>
              <a:off x="2786934" y="2392782"/>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40" name="Rectángulo: esquinas redondeadas 39">
              <a:extLst>
                <a:ext uri="{FF2B5EF4-FFF2-40B4-BE49-F238E27FC236}">
                  <a16:creationId xmlns:a16="http://schemas.microsoft.com/office/drawing/2014/main" id="{3A77B8FF-9215-BC37-F828-4041C529D9B6}"/>
                </a:ext>
              </a:extLst>
            </p:cNvPr>
            <p:cNvSpPr/>
            <p:nvPr/>
          </p:nvSpPr>
          <p:spPr>
            <a:xfrm>
              <a:off x="2707420" y="2798299"/>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Isis Morales</a:t>
              </a:r>
            </a:p>
          </p:txBody>
        </p:sp>
        <p:sp>
          <p:nvSpPr>
            <p:cNvPr id="41" name="Elipse 40">
              <a:extLst>
                <a:ext uri="{FF2B5EF4-FFF2-40B4-BE49-F238E27FC236}">
                  <a16:creationId xmlns:a16="http://schemas.microsoft.com/office/drawing/2014/main" id="{71D21F19-9839-FF51-0DBB-BB82876C9BAA}"/>
                </a:ext>
              </a:extLst>
            </p:cNvPr>
            <p:cNvSpPr/>
            <p:nvPr/>
          </p:nvSpPr>
          <p:spPr>
            <a:xfrm>
              <a:off x="2786934" y="2878570"/>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42" name="Rectángulo: esquinas redondeadas 41">
              <a:extLst>
                <a:ext uri="{FF2B5EF4-FFF2-40B4-BE49-F238E27FC236}">
                  <a16:creationId xmlns:a16="http://schemas.microsoft.com/office/drawing/2014/main" id="{E050EDBD-E331-5DC6-02AE-9646647C4D17}"/>
                </a:ext>
              </a:extLst>
            </p:cNvPr>
            <p:cNvSpPr/>
            <p:nvPr/>
          </p:nvSpPr>
          <p:spPr>
            <a:xfrm>
              <a:off x="2707420" y="3284087"/>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Fabiola Viacaba</a:t>
              </a:r>
            </a:p>
          </p:txBody>
        </p:sp>
        <p:sp>
          <p:nvSpPr>
            <p:cNvPr id="43" name="Elipse 42">
              <a:extLst>
                <a:ext uri="{FF2B5EF4-FFF2-40B4-BE49-F238E27FC236}">
                  <a16:creationId xmlns:a16="http://schemas.microsoft.com/office/drawing/2014/main" id="{9528EBEF-855A-AFA8-936B-3FD4F11D80E7}"/>
                </a:ext>
              </a:extLst>
            </p:cNvPr>
            <p:cNvSpPr/>
            <p:nvPr/>
          </p:nvSpPr>
          <p:spPr>
            <a:xfrm>
              <a:off x="2786934" y="3364358"/>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44" name="Rectángulo: esquinas redondeadas 43">
              <a:extLst>
                <a:ext uri="{FF2B5EF4-FFF2-40B4-BE49-F238E27FC236}">
                  <a16:creationId xmlns:a16="http://schemas.microsoft.com/office/drawing/2014/main" id="{7847A981-211F-6B24-5DE2-CD7745575613}"/>
                </a:ext>
              </a:extLst>
            </p:cNvPr>
            <p:cNvSpPr/>
            <p:nvPr/>
          </p:nvSpPr>
          <p:spPr>
            <a:xfrm>
              <a:off x="4545499" y="1331849"/>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Omar Mesones</a:t>
              </a:r>
            </a:p>
          </p:txBody>
        </p:sp>
        <p:sp>
          <p:nvSpPr>
            <p:cNvPr id="45" name="Elipse 44">
              <a:extLst>
                <a:ext uri="{FF2B5EF4-FFF2-40B4-BE49-F238E27FC236}">
                  <a16:creationId xmlns:a16="http://schemas.microsoft.com/office/drawing/2014/main" id="{904CE3B6-5B53-1FF3-C434-8AB55FE98CB9}"/>
                </a:ext>
              </a:extLst>
            </p:cNvPr>
            <p:cNvSpPr/>
            <p:nvPr/>
          </p:nvSpPr>
          <p:spPr>
            <a:xfrm>
              <a:off x="4625013" y="1412120"/>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46" name="Rectángulo: esquinas redondeadas 45">
              <a:extLst>
                <a:ext uri="{FF2B5EF4-FFF2-40B4-BE49-F238E27FC236}">
                  <a16:creationId xmlns:a16="http://schemas.microsoft.com/office/drawing/2014/main" id="{80FCC85E-5F87-5823-915D-9B457B8B2147}"/>
                </a:ext>
              </a:extLst>
            </p:cNvPr>
            <p:cNvSpPr/>
            <p:nvPr/>
          </p:nvSpPr>
          <p:spPr>
            <a:xfrm>
              <a:off x="4545499" y="1822180"/>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Belén Muñoz</a:t>
              </a:r>
            </a:p>
          </p:txBody>
        </p:sp>
        <p:sp>
          <p:nvSpPr>
            <p:cNvPr id="47" name="Elipse 46">
              <a:extLst>
                <a:ext uri="{FF2B5EF4-FFF2-40B4-BE49-F238E27FC236}">
                  <a16:creationId xmlns:a16="http://schemas.microsoft.com/office/drawing/2014/main" id="{2AC98D3E-9CEA-66B6-52BA-81BEF80994A3}"/>
                </a:ext>
              </a:extLst>
            </p:cNvPr>
            <p:cNvSpPr/>
            <p:nvPr/>
          </p:nvSpPr>
          <p:spPr>
            <a:xfrm>
              <a:off x="4625013" y="1902451"/>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48" name="Rectángulo: esquinas redondeadas 47">
              <a:extLst>
                <a:ext uri="{FF2B5EF4-FFF2-40B4-BE49-F238E27FC236}">
                  <a16:creationId xmlns:a16="http://schemas.microsoft.com/office/drawing/2014/main" id="{B012CF73-456A-A267-E007-D10A840E4F20}"/>
                </a:ext>
              </a:extLst>
            </p:cNvPr>
            <p:cNvSpPr/>
            <p:nvPr/>
          </p:nvSpPr>
          <p:spPr>
            <a:xfrm>
              <a:off x="4545499" y="2312511"/>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Carolina Li </a:t>
              </a:r>
            </a:p>
          </p:txBody>
        </p:sp>
        <p:sp>
          <p:nvSpPr>
            <p:cNvPr id="49" name="Elipse 48">
              <a:extLst>
                <a:ext uri="{FF2B5EF4-FFF2-40B4-BE49-F238E27FC236}">
                  <a16:creationId xmlns:a16="http://schemas.microsoft.com/office/drawing/2014/main" id="{0D25976F-6A4A-DB35-9EAB-E76A3E076932}"/>
                </a:ext>
              </a:extLst>
            </p:cNvPr>
            <p:cNvSpPr/>
            <p:nvPr/>
          </p:nvSpPr>
          <p:spPr>
            <a:xfrm>
              <a:off x="4625013" y="2392782"/>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50" name="Rectángulo: esquinas redondeadas 49">
              <a:extLst>
                <a:ext uri="{FF2B5EF4-FFF2-40B4-BE49-F238E27FC236}">
                  <a16:creationId xmlns:a16="http://schemas.microsoft.com/office/drawing/2014/main" id="{0480DCA6-5382-D2D8-5599-B022518F312E}"/>
                </a:ext>
              </a:extLst>
            </p:cNvPr>
            <p:cNvSpPr/>
            <p:nvPr/>
          </p:nvSpPr>
          <p:spPr>
            <a:xfrm>
              <a:off x="4545499" y="2798299"/>
              <a:ext cx="1478942" cy="405517"/>
            </a:xfrm>
            <a:prstGeom prst="roundRect">
              <a:avLst/>
            </a:prstGeom>
            <a:solidFill>
              <a:srgbClr val="FFCC99"/>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María Delgado</a:t>
              </a:r>
            </a:p>
          </p:txBody>
        </p:sp>
        <p:sp>
          <p:nvSpPr>
            <p:cNvPr id="51" name="Elipse 50">
              <a:extLst>
                <a:ext uri="{FF2B5EF4-FFF2-40B4-BE49-F238E27FC236}">
                  <a16:creationId xmlns:a16="http://schemas.microsoft.com/office/drawing/2014/main" id="{832889C0-B60B-CE1A-0F65-B0E467F87481}"/>
                </a:ext>
              </a:extLst>
            </p:cNvPr>
            <p:cNvSpPr/>
            <p:nvPr/>
          </p:nvSpPr>
          <p:spPr>
            <a:xfrm>
              <a:off x="4625013" y="2878570"/>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52" name="Rectángulo: esquinas redondeadas 51">
              <a:extLst>
                <a:ext uri="{FF2B5EF4-FFF2-40B4-BE49-F238E27FC236}">
                  <a16:creationId xmlns:a16="http://schemas.microsoft.com/office/drawing/2014/main" id="{EEB30FE1-04F1-C1A3-BA7B-182B7ADF7D47}"/>
                </a:ext>
              </a:extLst>
            </p:cNvPr>
            <p:cNvSpPr/>
            <p:nvPr/>
          </p:nvSpPr>
          <p:spPr>
            <a:xfrm>
              <a:off x="4545499" y="3284087"/>
              <a:ext cx="1478942" cy="405517"/>
            </a:xfrm>
            <a:prstGeom prst="roundRect">
              <a:avLst/>
            </a:prstGeom>
            <a:solidFill>
              <a:srgbClr val="FFCC99"/>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Cesar Rudas</a:t>
              </a:r>
            </a:p>
          </p:txBody>
        </p:sp>
        <p:sp>
          <p:nvSpPr>
            <p:cNvPr id="53" name="Elipse 52">
              <a:extLst>
                <a:ext uri="{FF2B5EF4-FFF2-40B4-BE49-F238E27FC236}">
                  <a16:creationId xmlns:a16="http://schemas.microsoft.com/office/drawing/2014/main" id="{44BC6E3F-6D58-0EA8-21E2-03A998784323}"/>
                </a:ext>
              </a:extLst>
            </p:cNvPr>
            <p:cNvSpPr/>
            <p:nvPr/>
          </p:nvSpPr>
          <p:spPr>
            <a:xfrm>
              <a:off x="4625013" y="3364358"/>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54" name="Rectángulo: esquinas redondeadas 53">
              <a:extLst>
                <a:ext uri="{FF2B5EF4-FFF2-40B4-BE49-F238E27FC236}">
                  <a16:creationId xmlns:a16="http://schemas.microsoft.com/office/drawing/2014/main" id="{241B1BA6-2ECC-7386-A8B1-5D1D0B15CF65}"/>
                </a:ext>
              </a:extLst>
            </p:cNvPr>
            <p:cNvSpPr/>
            <p:nvPr/>
          </p:nvSpPr>
          <p:spPr>
            <a:xfrm>
              <a:off x="4545499" y="3774418"/>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55" name="Elipse 54">
              <a:extLst>
                <a:ext uri="{FF2B5EF4-FFF2-40B4-BE49-F238E27FC236}">
                  <a16:creationId xmlns:a16="http://schemas.microsoft.com/office/drawing/2014/main" id="{A6D0576B-F1FD-A3B2-B013-695555A40C97}"/>
                </a:ext>
              </a:extLst>
            </p:cNvPr>
            <p:cNvSpPr/>
            <p:nvPr/>
          </p:nvSpPr>
          <p:spPr>
            <a:xfrm>
              <a:off x="4625013" y="3854689"/>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56" name="Rectángulo: esquinas redondeadas 55">
              <a:extLst>
                <a:ext uri="{FF2B5EF4-FFF2-40B4-BE49-F238E27FC236}">
                  <a16:creationId xmlns:a16="http://schemas.microsoft.com/office/drawing/2014/main" id="{7904AD5A-0411-FE44-C7FF-CD84F2B884DE}"/>
                </a:ext>
              </a:extLst>
            </p:cNvPr>
            <p:cNvSpPr/>
            <p:nvPr/>
          </p:nvSpPr>
          <p:spPr>
            <a:xfrm>
              <a:off x="4545499" y="4264749"/>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57" name="Elipse 56">
              <a:extLst>
                <a:ext uri="{FF2B5EF4-FFF2-40B4-BE49-F238E27FC236}">
                  <a16:creationId xmlns:a16="http://schemas.microsoft.com/office/drawing/2014/main" id="{BE455EA2-FFDC-CBC4-B8AF-6E45C242ED18}"/>
                </a:ext>
              </a:extLst>
            </p:cNvPr>
            <p:cNvSpPr/>
            <p:nvPr/>
          </p:nvSpPr>
          <p:spPr>
            <a:xfrm>
              <a:off x="4625013" y="4345020"/>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58" name="Rectángulo: esquinas redondeadas 57">
              <a:extLst>
                <a:ext uri="{FF2B5EF4-FFF2-40B4-BE49-F238E27FC236}">
                  <a16:creationId xmlns:a16="http://schemas.microsoft.com/office/drawing/2014/main" id="{843F7387-6750-2E69-8DBC-6D157D65F3B6}"/>
                </a:ext>
              </a:extLst>
            </p:cNvPr>
            <p:cNvSpPr/>
            <p:nvPr/>
          </p:nvSpPr>
          <p:spPr>
            <a:xfrm>
              <a:off x="4545499" y="4750537"/>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59" name="Elipse 58">
              <a:extLst>
                <a:ext uri="{FF2B5EF4-FFF2-40B4-BE49-F238E27FC236}">
                  <a16:creationId xmlns:a16="http://schemas.microsoft.com/office/drawing/2014/main" id="{B0663545-BA81-8D80-01E7-A4A9D76FF77C}"/>
                </a:ext>
              </a:extLst>
            </p:cNvPr>
            <p:cNvSpPr/>
            <p:nvPr/>
          </p:nvSpPr>
          <p:spPr>
            <a:xfrm>
              <a:off x="4625013" y="4830808"/>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0" name="Rectángulo: esquinas redondeadas 59">
              <a:extLst>
                <a:ext uri="{FF2B5EF4-FFF2-40B4-BE49-F238E27FC236}">
                  <a16:creationId xmlns:a16="http://schemas.microsoft.com/office/drawing/2014/main" id="{15B5B5EE-EF40-B61B-432A-F9BCD406949D}"/>
                </a:ext>
              </a:extLst>
            </p:cNvPr>
            <p:cNvSpPr/>
            <p:nvPr/>
          </p:nvSpPr>
          <p:spPr>
            <a:xfrm>
              <a:off x="6423330" y="1331849"/>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900" b="1">
                  <a:solidFill>
                    <a:schemeClr val="tx2">
                      <a:lumMod val="50000"/>
                    </a:schemeClr>
                  </a:solidFill>
                </a:rPr>
                <a:t>Samantha Antenucci</a:t>
              </a:r>
            </a:p>
          </p:txBody>
        </p:sp>
        <p:sp>
          <p:nvSpPr>
            <p:cNvPr id="61" name="Elipse 60">
              <a:extLst>
                <a:ext uri="{FF2B5EF4-FFF2-40B4-BE49-F238E27FC236}">
                  <a16:creationId xmlns:a16="http://schemas.microsoft.com/office/drawing/2014/main" id="{C0AB20B5-941A-3687-5B26-F2F149D44242}"/>
                </a:ext>
              </a:extLst>
            </p:cNvPr>
            <p:cNvSpPr/>
            <p:nvPr/>
          </p:nvSpPr>
          <p:spPr>
            <a:xfrm>
              <a:off x="6502844" y="1412120"/>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2" name="Rectángulo: esquinas redondeadas 61">
              <a:extLst>
                <a:ext uri="{FF2B5EF4-FFF2-40B4-BE49-F238E27FC236}">
                  <a16:creationId xmlns:a16="http://schemas.microsoft.com/office/drawing/2014/main" id="{B5AE9D8E-A9B6-5C24-36AE-83851C5B8002}"/>
                </a:ext>
              </a:extLst>
            </p:cNvPr>
            <p:cNvSpPr/>
            <p:nvPr/>
          </p:nvSpPr>
          <p:spPr>
            <a:xfrm>
              <a:off x="6423330" y="1822180"/>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Vanessa Sovero</a:t>
              </a:r>
            </a:p>
          </p:txBody>
        </p:sp>
        <p:sp>
          <p:nvSpPr>
            <p:cNvPr id="63" name="Elipse 62">
              <a:extLst>
                <a:ext uri="{FF2B5EF4-FFF2-40B4-BE49-F238E27FC236}">
                  <a16:creationId xmlns:a16="http://schemas.microsoft.com/office/drawing/2014/main" id="{609DBBA2-8264-0158-BC2C-D402A5A6D7F2}"/>
                </a:ext>
              </a:extLst>
            </p:cNvPr>
            <p:cNvSpPr/>
            <p:nvPr/>
          </p:nvSpPr>
          <p:spPr>
            <a:xfrm>
              <a:off x="6502844" y="1902451"/>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4" name="Rectángulo: esquinas redondeadas 63">
              <a:extLst>
                <a:ext uri="{FF2B5EF4-FFF2-40B4-BE49-F238E27FC236}">
                  <a16:creationId xmlns:a16="http://schemas.microsoft.com/office/drawing/2014/main" id="{3EC8B334-AB83-C879-5056-B3BA78117CCC}"/>
                </a:ext>
              </a:extLst>
            </p:cNvPr>
            <p:cNvSpPr/>
            <p:nvPr/>
          </p:nvSpPr>
          <p:spPr>
            <a:xfrm>
              <a:off x="6423330" y="2312511"/>
              <a:ext cx="1478942" cy="405517"/>
            </a:xfrm>
            <a:prstGeom prst="roundRect">
              <a:avLst/>
            </a:prstGeom>
            <a:solidFill>
              <a:schemeClr val="bg1"/>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José Grados</a:t>
              </a:r>
            </a:p>
          </p:txBody>
        </p:sp>
        <p:sp>
          <p:nvSpPr>
            <p:cNvPr id="65" name="Elipse 64">
              <a:extLst>
                <a:ext uri="{FF2B5EF4-FFF2-40B4-BE49-F238E27FC236}">
                  <a16:creationId xmlns:a16="http://schemas.microsoft.com/office/drawing/2014/main" id="{320F7AA2-3FF9-5027-8222-576348662361}"/>
                </a:ext>
              </a:extLst>
            </p:cNvPr>
            <p:cNvSpPr/>
            <p:nvPr/>
          </p:nvSpPr>
          <p:spPr>
            <a:xfrm>
              <a:off x="6502844" y="2392782"/>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6" name="Rectángulo: esquinas redondeadas 65">
              <a:extLst>
                <a:ext uri="{FF2B5EF4-FFF2-40B4-BE49-F238E27FC236}">
                  <a16:creationId xmlns:a16="http://schemas.microsoft.com/office/drawing/2014/main" id="{AA628D2C-B7E4-EC53-9579-6632279DD76B}"/>
                </a:ext>
              </a:extLst>
            </p:cNvPr>
            <p:cNvSpPr/>
            <p:nvPr/>
          </p:nvSpPr>
          <p:spPr>
            <a:xfrm>
              <a:off x="6423330" y="2798299"/>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67" name="Elipse 66">
              <a:extLst>
                <a:ext uri="{FF2B5EF4-FFF2-40B4-BE49-F238E27FC236}">
                  <a16:creationId xmlns:a16="http://schemas.microsoft.com/office/drawing/2014/main" id="{58D25456-569F-99A7-61BC-BDE8AA1260B1}"/>
                </a:ext>
              </a:extLst>
            </p:cNvPr>
            <p:cNvSpPr/>
            <p:nvPr/>
          </p:nvSpPr>
          <p:spPr>
            <a:xfrm>
              <a:off x="6502844" y="2878570"/>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8" name="Rectángulo: esquinas redondeadas 67">
              <a:extLst>
                <a:ext uri="{FF2B5EF4-FFF2-40B4-BE49-F238E27FC236}">
                  <a16:creationId xmlns:a16="http://schemas.microsoft.com/office/drawing/2014/main" id="{E09F583B-DAE1-F3DC-21F1-78E6F37153FE}"/>
                </a:ext>
              </a:extLst>
            </p:cNvPr>
            <p:cNvSpPr/>
            <p:nvPr/>
          </p:nvSpPr>
          <p:spPr>
            <a:xfrm>
              <a:off x="6423330" y="3284087"/>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69" name="Elipse 68">
              <a:extLst>
                <a:ext uri="{FF2B5EF4-FFF2-40B4-BE49-F238E27FC236}">
                  <a16:creationId xmlns:a16="http://schemas.microsoft.com/office/drawing/2014/main" id="{23F720BD-4F42-7D42-184E-304035733778}"/>
                </a:ext>
              </a:extLst>
            </p:cNvPr>
            <p:cNvSpPr/>
            <p:nvPr/>
          </p:nvSpPr>
          <p:spPr>
            <a:xfrm>
              <a:off x="6502844" y="3364358"/>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70" name="Rectángulo: esquinas redondeadas 69">
              <a:extLst>
                <a:ext uri="{FF2B5EF4-FFF2-40B4-BE49-F238E27FC236}">
                  <a16:creationId xmlns:a16="http://schemas.microsoft.com/office/drawing/2014/main" id="{BB98A931-3783-51F1-4562-153A7E86DC8A}"/>
                </a:ext>
              </a:extLst>
            </p:cNvPr>
            <p:cNvSpPr/>
            <p:nvPr/>
          </p:nvSpPr>
          <p:spPr>
            <a:xfrm>
              <a:off x="6423330" y="3774418"/>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71" name="Elipse 70">
              <a:extLst>
                <a:ext uri="{FF2B5EF4-FFF2-40B4-BE49-F238E27FC236}">
                  <a16:creationId xmlns:a16="http://schemas.microsoft.com/office/drawing/2014/main" id="{17287F76-2265-16FD-C945-32401B9875BE}"/>
                </a:ext>
              </a:extLst>
            </p:cNvPr>
            <p:cNvSpPr/>
            <p:nvPr/>
          </p:nvSpPr>
          <p:spPr>
            <a:xfrm>
              <a:off x="6502844" y="3854689"/>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72" name="Rectángulo: esquinas redondeadas 71">
              <a:extLst>
                <a:ext uri="{FF2B5EF4-FFF2-40B4-BE49-F238E27FC236}">
                  <a16:creationId xmlns:a16="http://schemas.microsoft.com/office/drawing/2014/main" id="{38ED6C03-E6E7-B158-224D-C0D44A5DD208}"/>
                </a:ext>
              </a:extLst>
            </p:cNvPr>
            <p:cNvSpPr/>
            <p:nvPr/>
          </p:nvSpPr>
          <p:spPr>
            <a:xfrm>
              <a:off x="8287910" y="1331849"/>
              <a:ext cx="1478942" cy="405517"/>
            </a:xfrm>
            <a:prstGeom prst="roundRect">
              <a:avLst/>
            </a:prstGeom>
            <a:solidFill>
              <a:srgbClr val="EBF5DB"/>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Mariluz Hilario</a:t>
              </a:r>
            </a:p>
          </p:txBody>
        </p:sp>
        <p:sp>
          <p:nvSpPr>
            <p:cNvPr id="73" name="Elipse 72">
              <a:extLst>
                <a:ext uri="{FF2B5EF4-FFF2-40B4-BE49-F238E27FC236}">
                  <a16:creationId xmlns:a16="http://schemas.microsoft.com/office/drawing/2014/main" id="{E5874877-A6E8-B3AE-88F8-29011EE6EE7B}"/>
                </a:ext>
              </a:extLst>
            </p:cNvPr>
            <p:cNvSpPr/>
            <p:nvPr/>
          </p:nvSpPr>
          <p:spPr>
            <a:xfrm>
              <a:off x="8367424" y="1412120"/>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74" name="Rectángulo: esquinas redondeadas 73">
              <a:extLst>
                <a:ext uri="{FF2B5EF4-FFF2-40B4-BE49-F238E27FC236}">
                  <a16:creationId xmlns:a16="http://schemas.microsoft.com/office/drawing/2014/main" id="{E55398F7-BCFA-561B-E8BE-A8ADA92892A7}"/>
                </a:ext>
              </a:extLst>
            </p:cNvPr>
            <p:cNvSpPr/>
            <p:nvPr/>
          </p:nvSpPr>
          <p:spPr>
            <a:xfrm>
              <a:off x="8287910" y="1822180"/>
              <a:ext cx="1478942" cy="405517"/>
            </a:xfrm>
            <a:prstGeom prst="roundRect">
              <a:avLst/>
            </a:prstGeom>
            <a:solidFill>
              <a:srgbClr val="C2F6FA"/>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Sergio Palomares</a:t>
              </a:r>
            </a:p>
          </p:txBody>
        </p:sp>
        <p:sp>
          <p:nvSpPr>
            <p:cNvPr id="75" name="Elipse 74">
              <a:extLst>
                <a:ext uri="{FF2B5EF4-FFF2-40B4-BE49-F238E27FC236}">
                  <a16:creationId xmlns:a16="http://schemas.microsoft.com/office/drawing/2014/main" id="{9AFB1413-3C3A-898F-E2A9-652987A46CF4}"/>
                </a:ext>
              </a:extLst>
            </p:cNvPr>
            <p:cNvSpPr/>
            <p:nvPr/>
          </p:nvSpPr>
          <p:spPr>
            <a:xfrm>
              <a:off x="8367424" y="1902451"/>
              <a:ext cx="256666" cy="256666"/>
            </a:xfrm>
            <a:prstGeom prst="ellipse">
              <a:avLst/>
            </a:prstGeom>
            <a:solidFill>
              <a:srgbClr val="05BC57"/>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76" name="Rectángulo: esquinas redondeadas 75">
              <a:extLst>
                <a:ext uri="{FF2B5EF4-FFF2-40B4-BE49-F238E27FC236}">
                  <a16:creationId xmlns:a16="http://schemas.microsoft.com/office/drawing/2014/main" id="{4E9A2AC3-C386-FC1B-F960-4398CFEFE51A}"/>
                </a:ext>
              </a:extLst>
            </p:cNvPr>
            <p:cNvSpPr/>
            <p:nvPr/>
          </p:nvSpPr>
          <p:spPr>
            <a:xfrm>
              <a:off x="10160449" y="1331849"/>
              <a:ext cx="1478942" cy="405517"/>
            </a:xfrm>
            <a:prstGeom prst="roundRect">
              <a:avLst/>
            </a:prstGeom>
            <a:solidFill>
              <a:schemeClr val="bg1"/>
            </a:solidFill>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Omar Montaño</a:t>
              </a:r>
            </a:p>
          </p:txBody>
        </p:sp>
        <p:sp>
          <p:nvSpPr>
            <p:cNvPr id="77" name="Elipse 76">
              <a:extLst>
                <a:ext uri="{FF2B5EF4-FFF2-40B4-BE49-F238E27FC236}">
                  <a16:creationId xmlns:a16="http://schemas.microsoft.com/office/drawing/2014/main" id="{CC3F0E1B-7A42-C52F-82DA-71379F930AF9}"/>
                </a:ext>
              </a:extLst>
            </p:cNvPr>
            <p:cNvSpPr/>
            <p:nvPr/>
          </p:nvSpPr>
          <p:spPr>
            <a:xfrm>
              <a:off x="10239963" y="1412120"/>
              <a:ext cx="256666" cy="256666"/>
            </a:xfrm>
            <a:prstGeom prst="ellipse">
              <a:avLst/>
            </a:prstGeom>
            <a:solidFill>
              <a:srgbClr val="FFC000"/>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78" name="Rectángulo: esquinas redondeadas 77">
              <a:extLst>
                <a:ext uri="{FF2B5EF4-FFF2-40B4-BE49-F238E27FC236}">
                  <a16:creationId xmlns:a16="http://schemas.microsoft.com/office/drawing/2014/main" id="{B26F59E0-144D-3D39-5ADA-9776056E3388}"/>
                </a:ext>
              </a:extLst>
            </p:cNvPr>
            <p:cNvSpPr/>
            <p:nvPr/>
          </p:nvSpPr>
          <p:spPr>
            <a:xfrm>
              <a:off x="10160449" y="1822180"/>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79" name="Elipse 78">
              <a:extLst>
                <a:ext uri="{FF2B5EF4-FFF2-40B4-BE49-F238E27FC236}">
                  <a16:creationId xmlns:a16="http://schemas.microsoft.com/office/drawing/2014/main" id="{ED8E4802-5C0D-E5CB-43CA-0F77DF39B652}"/>
                </a:ext>
              </a:extLst>
            </p:cNvPr>
            <p:cNvSpPr/>
            <p:nvPr/>
          </p:nvSpPr>
          <p:spPr>
            <a:xfrm>
              <a:off x="10239963" y="1902451"/>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80" name="Rectángulo: esquinas redondeadas 79">
              <a:extLst>
                <a:ext uri="{FF2B5EF4-FFF2-40B4-BE49-F238E27FC236}">
                  <a16:creationId xmlns:a16="http://schemas.microsoft.com/office/drawing/2014/main" id="{E5295A2E-C74D-DF88-4CB9-E5AFDB442108}"/>
                </a:ext>
              </a:extLst>
            </p:cNvPr>
            <p:cNvSpPr/>
            <p:nvPr/>
          </p:nvSpPr>
          <p:spPr>
            <a:xfrm>
              <a:off x="10160449" y="2312511"/>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81" name="Elipse 80">
              <a:extLst>
                <a:ext uri="{FF2B5EF4-FFF2-40B4-BE49-F238E27FC236}">
                  <a16:creationId xmlns:a16="http://schemas.microsoft.com/office/drawing/2014/main" id="{D4A90059-E7B1-9465-1F79-AF131AB2CE02}"/>
                </a:ext>
              </a:extLst>
            </p:cNvPr>
            <p:cNvSpPr/>
            <p:nvPr/>
          </p:nvSpPr>
          <p:spPr>
            <a:xfrm>
              <a:off x="10239963" y="2392782"/>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82" name="Rectángulo: esquinas redondeadas 81">
              <a:extLst>
                <a:ext uri="{FF2B5EF4-FFF2-40B4-BE49-F238E27FC236}">
                  <a16:creationId xmlns:a16="http://schemas.microsoft.com/office/drawing/2014/main" id="{27B06CC4-4A97-E98A-B4D2-9A9D69FB54B0}"/>
                </a:ext>
              </a:extLst>
            </p:cNvPr>
            <p:cNvSpPr/>
            <p:nvPr/>
          </p:nvSpPr>
          <p:spPr>
            <a:xfrm>
              <a:off x="10160449" y="2798299"/>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83" name="Elipse 82">
              <a:extLst>
                <a:ext uri="{FF2B5EF4-FFF2-40B4-BE49-F238E27FC236}">
                  <a16:creationId xmlns:a16="http://schemas.microsoft.com/office/drawing/2014/main" id="{A5872210-4A4D-DE82-C2F2-F80034EC548B}"/>
                </a:ext>
              </a:extLst>
            </p:cNvPr>
            <p:cNvSpPr/>
            <p:nvPr/>
          </p:nvSpPr>
          <p:spPr>
            <a:xfrm>
              <a:off x="10239963" y="2878570"/>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84" name="Rectángulo: esquinas redondeadas 83">
              <a:extLst>
                <a:ext uri="{FF2B5EF4-FFF2-40B4-BE49-F238E27FC236}">
                  <a16:creationId xmlns:a16="http://schemas.microsoft.com/office/drawing/2014/main" id="{9BE89E44-0DA0-7A9A-8394-190B12610479}"/>
                </a:ext>
              </a:extLst>
            </p:cNvPr>
            <p:cNvSpPr/>
            <p:nvPr/>
          </p:nvSpPr>
          <p:spPr>
            <a:xfrm>
              <a:off x="10160449" y="3284087"/>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85" name="Elipse 84">
              <a:extLst>
                <a:ext uri="{FF2B5EF4-FFF2-40B4-BE49-F238E27FC236}">
                  <a16:creationId xmlns:a16="http://schemas.microsoft.com/office/drawing/2014/main" id="{422E9886-949D-988B-5F98-62832960F4B7}"/>
                </a:ext>
              </a:extLst>
            </p:cNvPr>
            <p:cNvSpPr/>
            <p:nvPr/>
          </p:nvSpPr>
          <p:spPr>
            <a:xfrm>
              <a:off x="10239963" y="3364358"/>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86" name="Rectángulo: esquinas redondeadas 85">
              <a:extLst>
                <a:ext uri="{FF2B5EF4-FFF2-40B4-BE49-F238E27FC236}">
                  <a16:creationId xmlns:a16="http://schemas.microsoft.com/office/drawing/2014/main" id="{8FAD7D0E-4FE8-45F3-0400-D83075F54FC1}"/>
                </a:ext>
              </a:extLst>
            </p:cNvPr>
            <p:cNvSpPr/>
            <p:nvPr/>
          </p:nvSpPr>
          <p:spPr>
            <a:xfrm>
              <a:off x="10160449" y="3774418"/>
              <a:ext cx="1478942" cy="405517"/>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r"/>
              <a:r>
                <a:rPr lang="es-MX" sz="1000" b="1">
                  <a:solidFill>
                    <a:schemeClr val="tx2">
                      <a:lumMod val="50000"/>
                    </a:schemeClr>
                  </a:solidFill>
                </a:rPr>
                <a:t>TBD</a:t>
              </a:r>
            </a:p>
          </p:txBody>
        </p:sp>
        <p:sp>
          <p:nvSpPr>
            <p:cNvPr id="87" name="Elipse 86">
              <a:extLst>
                <a:ext uri="{FF2B5EF4-FFF2-40B4-BE49-F238E27FC236}">
                  <a16:creationId xmlns:a16="http://schemas.microsoft.com/office/drawing/2014/main" id="{8E9706D0-84F5-4E0F-9192-F32FBBF037A1}"/>
                </a:ext>
              </a:extLst>
            </p:cNvPr>
            <p:cNvSpPr/>
            <p:nvPr/>
          </p:nvSpPr>
          <p:spPr>
            <a:xfrm>
              <a:off x="10239963" y="3854689"/>
              <a:ext cx="256666" cy="256666"/>
            </a:xfrm>
            <a:prstGeom prst="ellipse">
              <a:avLst/>
            </a:prstGeom>
            <a:solidFill>
              <a:schemeClr val="bg1">
                <a:lumMod val="5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cxnSp>
          <p:nvCxnSpPr>
            <p:cNvPr id="88" name="Conector recto 87">
              <a:extLst>
                <a:ext uri="{FF2B5EF4-FFF2-40B4-BE49-F238E27FC236}">
                  <a16:creationId xmlns:a16="http://schemas.microsoft.com/office/drawing/2014/main" id="{91CCA5B4-D4CB-E210-8BBA-2C67B1FA7B42}"/>
                </a:ext>
              </a:extLst>
            </p:cNvPr>
            <p:cNvCxnSpPr>
              <a:stCxn id="10" idx="3"/>
              <a:endCxn id="12" idx="1"/>
            </p:cNvCxnSpPr>
            <p:nvPr/>
          </p:nvCxnSpPr>
          <p:spPr>
            <a:xfrm>
              <a:off x="5084858" y="493407"/>
              <a:ext cx="931628"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89" name="Conector recto 88">
              <a:extLst>
                <a:ext uri="{FF2B5EF4-FFF2-40B4-BE49-F238E27FC236}">
                  <a16:creationId xmlns:a16="http://schemas.microsoft.com/office/drawing/2014/main" id="{0BB1696F-3935-889C-ADF2-057B61EA61F4}"/>
                </a:ext>
              </a:extLst>
            </p:cNvPr>
            <p:cNvCxnSpPr>
              <a:stCxn id="12" idx="3"/>
              <a:endCxn id="14" idx="1"/>
            </p:cNvCxnSpPr>
            <p:nvPr/>
          </p:nvCxnSpPr>
          <p:spPr>
            <a:xfrm>
              <a:off x="7495428" y="493407"/>
              <a:ext cx="948679"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Conector recto 89">
              <a:extLst>
                <a:ext uri="{FF2B5EF4-FFF2-40B4-BE49-F238E27FC236}">
                  <a16:creationId xmlns:a16="http://schemas.microsoft.com/office/drawing/2014/main" id="{D71201ED-45DF-034E-1A0F-92E15B75F0FE}"/>
                </a:ext>
              </a:extLst>
            </p:cNvPr>
            <p:cNvCxnSpPr>
              <a:stCxn id="8" idx="3"/>
              <a:endCxn id="10" idx="1"/>
            </p:cNvCxnSpPr>
            <p:nvPr/>
          </p:nvCxnSpPr>
          <p:spPr>
            <a:xfrm>
              <a:off x="2368253" y="493406"/>
              <a:ext cx="1237663" cy="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Conector recto 90">
              <a:extLst>
                <a:ext uri="{FF2B5EF4-FFF2-40B4-BE49-F238E27FC236}">
                  <a16:creationId xmlns:a16="http://schemas.microsoft.com/office/drawing/2014/main" id="{4091277D-988C-CC2D-4360-87C5D4224C38}"/>
                </a:ext>
              </a:extLst>
            </p:cNvPr>
            <p:cNvCxnSpPr>
              <a:stCxn id="8" idx="2"/>
              <a:endCxn id="16" idx="0"/>
            </p:cNvCxnSpPr>
            <p:nvPr/>
          </p:nvCxnSpPr>
          <p:spPr>
            <a:xfrm>
              <a:off x="1628782" y="696164"/>
              <a:ext cx="3890" cy="63568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 name="Conector recto 91">
              <a:extLst>
                <a:ext uri="{FF2B5EF4-FFF2-40B4-BE49-F238E27FC236}">
                  <a16:creationId xmlns:a16="http://schemas.microsoft.com/office/drawing/2014/main" id="{6C5CEBF5-D7E7-1EB7-5E19-38AAF3B925BC}"/>
                </a:ext>
              </a:extLst>
            </p:cNvPr>
            <p:cNvCxnSpPr>
              <a:cxnSpLocks/>
            </p:cNvCxnSpPr>
            <p:nvPr/>
          </p:nvCxnSpPr>
          <p:spPr>
            <a:xfrm>
              <a:off x="1631950" y="993917"/>
              <a:ext cx="9267970"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3" name="Conector recto 92">
              <a:extLst>
                <a:ext uri="{FF2B5EF4-FFF2-40B4-BE49-F238E27FC236}">
                  <a16:creationId xmlns:a16="http://schemas.microsoft.com/office/drawing/2014/main" id="{E1F2B219-8EF6-52EA-4B20-623F770AC445}"/>
                </a:ext>
              </a:extLst>
            </p:cNvPr>
            <p:cNvCxnSpPr>
              <a:cxnSpLocks/>
              <a:endCxn id="76" idx="0"/>
            </p:cNvCxnSpPr>
            <p:nvPr/>
          </p:nvCxnSpPr>
          <p:spPr>
            <a:xfrm>
              <a:off x="10899920" y="983456"/>
              <a:ext cx="0" cy="348393"/>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4" name="Conector recto 93">
              <a:extLst>
                <a:ext uri="{FF2B5EF4-FFF2-40B4-BE49-F238E27FC236}">
                  <a16:creationId xmlns:a16="http://schemas.microsoft.com/office/drawing/2014/main" id="{55CE489C-C9EC-4014-5B27-788314ED949E}"/>
                </a:ext>
              </a:extLst>
            </p:cNvPr>
            <p:cNvCxnSpPr>
              <a:cxnSpLocks/>
            </p:cNvCxnSpPr>
            <p:nvPr/>
          </p:nvCxnSpPr>
          <p:spPr>
            <a:xfrm>
              <a:off x="9025402" y="997619"/>
              <a:ext cx="0" cy="33423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Conector recto 94">
              <a:extLst>
                <a:ext uri="{FF2B5EF4-FFF2-40B4-BE49-F238E27FC236}">
                  <a16:creationId xmlns:a16="http://schemas.microsoft.com/office/drawing/2014/main" id="{66828D8E-C82F-0848-2F1C-68C055C4ACE9}"/>
                </a:ext>
              </a:extLst>
            </p:cNvPr>
            <p:cNvCxnSpPr>
              <a:cxnSpLocks/>
            </p:cNvCxnSpPr>
            <p:nvPr/>
          </p:nvCxnSpPr>
          <p:spPr>
            <a:xfrm>
              <a:off x="7074345" y="997619"/>
              <a:ext cx="0" cy="33423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Conector recto 95">
              <a:extLst>
                <a:ext uri="{FF2B5EF4-FFF2-40B4-BE49-F238E27FC236}">
                  <a16:creationId xmlns:a16="http://schemas.microsoft.com/office/drawing/2014/main" id="{986CE81D-6303-AEF9-96EE-A28AC6D0B762}"/>
                </a:ext>
              </a:extLst>
            </p:cNvPr>
            <p:cNvCxnSpPr>
              <a:cxnSpLocks/>
            </p:cNvCxnSpPr>
            <p:nvPr/>
          </p:nvCxnSpPr>
          <p:spPr>
            <a:xfrm>
              <a:off x="5302860" y="997619"/>
              <a:ext cx="0" cy="33423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Conector recto 96">
              <a:extLst>
                <a:ext uri="{FF2B5EF4-FFF2-40B4-BE49-F238E27FC236}">
                  <a16:creationId xmlns:a16="http://schemas.microsoft.com/office/drawing/2014/main" id="{01B6CABC-8BB5-6579-C925-B00D03B81456}"/>
                </a:ext>
              </a:extLst>
            </p:cNvPr>
            <p:cNvCxnSpPr>
              <a:cxnSpLocks/>
            </p:cNvCxnSpPr>
            <p:nvPr/>
          </p:nvCxnSpPr>
          <p:spPr>
            <a:xfrm>
              <a:off x="3437618" y="997619"/>
              <a:ext cx="0" cy="33423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01" name="CuadroTexto 100">
              <a:extLst>
                <a:ext uri="{FF2B5EF4-FFF2-40B4-BE49-F238E27FC236}">
                  <a16:creationId xmlns:a16="http://schemas.microsoft.com/office/drawing/2014/main" id="{AEBABEC4-FD1C-C5D4-9217-011DFCEC793D}"/>
                </a:ext>
              </a:extLst>
            </p:cNvPr>
            <p:cNvSpPr txBox="1"/>
            <p:nvPr/>
          </p:nvSpPr>
          <p:spPr>
            <a:xfrm rot="16200000">
              <a:off x="-367763" y="4612037"/>
              <a:ext cx="2149504" cy="276999"/>
            </a:xfrm>
            <a:prstGeom prst="rect">
              <a:avLst/>
            </a:prstGeom>
            <a:noFill/>
          </p:spPr>
          <p:txBody>
            <a:bodyPr wrap="square" rtlCol="0">
              <a:spAutoFit/>
            </a:bodyPr>
            <a:lstStyle/>
            <a:p>
              <a:r>
                <a:rPr lang="es-MX" sz="1200" b="1">
                  <a:solidFill>
                    <a:schemeClr val="tx2">
                      <a:lumMod val="50000"/>
                    </a:schemeClr>
                  </a:solidFill>
                  <a:latin typeface="Abadi ExtraLight" panose="020F0502020204030204" pitchFamily="34" charset="0"/>
                </a:rPr>
                <a:t>Canales Digitales</a:t>
              </a:r>
              <a:endParaRPr lang="es-PE" sz="1200" b="1">
                <a:solidFill>
                  <a:schemeClr val="tx2">
                    <a:lumMod val="50000"/>
                  </a:schemeClr>
                </a:solidFill>
                <a:latin typeface="Abadi ExtraLight" panose="020F0502020204030204" pitchFamily="34" charset="0"/>
              </a:endParaRPr>
            </a:p>
          </p:txBody>
        </p:sp>
        <p:sp>
          <p:nvSpPr>
            <p:cNvPr id="102" name="CuadroTexto 101">
              <a:extLst>
                <a:ext uri="{FF2B5EF4-FFF2-40B4-BE49-F238E27FC236}">
                  <a16:creationId xmlns:a16="http://schemas.microsoft.com/office/drawing/2014/main" id="{1995CAB8-5DF8-95B8-44A9-753A1C0F806F}"/>
                </a:ext>
              </a:extLst>
            </p:cNvPr>
            <p:cNvSpPr txBox="1"/>
            <p:nvPr/>
          </p:nvSpPr>
          <p:spPr>
            <a:xfrm rot="16200000">
              <a:off x="1464371" y="4580047"/>
              <a:ext cx="2149504" cy="276999"/>
            </a:xfrm>
            <a:prstGeom prst="rect">
              <a:avLst/>
            </a:prstGeom>
            <a:noFill/>
          </p:spPr>
          <p:txBody>
            <a:bodyPr wrap="square" rtlCol="0">
              <a:spAutoFit/>
            </a:bodyPr>
            <a:lstStyle/>
            <a:p>
              <a:r>
                <a:rPr lang="es-MX" sz="1200" b="1">
                  <a:solidFill>
                    <a:schemeClr val="tx2">
                      <a:lumMod val="50000"/>
                    </a:schemeClr>
                  </a:solidFill>
                  <a:latin typeface="Abadi ExtraLight" panose="020F0502020204030204" pitchFamily="34" charset="0"/>
                </a:rPr>
                <a:t>Core Bantotal</a:t>
              </a:r>
              <a:endParaRPr lang="es-PE" sz="1200" b="1">
                <a:solidFill>
                  <a:schemeClr val="tx2">
                    <a:lumMod val="50000"/>
                  </a:schemeClr>
                </a:solidFill>
                <a:latin typeface="Abadi ExtraLight" panose="020F0502020204030204" pitchFamily="34" charset="0"/>
              </a:endParaRPr>
            </a:p>
          </p:txBody>
        </p:sp>
        <p:sp>
          <p:nvSpPr>
            <p:cNvPr id="104" name="CuadroTexto 103">
              <a:extLst>
                <a:ext uri="{FF2B5EF4-FFF2-40B4-BE49-F238E27FC236}">
                  <a16:creationId xmlns:a16="http://schemas.microsoft.com/office/drawing/2014/main" id="{4DC1C98C-CFDC-A750-1331-D0A835A4FF37}"/>
                </a:ext>
              </a:extLst>
            </p:cNvPr>
            <p:cNvSpPr txBox="1"/>
            <p:nvPr/>
          </p:nvSpPr>
          <p:spPr>
            <a:xfrm rot="16200000">
              <a:off x="3313044" y="4557277"/>
              <a:ext cx="2149504" cy="276999"/>
            </a:xfrm>
            <a:prstGeom prst="rect">
              <a:avLst/>
            </a:prstGeom>
            <a:noFill/>
          </p:spPr>
          <p:txBody>
            <a:bodyPr wrap="square" rtlCol="0">
              <a:spAutoFit/>
            </a:bodyPr>
            <a:lstStyle/>
            <a:p>
              <a:r>
                <a:rPr lang="es-MX" sz="1200" b="1">
                  <a:solidFill>
                    <a:schemeClr val="tx2">
                      <a:lumMod val="50000"/>
                    </a:schemeClr>
                  </a:solidFill>
                  <a:latin typeface="Abadi ExtraLight" panose="020F0502020204030204" pitchFamily="34" charset="0"/>
                </a:rPr>
                <a:t>Integración</a:t>
              </a:r>
              <a:endParaRPr lang="es-PE" sz="1200" b="1">
                <a:solidFill>
                  <a:schemeClr val="tx2">
                    <a:lumMod val="50000"/>
                  </a:schemeClr>
                </a:solidFill>
                <a:latin typeface="Abadi ExtraLight" panose="020F0502020204030204" pitchFamily="34" charset="0"/>
              </a:endParaRPr>
            </a:p>
          </p:txBody>
        </p:sp>
        <p:sp>
          <p:nvSpPr>
            <p:cNvPr id="106" name="CuadroTexto 105">
              <a:extLst>
                <a:ext uri="{FF2B5EF4-FFF2-40B4-BE49-F238E27FC236}">
                  <a16:creationId xmlns:a16="http://schemas.microsoft.com/office/drawing/2014/main" id="{187C78B0-A442-7EE8-9AA9-7B4231E3FA35}"/>
                </a:ext>
              </a:extLst>
            </p:cNvPr>
            <p:cNvSpPr txBox="1"/>
            <p:nvPr/>
          </p:nvSpPr>
          <p:spPr>
            <a:xfrm rot="16200000">
              <a:off x="5182927" y="4606369"/>
              <a:ext cx="2149504" cy="276999"/>
            </a:xfrm>
            <a:prstGeom prst="rect">
              <a:avLst/>
            </a:prstGeom>
            <a:noFill/>
          </p:spPr>
          <p:txBody>
            <a:bodyPr wrap="square" rtlCol="0">
              <a:spAutoFit/>
            </a:bodyPr>
            <a:lstStyle/>
            <a:p>
              <a:r>
                <a:rPr lang="es-MX" sz="1200" b="1">
                  <a:solidFill>
                    <a:schemeClr val="tx2">
                      <a:lumMod val="50000"/>
                    </a:schemeClr>
                  </a:solidFill>
                  <a:latin typeface="Abadi ExtraLight" panose="020F0502020204030204" pitchFamily="34" charset="0"/>
                </a:rPr>
                <a:t>Canales Asistidos / Procesos</a:t>
              </a:r>
              <a:endParaRPr lang="es-PE" sz="1200" b="1">
                <a:solidFill>
                  <a:schemeClr val="tx2">
                    <a:lumMod val="50000"/>
                  </a:schemeClr>
                </a:solidFill>
                <a:latin typeface="Abadi ExtraLight" panose="020F0502020204030204" pitchFamily="34" charset="0"/>
              </a:endParaRPr>
            </a:p>
          </p:txBody>
        </p:sp>
        <p:sp>
          <p:nvSpPr>
            <p:cNvPr id="108" name="CuadroTexto 107">
              <a:extLst>
                <a:ext uri="{FF2B5EF4-FFF2-40B4-BE49-F238E27FC236}">
                  <a16:creationId xmlns:a16="http://schemas.microsoft.com/office/drawing/2014/main" id="{1AFE5DA2-60E3-DEE1-7FDF-C8092C230E66}"/>
                </a:ext>
              </a:extLst>
            </p:cNvPr>
            <p:cNvSpPr txBox="1"/>
            <p:nvPr/>
          </p:nvSpPr>
          <p:spPr>
            <a:xfrm rot="16200000">
              <a:off x="7043868" y="4582517"/>
              <a:ext cx="2149504" cy="276999"/>
            </a:xfrm>
            <a:prstGeom prst="rect">
              <a:avLst/>
            </a:prstGeom>
            <a:noFill/>
          </p:spPr>
          <p:txBody>
            <a:bodyPr wrap="square" rtlCol="0">
              <a:spAutoFit/>
            </a:bodyPr>
            <a:lstStyle/>
            <a:p>
              <a:r>
                <a:rPr lang="es-MX" sz="1200" b="1">
                  <a:solidFill>
                    <a:schemeClr val="tx2">
                      <a:lumMod val="50000"/>
                    </a:schemeClr>
                  </a:solidFill>
                  <a:latin typeface="Abadi ExtraLight" panose="020F0502020204030204" pitchFamily="34" charset="0"/>
                </a:rPr>
                <a:t>Payments &amp; Cards</a:t>
              </a:r>
              <a:endParaRPr lang="es-PE" sz="1200" b="1">
                <a:solidFill>
                  <a:schemeClr val="tx2">
                    <a:lumMod val="50000"/>
                  </a:schemeClr>
                </a:solidFill>
                <a:latin typeface="Abadi ExtraLight" panose="020F0502020204030204" pitchFamily="34" charset="0"/>
              </a:endParaRPr>
            </a:p>
          </p:txBody>
        </p:sp>
        <p:sp>
          <p:nvSpPr>
            <p:cNvPr id="110" name="CuadroTexto 109">
              <a:extLst>
                <a:ext uri="{FF2B5EF4-FFF2-40B4-BE49-F238E27FC236}">
                  <a16:creationId xmlns:a16="http://schemas.microsoft.com/office/drawing/2014/main" id="{9DE128ED-854F-31C6-B79A-1B8028B09111}"/>
                </a:ext>
              </a:extLst>
            </p:cNvPr>
            <p:cNvSpPr txBox="1"/>
            <p:nvPr/>
          </p:nvSpPr>
          <p:spPr>
            <a:xfrm rot="16200000">
              <a:off x="8900184" y="4557277"/>
              <a:ext cx="2149504" cy="276999"/>
            </a:xfrm>
            <a:prstGeom prst="rect">
              <a:avLst/>
            </a:prstGeom>
            <a:noFill/>
          </p:spPr>
          <p:txBody>
            <a:bodyPr wrap="square" rtlCol="0">
              <a:spAutoFit/>
            </a:bodyPr>
            <a:lstStyle/>
            <a:p>
              <a:r>
                <a:rPr lang="es-MX" sz="1200" b="1">
                  <a:solidFill>
                    <a:schemeClr val="tx2">
                      <a:lumMod val="50000"/>
                    </a:schemeClr>
                  </a:solidFill>
                  <a:latin typeface="Abadi ExtraLight" panose="020F0502020204030204" pitchFamily="34" charset="0"/>
                </a:rPr>
                <a:t>Aplicaciones de Soporte</a:t>
              </a:r>
              <a:endParaRPr lang="es-PE" sz="1200" b="1">
                <a:solidFill>
                  <a:schemeClr val="tx2">
                    <a:lumMod val="50000"/>
                  </a:schemeClr>
                </a:solidFill>
                <a:latin typeface="Abadi ExtraLight" panose="020F0502020204030204" pitchFamily="34" charset="0"/>
              </a:endParaRPr>
            </a:p>
          </p:txBody>
        </p:sp>
      </p:grpSp>
      <p:sp>
        <p:nvSpPr>
          <p:cNvPr id="120" name="Title 5">
            <a:extLst>
              <a:ext uri="{FF2B5EF4-FFF2-40B4-BE49-F238E27FC236}">
                <a16:creationId xmlns:a16="http://schemas.microsoft.com/office/drawing/2014/main" id="{B11F858B-755F-8F21-053B-6ED49A937602}"/>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 </a:t>
            </a:r>
            <a:r>
              <a:rPr lang="en-GB" b="0">
                <a:solidFill>
                  <a:srgbClr val="203864"/>
                </a:solidFill>
                <a:latin typeface="Santander Headline" panose="020B0504020201020104" pitchFamily="34" charset="0"/>
              </a:rPr>
              <a:t>Equipo</a:t>
            </a:r>
            <a:endParaRPr lang="es-MX">
              <a:solidFill>
                <a:srgbClr val="203864"/>
              </a:solidFill>
            </a:endParaRPr>
          </a:p>
        </p:txBody>
      </p:sp>
      <p:sp>
        <p:nvSpPr>
          <p:cNvPr id="3" name="Rectángulo: esquinas redondeadas 2">
            <a:extLst>
              <a:ext uri="{FF2B5EF4-FFF2-40B4-BE49-F238E27FC236}">
                <a16:creationId xmlns:a16="http://schemas.microsoft.com/office/drawing/2014/main" id="{61E15A2B-968E-AFF3-78FC-D7B41F3B0B39}"/>
              </a:ext>
            </a:extLst>
          </p:cNvPr>
          <p:cNvSpPr/>
          <p:nvPr/>
        </p:nvSpPr>
        <p:spPr>
          <a:xfrm>
            <a:off x="11798871" y="153499"/>
            <a:ext cx="166978" cy="170216"/>
          </a:xfrm>
          <a:prstGeom prst="roundRect">
            <a:avLst/>
          </a:prstGeom>
          <a:solidFill>
            <a:srgbClr val="EBF5DB"/>
          </a:solidFill>
          <a:ln w="3175">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200">
                <a:solidFill>
                  <a:schemeClr val="bg2">
                    <a:lumMod val="50000"/>
                  </a:schemeClr>
                </a:solidFill>
              </a:rPr>
              <a:t>8</a:t>
            </a:r>
            <a:endParaRPr lang="es-PE" sz="1200">
              <a:solidFill>
                <a:schemeClr val="bg2">
                  <a:lumMod val="50000"/>
                </a:schemeClr>
              </a:solidFill>
            </a:endParaRPr>
          </a:p>
        </p:txBody>
      </p:sp>
      <p:sp>
        <p:nvSpPr>
          <p:cNvPr id="4" name="Rectángulo: esquinas redondeadas 3">
            <a:extLst>
              <a:ext uri="{FF2B5EF4-FFF2-40B4-BE49-F238E27FC236}">
                <a16:creationId xmlns:a16="http://schemas.microsoft.com/office/drawing/2014/main" id="{9BAD460A-423F-16AA-21F8-5ABF11EC43BE}"/>
              </a:ext>
            </a:extLst>
          </p:cNvPr>
          <p:cNvSpPr/>
          <p:nvPr/>
        </p:nvSpPr>
        <p:spPr>
          <a:xfrm>
            <a:off x="11798871" y="354457"/>
            <a:ext cx="166978" cy="170216"/>
          </a:xfrm>
          <a:prstGeom prst="roundRect">
            <a:avLst/>
          </a:prstGeom>
          <a:solidFill>
            <a:srgbClr val="99CCFF"/>
          </a:solidFill>
          <a:ln w="3175">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200">
                <a:solidFill>
                  <a:schemeClr val="bg2">
                    <a:lumMod val="50000"/>
                  </a:schemeClr>
                </a:solidFill>
              </a:rPr>
              <a:t>3</a:t>
            </a:r>
            <a:endParaRPr lang="es-PE" sz="1200">
              <a:solidFill>
                <a:schemeClr val="bg2">
                  <a:lumMod val="50000"/>
                </a:schemeClr>
              </a:solidFill>
            </a:endParaRPr>
          </a:p>
        </p:txBody>
      </p:sp>
      <p:sp>
        <p:nvSpPr>
          <p:cNvPr id="5" name="Rectángulo: esquinas redondeadas 4">
            <a:extLst>
              <a:ext uri="{FF2B5EF4-FFF2-40B4-BE49-F238E27FC236}">
                <a16:creationId xmlns:a16="http://schemas.microsoft.com/office/drawing/2014/main" id="{EEAB2BEA-1BCD-DBF5-1C11-13CF36794008}"/>
              </a:ext>
            </a:extLst>
          </p:cNvPr>
          <p:cNvSpPr/>
          <p:nvPr/>
        </p:nvSpPr>
        <p:spPr>
          <a:xfrm>
            <a:off x="11798871" y="555415"/>
            <a:ext cx="166978" cy="170216"/>
          </a:xfrm>
          <a:prstGeom prst="roundRect">
            <a:avLst/>
          </a:prstGeom>
          <a:solidFill>
            <a:srgbClr val="FFCC99"/>
          </a:solidFill>
          <a:ln w="3175">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200">
                <a:solidFill>
                  <a:schemeClr val="bg2">
                    <a:lumMod val="50000"/>
                  </a:schemeClr>
                </a:solidFill>
              </a:rPr>
              <a:t>2</a:t>
            </a:r>
            <a:endParaRPr lang="es-PE" sz="1200">
              <a:solidFill>
                <a:schemeClr val="bg2">
                  <a:lumMod val="50000"/>
                </a:schemeClr>
              </a:solidFill>
            </a:endParaRPr>
          </a:p>
        </p:txBody>
      </p:sp>
      <p:sp>
        <p:nvSpPr>
          <p:cNvPr id="6" name="Rectángulo: esquinas redondeadas 5">
            <a:extLst>
              <a:ext uri="{FF2B5EF4-FFF2-40B4-BE49-F238E27FC236}">
                <a16:creationId xmlns:a16="http://schemas.microsoft.com/office/drawing/2014/main" id="{CADC2695-4A44-61FA-170C-5E8B622659EA}"/>
              </a:ext>
            </a:extLst>
          </p:cNvPr>
          <p:cNvSpPr/>
          <p:nvPr/>
        </p:nvSpPr>
        <p:spPr>
          <a:xfrm>
            <a:off x="11798871" y="744225"/>
            <a:ext cx="166978" cy="170216"/>
          </a:xfrm>
          <a:prstGeom prst="roundRect">
            <a:avLst/>
          </a:prstGeom>
          <a:solidFill>
            <a:srgbClr val="C2F6FA"/>
          </a:solidFill>
          <a:ln w="3175">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200">
                <a:solidFill>
                  <a:schemeClr val="bg2">
                    <a:lumMod val="50000"/>
                  </a:schemeClr>
                </a:solidFill>
              </a:rPr>
              <a:t>1</a:t>
            </a:r>
            <a:endParaRPr lang="es-PE" sz="1200">
              <a:solidFill>
                <a:schemeClr val="bg2">
                  <a:lumMod val="50000"/>
                </a:schemeClr>
              </a:solidFill>
            </a:endParaRPr>
          </a:p>
        </p:txBody>
      </p:sp>
      <p:sp>
        <p:nvSpPr>
          <p:cNvPr id="7" name="CuadroTexto 6">
            <a:extLst>
              <a:ext uri="{FF2B5EF4-FFF2-40B4-BE49-F238E27FC236}">
                <a16:creationId xmlns:a16="http://schemas.microsoft.com/office/drawing/2014/main" id="{3DDB4677-F652-1648-5FB4-3E538BA8585F}"/>
              </a:ext>
            </a:extLst>
          </p:cNvPr>
          <p:cNvSpPr txBox="1"/>
          <p:nvPr/>
        </p:nvSpPr>
        <p:spPr>
          <a:xfrm>
            <a:off x="11427648" y="106532"/>
            <a:ext cx="458780" cy="276999"/>
          </a:xfrm>
          <a:prstGeom prst="rect">
            <a:avLst/>
          </a:prstGeom>
          <a:noFill/>
        </p:spPr>
        <p:txBody>
          <a:bodyPr wrap="none" rtlCol="0">
            <a:spAutoFit/>
          </a:bodyPr>
          <a:lstStyle/>
          <a:p>
            <a:r>
              <a:rPr lang="es-MX" sz="1200" b="1">
                <a:solidFill>
                  <a:schemeClr val="bg2">
                    <a:lumMod val="50000"/>
                  </a:schemeClr>
                </a:solidFill>
              </a:rPr>
              <a:t>IDM</a:t>
            </a:r>
            <a:endParaRPr lang="es-PE" sz="1200" b="1">
              <a:solidFill>
                <a:schemeClr val="bg2">
                  <a:lumMod val="50000"/>
                </a:schemeClr>
              </a:solidFill>
            </a:endParaRPr>
          </a:p>
        </p:txBody>
      </p:sp>
      <p:sp>
        <p:nvSpPr>
          <p:cNvPr id="98" name="CuadroTexto 97">
            <a:extLst>
              <a:ext uri="{FF2B5EF4-FFF2-40B4-BE49-F238E27FC236}">
                <a16:creationId xmlns:a16="http://schemas.microsoft.com/office/drawing/2014/main" id="{E9B4BB4F-6849-CFE2-8551-92AD0F609D18}"/>
              </a:ext>
            </a:extLst>
          </p:cNvPr>
          <p:cNvSpPr txBox="1"/>
          <p:nvPr/>
        </p:nvSpPr>
        <p:spPr>
          <a:xfrm>
            <a:off x="11300429" y="311627"/>
            <a:ext cx="577146" cy="276999"/>
          </a:xfrm>
          <a:prstGeom prst="rect">
            <a:avLst/>
          </a:prstGeom>
          <a:noFill/>
        </p:spPr>
        <p:txBody>
          <a:bodyPr wrap="none" rtlCol="0">
            <a:spAutoFit/>
          </a:bodyPr>
          <a:lstStyle/>
          <a:p>
            <a:r>
              <a:rPr lang="es-MX" sz="1200" b="1">
                <a:solidFill>
                  <a:schemeClr val="bg2">
                    <a:lumMod val="50000"/>
                  </a:schemeClr>
                </a:solidFill>
              </a:rPr>
              <a:t>VALTX</a:t>
            </a:r>
            <a:endParaRPr lang="es-PE" sz="1200" b="1">
              <a:solidFill>
                <a:schemeClr val="bg2">
                  <a:lumMod val="50000"/>
                </a:schemeClr>
              </a:solidFill>
            </a:endParaRPr>
          </a:p>
        </p:txBody>
      </p:sp>
      <p:sp>
        <p:nvSpPr>
          <p:cNvPr id="111" name="CuadroTexto 110">
            <a:extLst>
              <a:ext uri="{FF2B5EF4-FFF2-40B4-BE49-F238E27FC236}">
                <a16:creationId xmlns:a16="http://schemas.microsoft.com/office/drawing/2014/main" id="{164CD70D-6DF8-4711-F347-6F113EC37234}"/>
              </a:ext>
            </a:extLst>
          </p:cNvPr>
          <p:cNvSpPr txBox="1"/>
          <p:nvPr/>
        </p:nvSpPr>
        <p:spPr>
          <a:xfrm>
            <a:off x="11084843" y="504073"/>
            <a:ext cx="805670" cy="276999"/>
          </a:xfrm>
          <a:prstGeom prst="rect">
            <a:avLst/>
          </a:prstGeom>
          <a:noFill/>
        </p:spPr>
        <p:txBody>
          <a:bodyPr wrap="none" rtlCol="0">
            <a:spAutoFit/>
          </a:bodyPr>
          <a:lstStyle/>
          <a:p>
            <a:r>
              <a:rPr lang="es-MX" sz="1200" b="1">
                <a:solidFill>
                  <a:schemeClr val="bg2">
                    <a:lumMod val="50000"/>
                  </a:schemeClr>
                </a:solidFill>
              </a:rPr>
              <a:t>GLOBANT</a:t>
            </a:r>
            <a:endParaRPr lang="es-PE" sz="1200" b="1">
              <a:solidFill>
                <a:schemeClr val="bg2">
                  <a:lumMod val="50000"/>
                </a:schemeClr>
              </a:solidFill>
            </a:endParaRPr>
          </a:p>
        </p:txBody>
      </p:sp>
      <p:sp>
        <p:nvSpPr>
          <p:cNvPr id="112" name="CuadroTexto 111">
            <a:extLst>
              <a:ext uri="{FF2B5EF4-FFF2-40B4-BE49-F238E27FC236}">
                <a16:creationId xmlns:a16="http://schemas.microsoft.com/office/drawing/2014/main" id="{D9C45DE4-80AC-21C8-1EB7-660316EC2A35}"/>
              </a:ext>
            </a:extLst>
          </p:cNvPr>
          <p:cNvSpPr txBox="1"/>
          <p:nvPr/>
        </p:nvSpPr>
        <p:spPr>
          <a:xfrm>
            <a:off x="11044886" y="704510"/>
            <a:ext cx="837089" cy="276999"/>
          </a:xfrm>
          <a:prstGeom prst="rect">
            <a:avLst/>
          </a:prstGeom>
          <a:noFill/>
        </p:spPr>
        <p:txBody>
          <a:bodyPr wrap="none" rtlCol="0">
            <a:spAutoFit/>
          </a:bodyPr>
          <a:lstStyle/>
          <a:p>
            <a:r>
              <a:rPr lang="es-MX" sz="1200" b="1">
                <a:solidFill>
                  <a:schemeClr val="bg2">
                    <a:lumMod val="50000"/>
                  </a:schemeClr>
                </a:solidFill>
              </a:rPr>
              <a:t>PERIFERIA</a:t>
            </a:r>
            <a:endParaRPr lang="es-PE" sz="1200" b="1">
              <a:solidFill>
                <a:schemeClr val="bg2">
                  <a:lumMod val="50000"/>
                </a:schemeClr>
              </a:solidFill>
            </a:endParaRPr>
          </a:p>
        </p:txBody>
      </p:sp>
    </p:spTree>
    <p:extLst>
      <p:ext uri="{BB962C8B-B14F-4D97-AF65-F5344CB8AC3E}">
        <p14:creationId xmlns:p14="http://schemas.microsoft.com/office/powerpoint/2010/main" val="39721500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AF079B-022A-0CE3-01FD-ACBE402FBE37}"/>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53240D8B-61CA-9061-6B98-5347678F1466}"/>
              </a:ext>
            </a:extLst>
          </p:cNvPr>
          <p:cNvSpPr>
            <a:spLocks noGrp="1"/>
          </p:cNvSpPr>
          <p:nvPr>
            <p:ph type="body" sz="quarter" idx="14"/>
          </p:nvPr>
        </p:nvSpPr>
        <p:spPr/>
        <p:txBody>
          <a:bodyPr/>
          <a:lstStyle/>
          <a:p>
            <a:endParaRPr lang="es-PE"/>
          </a:p>
        </p:txBody>
      </p:sp>
      <p:pic>
        <p:nvPicPr>
          <p:cNvPr id="3" name="Imagen 2">
            <a:extLst>
              <a:ext uri="{FF2B5EF4-FFF2-40B4-BE49-F238E27FC236}">
                <a16:creationId xmlns:a16="http://schemas.microsoft.com/office/drawing/2014/main" id="{9A10835B-0778-66B0-11DB-205A3D95BAE5}"/>
              </a:ext>
            </a:extLst>
          </p:cNvPr>
          <p:cNvPicPr>
            <a:picLocks noChangeAspect="1"/>
          </p:cNvPicPr>
          <p:nvPr/>
        </p:nvPicPr>
        <p:blipFill>
          <a:blip r:embed="rId3"/>
          <a:stretch>
            <a:fillRect/>
          </a:stretch>
        </p:blipFill>
        <p:spPr>
          <a:xfrm>
            <a:off x="125824" y="1038431"/>
            <a:ext cx="6487226" cy="2868329"/>
          </a:xfrm>
          <a:prstGeom prst="rect">
            <a:avLst/>
          </a:prstGeom>
        </p:spPr>
      </p:pic>
      <p:pic>
        <p:nvPicPr>
          <p:cNvPr id="13" name="Imagen 12">
            <a:extLst>
              <a:ext uri="{FF2B5EF4-FFF2-40B4-BE49-F238E27FC236}">
                <a16:creationId xmlns:a16="http://schemas.microsoft.com/office/drawing/2014/main" id="{8937DCF4-C6F7-0947-7000-338635EA6B41}"/>
              </a:ext>
            </a:extLst>
          </p:cNvPr>
          <p:cNvPicPr>
            <a:picLocks noChangeAspect="1"/>
          </p:cNvPicPr>
          <p:nvPr/>
        </p:nvPicPr>
        <p:blipFill>
          <a:blip r:embed="rId4"/>
          <a:stretch>
            <a:fillRect/>
          </a:stretch>
        </p:blipFill>
        <p:spPr>
          <a:xfrm>
            <a:off x="5685667" y="3265714"/>
            <a:ext cx="6142156" cy="3103983"/>
          </a:xfrm>
          <a:prstGeom prst="rect">
            <a:avLst/>
          </a:prstGeom>
        </p:spPr>
      </p:pic>
      <p:sp>
        <p:nvSpPr>
          <p:cNvPr id="15" name="Título 14">
            <a:extLst>
              <a:ext uri="{FF2B5EF4-FFF2-40B4-BE49-F238E27FC236}">
                <a16:creationId xmlns:a16="http://schemas.microsoft.com/office/drawing/2014/main" id="{CA17C649-4DB3-2123-4B68-07B89A28C5E9}"/>
              </a:ext>
            </a:extLst>
          </p:cNvPr>
          <p:cNvSpPr>
            <a:spLocks noGrp="1"/>
          </p:cNvSpPr>
          <p:nvPr>
            <p:ph type="title"/>
          </p:nvPr>
        </p:nvSpPr>
        <p:spPr/>
        <p:txBody>
          <a:bodyPr/>
          <a:lstStyle/>
          <a:p>
            <a:r>
              <a:rPr lang="es-MX"/>
              <a:t> </a:t>
            </a:r>
            <a:endParaRPr lang="es-PE"/>
          </a:p>
        </p:txBody>
      </p:sp>
      <p:sp>
        <p:nvSpPr>
          <p:cNvPr id="16" name="Title 5">
            <a:extLst>
              <a:ext uri="{FF2B5EF4-FFF2-40B4-BE49-F238E27FC236}">
                <a16:creationId xmlns:a16="http://schemas.microsoft.com/office/drawing/2014/main" id="{926AF456-CB93-C95B-EDE8-B3AF14A45D12}"/>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 </a:t>
            </a:r>
            <a:r>
              <a:rPr lang="en-GB" b="0">
                <a:solidFill>
                  <a:srgbClr val="203864"/>
                </a:solidFill>
                <a:latin typeface="Santander Headline" panose="020B0504020201020104" pitchFamily="34" charset="0"/>
              </a:rPr>
              <a:t>QA </a:t>
            </a:r>
            <a:r>
              <a:rPr lang="en-GB" b="0" err="1">
                <a:solidFill>
                  <a:srgbClr val="203864"/>
                </a:solidFill>
                <a:latin typeface="Santander Headline" panose="020B0504020201020104" pitchFamily="34" charset="0"/>
              </a:rPr>
              <a:t>Tradicional</a:t>
            </a:r>
            <a:r>
              <a:rPr lang="en-GB" b="0">
                <a:solidFill>
                  <a:srgbClr val="203864"/>
                </a:solidFill>
                <a:latin typeface="Santander Headline" panose="020B0504020201020104" pitchFamily="34" charset="0"/>
              </a:rPr>
              <a:t> vs. </a:t>
            </a:r>
            <a:r>
              <a:rPr lang="en-GB" b="0" err="1">
                <a:solidFill>
                  <a:srgbClr val="203864"/>
                </a:solidFill>
                <a:latin typeface="Santander Headline" panose="020B0504020201020104" pitchFamily="34" charset="0"/>
              </a:rPr>
              <a:t>Ágil</a:t>
            </a:r>
            <a:endParaRPr lang="es-MX">
              <a:solidFill>
                <a:srgbClr val="203864"/>
              </a:solidFill>
            </a:endParaRPr>
          </a:p>
        </p:txBody>
      </p:sp>
    </p:spTree>
    <p:extLst>
      <p:ext uri="{BB962C8B-B14F-4D97-AF65-F5344CB8AC3E}">
        <p14:creationId xmlns:p14="http://schemas.microsoft.com/office/powerpoint/2010/main" val="13794610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ángulo: esquinas redondeadas 22">
            <a:extLst>
              <a:ext uri="{FF2B5EF4-FFF2-40B4-BE49-F238E27FC236}">
                <a16:creationId xmlns:a16="http://schemas.microsoft.com/office/drawing/2014/main" id="{E10B62A1-3750-3B31-1BC6-6ED70E8B7F1C}"/>
              </a:ext>
            </a:extLst>
          </p:cNvPr>
          <p:cNvSpPr/>
          <p:nvPr/>
        </p:nvSpPr>
        <p:spPr>
          <a:xfrm>
            <a:off x="81426" y="1519902"/>
            <a:ext cx="11710836" cy="817754"/>
          </a:xfrm>
          <a:prstGeom prst="roundRect">
            <a:avLst/>
          </a:prstGeom>
          <a:solidFill>
            <a:schemeClr val="bg1"/>
          </a:solid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s-PE" sz="1400" b="1">
              <a:solidFill>
                <a:schemeClr val="tx1"/>
              </a:solidFill>
            </a:endParaRPr>
          </a:p>
        </p:txBody>
      </p:sp>
      <p:sp>
        <p:nvSpPr>
          <p:cNvPr id="20" name="Rectángulo: esquinas redondeadas 19">
            <a:extLst>
              <a:ext uri="{FF2B5EF4-FFF2-40B4-BE49-F238E27FC236}">
                <a16:creationId xmlns:a16="http://schemas.microsoft.com/office/drawing/2014/main" id="{367418E5-A7F2-5C46-0206-514672540026}"/>
              </a:ext>
            </a:extLst>
          </p:cNvPr>
          <p:cNvSpPr/>
          <p:nvPr/>
        </p:nvSpPr>
        <p:spPr>
          <a:xfrm>
            <a:off x="81425" y="2446424"/>
            <a:ext cx="11706269" cy="1653878"/>
          </a:xfrm>
          <a:prstGeom prst="roundRect">
            <a:avLst/>
          </a:prstGeom>
          <a:solidFill>
            <a:schemeClr val="bg1"/>
          </a:solid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s-PE" sz="1400" b="1">
              <a:solidFill>
                <a:schemeClr val="tx1"/>
              </a:solidFill>
            </a:endParaRPr>
          </a:p>
        </p:txBody>
      </p:sp>
      <p:sp>
        <p:nvSpPr>
          <p:cNvPr id="67" name="Rectángulo: esquinas redondeadas 66">
            <a:extLst>
              <a:ext uri="{FF2B5EF4-FFF2-40B4-BE49-F238E27FC236}">
                <a16:creationId xmlns:a16="http://schemas.microsoft.com/office/drawing/2014/main" id="{5EB0BB7C-4B95-350A-D5B9-2D3E0197ECB9}"/>
              </a:ext>
            </a:extLst>
          </p:cNvPr>
          <p:cNvSpPr/>
          <p:nvPr/>
        </p:nvSpPr>
        <p:spPr>
          <a:xfrm>
            <a:off x="109727" y="5379488"/>
            <a:ext cx="11706268" cy="1212801"/>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r>
              <a:rPr lang="es-MX" sz="1400" b="1">
                <a:solidFill>
                  <a:schemeClr val="tx1"/>
                </a:solidFill>
              </a:rPr>
              <a:t>QA</a:t>
            </a:r>
          </a:p>
          <a:p>
            <a:r>
              <a:rPr lang="es-MX" sz="1400" b="1">
                <a:solidFill>
                  <a:schemeClr val="tx1"/>
                </a:solidFill>
              </a:rPr>
              <a:t>(Ingresos para </a:t>
            </a:r>
          </a:p>
          <a:p>
            <a:r>
              <a:rPr lang="es-MX" sz="1400" b="1">
                <a:solidFill>
                  <a:schemeClr val="tx1"/>
                </a:solidFill>
              </a:rPr>
              <a:t>ejecución)</a:t>
            </a:r>
          </a:p>
          <a:p>
            <a:r>
              <a:rPr lang="es-MX" sz="1400" b="1">
                <a:solidFill>
                  <a:schemeClr val="tx1"/>
                </a:solidFill>
              </a:rPr>
              <a:t>[De 3 a 6 meses]</a:t>
            </a:r>
            <a:endParaRPr lang="es-PE" sz="1400" b="1">
              <a:solidFill>
                <a:schemeClr val="tx1"/>
              </a:solidFill>
            </a:endParaRPr>
          </a:p>
          <a:p>
            <a:endParaRPr lang="es-PE" sz="1400" b="1">
              <a:solidFill>
                <a:schemeClr val="tx1"/>
              </a:solidFill>
            </a:endParaRPr>
          </a:p>
        </p:txBody>
      </p:sp>
      <p:sp>
        <p:nvSpPr>
          <p:cNvPr id="49" name="Rectángulo: esquinas redondeadas 48">
            <a:extLst>
              <a:ext uri="{FF2B5EF4-FFF2-40B4-BE49-F238E27FC236}">
                <a16:creationId xmlns:a16="http://schemas.microsoft.com/office/drawing/2014/main" id="{E73C65A1-B9F4-2533-65B3-403771638CBE}"/>
              </a:ext>
            </a:extLst>
          </p:cNvPr>
          <p:cNvSpPr/>
          <p:nvPr/>
        </p:nvSpPr>
        <p:spPr>
          <a:xfrm>
            <a:off x="109728" y="4273064"/>
            <a:ext cx="11682535" cy="981457"/>
          </a:xfrm>
          <a:prstGeom prst="roundRect">
            <a:avLst/>
          </a:prstGeom>
          <a:solidFill>
            <a:schemeClr val="accent6">
              <a:lumMod val="20000"/>
              <a:lumOff val="80000"/>
            </a:schemeClr>
          </a:solid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r>
              <a:rPr lang="es-MX" sz="1400" b="1">
                <a:solidFill>
                  <a:schemeClr val="tx1"/>
                </a:solidFill>
              </a:rPr>
              <a:t>QA</a:t>
            </a:r>
          </a:p>
          <a:p>
            <a:r>
              <a:rPr lang="es-MX" sz="1400" b="1">
                <a:solidFill>
                  <a:schemeClr val="tx1"/>
                </a:solidFill>
              </a:rPr>
              <a:t>(Ingresos en etapas</a:t>
            </a:r>
          </a:p>
          <a:p>
            <a:r>
              <a:rPr lang="es-MX" sz="1400" b="1">
                <a:solidFill>
                  <a:schemeClr val="tx1"/>
                </a:solidFill>
              </a:rPr>
              <a:t>Tempranas)</a:t>
            </a:r>
          </a:p>
          <a:p>
            <a:r>
              <a:rPr lang="es-MX" sz="1400" b="1">
                <a:solidFill>
                  <a:schemeClr val="tx1"/>
                </a:solidFill>
              </a:rPr>
              <a:t>[Hasta el cierre]</a:t>
            </a:r>
            <a:endParaRPr lang="es-PE" sz="1400" b="1">
              <a:solidFill>
                <a:schemeClr val="tx1"/>
              </a:solidFill>
            </a:endParaRPr>
          </a:p>
        </p:txBody>
      </p:sp>
      <p:cxnSp>
        <p:nvCxnSpPr>
          <p:cNvPr id="48" name="Conector recto 47">
            <a:extLst>
              <a:ext uri="{FF2B5EF4-FFF2-40B4-BE49-F238E27FC236}">
                <a16:creationId xmlns:a16="http://schemas.microsoft.com/office/drawing/2014/main" id="{379BE739-395E-B9FD-791D-2452342745EF}"/>
              </a:ext>
            </a:extLst>
          </p:cNvPr>
          <p:cNvCxnSpPr>
            <a:cxnSpLocks/>
          </p:cNvCxnSpPr>
          <p:nvPr/>
        </p:nvCxnSpPr>
        <p:spPr>
          <a:xfrm>
            <a:off x="10468873" y="1354605"/>
            <a:ext cx="0" cy="5238000"/>
          </a:xfrm>
          <a:prstGeom prst="line">
            <a:avLst/>
          </a:prstGeom>
          <a:ln w="127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Conector recto 45">
            <a:extLst>
              <a:ext uri="{FF2B5EF4-FFF2-40B4-BE49-F238E27FC236}">
                <a16:creationId xmlns:a16="http://schemas.microsoft.com/office/drawing/2014/main" id="{4B2EB068-EB25-5B3C-3517-8C1FA04FEB06}"/>
              </a:ext>
            </a:extLst>
          </p:cNvPr>
          <p:cNvCxnSpPr>
            <a:cxnSpLocks/>
          </p:cNvCxnSpPr>
          <p:nvPr/>
        </p:nvCxnSpPr>
        <p:spPr>
          <a:xfrm>
            <a:off x="7720025" y="1354605"/>
            <a:ext cx="0" cy="2918459"/>
          </a:xfrm>
          <a:prstGeom prst="line">
            <a:avLst/>
          </a:prstGeom>
          <a:ln w="127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7" name="Conector recto 46">
            <a:extLst>
              <a:ext uri="{FF2B5EF4-FFF2-40B4-BE49-F238E27FC236}">
                <a16:creationId xmlns:a16="http://schemas.microsoft.com/office/drawing/2014/main" id="{D219D0AC-A291-6631-1AE2-C099F9118F93}"/>
              </a:ext>
            </a:extLst>
          </p:cNvPr>
          <p:cNvCxnSpPr>
            <a:cxnSpLocks/>
          </p:cNvCxnSpPr>
          <p:nvPr/>
        </p:nvCxnSpPr>
        <p:spPr>
          <a:xfrm>
            <a:off x="6378344" y="1354605"/>
            <a:ext cx="0" cy="5238000"/>
          </a:xfrm>
          <a:prstGeom prst="line">
            <a:avLst/>
          </a:prstGeom>
          <a:ln w="127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2" name="Conector recto 41">
            <a:extLst>
              <a:ext uri="{FF2B5EF4-FFF2-40B4-BE49-F238E27FC236}">
                <a16:creationId xmlns:a16="http://schemas.microsoft.com/office/drawing/2014/main" id="{01016FA6-61A7-EA98-3ACE-A83A5B1901E9}"/>
              </a:ext>
            </a:extLst>
          </p:cNvPr>
          <p:cNvCxnSpPr>
            <a:cxnSpLocks/>
          </p:cNvCxnSpPr>
          <p:nvPr/>
        </p:nvCxnSpPr>
        <p:spPr>
          <a:xfrm>
            <a:off x="4988210" y="1354605"/>
            <a:ext cx="0" cy="5238000"/>
          </a:xfrm>
          <a:prstGeom prst="line">
            <a:avLst/>
          </a:prstGeom>
          <a:ln w="127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1" name="Conector recto 40">
            <a:extLst>
              <a:ext uri="{FF2B5EF4-FFF2-40B4-BE49-F238E27FC236}">
                <a16:creationId xmlns:a16="http://schemas.microsoft.com/office/drawing/2014/main" id="{1CB1339D-9480-9B7D-8380-FEA68B00228C}"/>
              </a:ext>
            </a:extLst>
          </p:cNvPr>
          <p:cNvCxnSpPr>
            <a:cxnSpLocks/>
          </p:cNvCxnSpPr>
          <p:nvPr/>
        </p:nvCxnSpPr>
        <p:spPr>
          <a:xfrm>
            <a:off x="3585009" y="1354605"/>
            <a:ext cx="0" cy="5238000"/>
          </a:xfrm>
          <a:prstGeom prst="line">
            <a:avLst/>
          </a:prstGeom>
          <a:ln w="127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6" name="Conector recto 35">
            <a:extLst>
              <a:ext uri="{FF2B5EF4-FFF2-40B4-BE49-F238E27FC236}">
                <a16:creationId xmlns:a16="http://schemas.microsoft.com/office/drawing/2014/main" id="{EAFBBFA0-B4C0-9CDA-82EB-FF4AC7B291CF}"/>
              </a:ext>
            </a:extLst>
          </p:cNvPr>
          <p:cNvCxnSpPr>
            <a:cxnSpLocks/>
          </p:cNvCxnSpPr>
          <p:nvPr/>
        </p:nvCxnSpPr>
        <p:spPr>
          <a:xfrm>
            <a:off x="2161032" y="1354605"/>
            <a:ext cx="0" cy="5237684"/>
          </a:xfrm>
          <a:prstGeom prst="line">
            <a:avLst/>
          </a:prstGeom>
          <a:ln w="127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 name="Rectángulo: esquinas redondeadas 3">
            <a:extLst>
              <a:ext uri="{FF2B5EF4-FFF2-40B4-BE49-F238E27FC236}">
                <a16:creationId xmlns:a16="http://schemas.microsoft.com/office/drawing/2014/main" id="{022EC942-9B10-79C7-89CF-A925179BAA34}"/>
              </a:ext>
            </a:extLst>
          </p:cNvPr>
          <p:cNvSpPr/>
          <p:nvPr/>
        </p:nvSpPr>
        <p:spPr>
          <a:xfrm>
            <a:off x="2261001" y="1618765"/>
            <a:ext cx="1260000" cy="664376"/>
          </a:xfrm>
          <a:prstGeom prst="round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es-MX" b="1">
                <a:solidFill>
                  <a:schemeClr val="tx1"/>
                </a:solidFill>
              </a:rPr>
              <a:t>Core </a:t>
            </a:r>
          </a:p>
          <a:p>
            <a:pPr algn="ctr"/>
            <a:r>
              <a:rPr lang="es-MX" b="1">
                <a:solidFill>
                  <a:schemeClr val="tx1"/>
                </a:solidFill>
              </a:rPr>
              <a:t>Banking</a:t>
            </a:r>
          </a:p>
          <a:p>
            <a:pPr algn="ctr"/>
            <a:r>
              <a:rPr lang="es-MX" sz="900" b="1" i="1"/>
              <a:t>Julio Palomino</a:t>
            </a:r>
            <a:endParaRPr lang="es-PE" b="1">
              <a:solidFill>
                <a:schemeClr val="tx1"/>
              </a:solidFill>
            </a:endParaRPr>
          </a:p>
        </p:txBody>
      </p:sp>
      <p:sp>
        <p:nvSpPr>
          <p:cNvPr id="5" name="Rectángulo: esquinas redondeadas 4">
            <a:extLst>
              <a:ext uri="{FF2B5EF4-FFF2-40B4-BE49-F238E27FC236}">
                <a16:creationId xmlns:a16="http://schemas.microsoft.com/office/drawing/2014/main" id="{2D88AE99-0F24-24A0-A203-5ADCC436E497}"/>
              </a:ext>
            </a:extLst>
          </p:cNvPr>
          <p:cNvSpPr/>
          <p:nvPr/>
        </p:nvSpPr>
        <p:spPr>
          <a:xfrm>
            <a:off x="3657545" y="1618765"/>
            <a:ext cx="1260000" cy="659348"/>
          </a:xfrm>
          <a:prstGeom prst="round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s-MX" sz="1400" b="1">
              <a:solidFill>
                <a:schemeClr val="tx1"/>
              </a:solidFill>
            </a:endParaRPr>
          </a:p>
          <a:p>
            <a:pPr algn="ctr"/>
            <a:r>
              <a:rPr lang="es-MX" sz="1400" b="1">
                <a:solidFill>
                  <a:schemeClr val="tx1"/>
                </a:solidFill>
              </a:rPr>
              <a:t>Integración</a:t>
            </a:r>
          </a:p>
          <a:p>
            <a:pPr algn="ctr"/>
            <a:r>
              <a:rPr lang="es-MX" sz="900" b="1" i="1"/>
              <a:t>Jorge Páez</a:t>
            </a:r>
            <a:endParaRPr lang="es-PE" sz="900" b="1">
              <a:solidFill>
                <a:schemeClr val="tx1"/>
              </a:solidFill>
            </a:endParaRPr>
          </a:p>
          <a:p>
            <a:pPr algn="ctr"/>
            <a:endParaRPr lang="es-PE" sz="1400" b="1">
              <a:solidFill>
                <a:schemeClr val="tx1"/>
              </a:solidFill>
            </a:endParaRPr>
          </a:p>
        </p:txBody>
      </p:sp>
      <p:sp>
        <p:nvSpPr>
          <p:cNvPr id="7" name="Rectángulo: esquinas redondeadas 6">
            <a:extLst>
              <a:ext uri="{FF2B5EF4-FFF2-40B4-BE49-F238E27FC236}">
                <a16:creationId xmlns:a16="http://schemas.microsoft.com/office/drawing/2014/main" id="{A30DC4A4-066C-3A8D-2EBC-040188C152B6}"/>
              </a:ext>
            </a:extLst>
          </p:cNvPr>
          <p:cNvSpPr/>
          <p:nvPr/>
        </p:nvSpPr>
        <p:spPr>
          <a:xfrm>
            <a:off x="5054089" y="1618765"/>
            <a:ext cx="1260000" cy="659348"/>
          </a:xfrm>
          <a:prstGeom prst="round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s-MX" sz="1600" b="1">
              <a:solidFill>
                <a:schemeClr val="tx1"/>
              </a:solidFill>
            </a:endParaRPr>
          </a:p>
          <a:p>
            <a:pPr algn="ctr"/>
            <a:r>
              <a:rPr lang="es-MX" sz="1600" b="1">
                <a:solidFill>
                  <a:schemeClr val="tx1"/>
                </a:solidFill>
              </a:rPr>
              <a:t>Tarjetas y </a:t>
            </a:r>
          </a:p>
          <a:p>
            <a:pPr algn="ctr"/>
            <a:r>
              <a:rPr lang="es-MX" sz="1600" b="1">
                <a:solidFill>
                  <a:schemeClr val="tx1"/>
                </a:solidFill>
              </a:rPr>
              <a:t>Pagos</a:t>
            </a:r>
          </a:p>
          <a:p>
            <a:pPr algn="ctr"/>
            <a:r>
              <a:rPr lang="es-MX" sz="900" b="1" i="1"/>
              <a:t>Fredy Canchanya</a:t>
            </a:r>
            <a:endParaRPr lang="es-PE" sz="900" b="1">
              <a:solidFill>
                <a:schemeClr val="tx1"/>
              </a:solidFill>
            </a:endParaRPr>
          </a:p>
          <a:p>
            <a:pPr algn="ctr"/>
            <a:endParaRPr lang="es-PE" sz="1600" b="1">
              <a:solidFill>
                <a:schemeClr val="tx1"/>
              </a:solidFill>
            </a:endParaRPr>
          </a:p>
        </p:txBody>
      </p:sp>
      <p:sp>
        <p:nvSpPr>
          <p:cNvPr id="8" name="Rectángulo: esquinas redondeadas 7">
            <a:extLst>
              <a:ext uri="{FF2B5EF4-FFF2-40B4-BE49-F238E27FC236}">
                <a16:creationId xmlns:a16="http://schemas.microsoft.com/office/drawing/2014/main" id="{39FA340A-AF17-B0CE-DB86-798A99B72D08}"/>
              </a:ext>
            </a:extLst>
          </p:cNvPr>
          <p:cNvSpPr/>
          <p:nvPr/>
        </p:nvSpPr>
        <p:spPr>
          <a:xfrm>
            <a:off x="6450633" y="1618765"/>
            <a:ext cx="1206000" cy="659348"/>
          </a:xfrm>
          <a:prstGeom prst="round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s-MX" sz="1200" b="1">
              <a:solidFill>
                <a:schemeClr val="tx1"/>
              </a:solidFill>
            </a:endParaRPr>
          </a:p>
          <a:p>
            <a:pPr algn="ctr"/>
            <a:r>
              <a:rPr lang="es-MX" sz="1200" b="1">
                <a:solidFill>
                  <a:schemeClr val="tx1"/>
                </a:solidFill>
              </a:rPr>
              <a:t>Aplicaciones de Soporte</a:t>
            </a:r>
          </a:p>
          <a:p>
            <a:pPr algn="ctr"/>
            <a:r>
              <a:rPr lang="es-MX" sz="900" b="1" i="1"/>
              <a:t>Jaime </a:t>
            </a:r>
            <a:r>
              <a:rPr lang="es-MX" sz="900" b="1" i="1" err="1"/>
              <a:t>Huarca</a:t>
            </a:r>
            <a:endParaRPr lang="es-PE" sz="900" b="1">
              <a:solidFill>
                <a:schemeClr val="tx1"/>
              </a:solidFill>
            </a:endParaRPr>
          </a:p>
          <a:p>
            <a:pPr algn="ctr"/>
            <a:endParaRPr lang="es-PE" sz="1200" b="1">
              <a:solidFill>
                <a:schemeClr val="tx1"/>
              </a:solidFill>
            </a:endParaRPr>
          </a:p>
        </p:txBody>
      </p:sp>
      <p:sp>
        <p:nvSpPr>
          <p:cNvPr id="9" name="Rectángulo: esquinas redondeadas 8">
            <a:extLst>
              <a:ext uri="{FF2B5EF4-FFF2-40B4-BE49-F238E27FC236}">
                <a16:creationId xmlns:a16="http://schemas.microsoft.com/office/drawing/2014/main" id="{9ACC8DA3-1E74-C9BD-F055-D4CCFE23AAB8}"/>
              </a:ext>
            </a:extLst>
          </p:cNvPr>
          <p:cNvSpPr/>
          <p:nvPr/>
        </p:nvSpPr>
        <p:spPr>
          <a:xfrm>
            <a:off x="7793177" y="1618765"/>
            <a:ext cx="1260000" cy="659348"/>
          </a:xfrm>
          <a:prstGeom prst="round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s-MX" sz="1400" b="1">
              <a:solidFill>
                <a:schemeClr val="tx1"/>
              </a:solidFill>
            </a:endParaRPr>
          </a:p>
          <a:p>
            <a:pPr algn="ctr"/>
            <a:r>
              <a:rPr lang="es-MX" sz="1400" b="1">
                <a:solidFill>
                  <a:schemeClr val="tx1"/>
                </a:solidFill>
              </a:rPr>
              <a:t>Canales</a:t>
            </a:r>
          </a:p>
          <a:p>
            <a:pPr algn="ctr"/>
            <a:r>
              <a:rPr lang="es-MX" sz="1400" b="1">
                <a:solidFill>
                  <a:schemeClr val="tx1"/>
                </a:solidFill>
              </a:rPr>
              <a:t>Asistidos</a:t>
            </a:r>
          </a:p>
          <a:p>
            <a:pPr algn="ctr"/>
            <a:r>
              <a:rPr lang="es-MX" sz="900" b="1" i="1"/>
              <a:t>Sonia Berenstein</a:t>
            </a:r>
            <a:endParaRPr lang="es-PE" sz="900" b="1">
              <a:solidFill>
                <a:schemeClr val="tx1"/>
              </a:solidFill>
            </a:endParaRPr>
          </a:p>
          <a:p>
            <a:pPr algn="ctr"/>
            <a:endParaRPr lang="es-PE" sz="1100" b="1">
              <a:solidFill>
                <a:schemeClr val="tx1"/>
              </a:solidFill>
            </a:endParaRPr>
          </a:p>
        </p:txBody>
      </p:sp>
      <p:sp>
        <p:nvSpPr>
          <p:cNvPr id="10" name="Rectángulo: esquinas redondeadas 9">
            <a:extLst>
              <a:ext uri="{FF2B5EF4-FFF2-40B4-BE49-F238E27FC236}">
                <a16:creationId xmlns:a16="http://schemas.microsoft.com/office/drawing/2014/main" id="{88A8163D-67D5-C902-25A9-AB4DE1A58D5F}"/>
              </a:ext>
            </a:extLst>
          </p:cNvPr>
          <p:cNvSpPr/>
          <p:nvPr/>
        </p:nvSpPr>
        <p:spPr>
          <a:xfrm>
            <a:off x="9189721" y="1618765"/>
            <a:ext cx="1206000" cy="659348"/>
          </a:xfrm>
          <a:prstGeom prst="round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s-MX" sz="1600" b="1">
              <a:solidFill>
                <a:schemeClr val="tx1"/>
              </a:solidFill>
            </a:endParaRPr>
          </a:p>
          <a:p>
            <a:pPr algn="ctr"/>
            <a:r>
              <a:rPr lang="es-MX" sz="1600" b="1">
                <a:solidFill>
                  <a:schemeClr val="tx1"/>
                </a:solidFill>
              </a:rPr>
              <a:t>Procesos</a:t>
            </a:r>
          </a:p>
          <a:p>
            <a:pPr algn="ctr"/>
            <a:r>
              <a:rPr lang="es-MX" sz="900" b="1" i="1"/>
              <a:t>Sonia Berenstein</a:t>
            </a:r>
            <a:endParaRPr lang="es-PE" sz="900" b="1">
              <a:solidFill>
                <a:schemeClr val="tx1"/>
              </a:solidFill>
            </a:endParaRPr>
          </a:p>
          <a:p>
            <a:pPr algn="ctr"/>
            <a:endParaRPr lang="es-PE" sz="1100" b="1">
              <a:solidFill>
                <a:schemeClr val="tx1"/>
              </a:solidFill>
            </a:endParaRPr>
          </a:p>
        </p:txBody>
      </p:sp>
      <p:sp>
        <p:nvSpPr>
          <p:cNvPr id="11" name="Rectángulo: esquinas redondeadas 10">
            <a:extLst>
              <a:ext uri="{FF2B5EF4-FFF2-40B4-BE49-F238E27FC236}">
                <a16:creationId xmlns:a16="http://schemas.microsoft.com/office/drawing/2014/main" id="{DC91148E-4E39-F83F-2CBC-96C32FC3EEEC}"/>
              </a:ext>
            </a:extLst>
          </p:cNvPr>
          <p:cNvSpPr/>
          <p:nvPr/>
        </p:nvSpPr>
        <p:spPr>
          <a:xfrm>
            <a:off x="10532265" y="1618765"/>
            <a:ext cx="1260000" cy="659348"/>
          </a:xfrm>
          <a:prstGeom prst="round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s-MX" b="1">
              <a:solidFill>
                <a:schemeClr val="tx1"/>
              </a:solidFill>
            </a:endParaRPr>
          </a:p>
          <a:p>
            <a:pPr algn="ctr"/>
            <a:r>
              <a:rPr lang="es-MX" b="1">
                <a:solidFill>
                  <a:schemeClr val="tx1"/>
                </a:solidFill>
              </a:rPr>
              <a:t>Canales </a:t>
            </a:r>
          </a:p>
          <a:p>
            <a:pPr algn="ctr"/>
            <a:r>
              <a:rPr lang="es-MX" b="1">
                <a:solidFill>
                  <a:schemeClr val="tx1"/>
                </a:solidFill>
              </a:rPr>
              <a:t>Digitales</a:t>
            </a:r>
          </a:p>
          <a:p>
            <a:pPr algn="ctr"/>
            <a:r>
              <a:rPr lang="es-MX" sz="900" b="1" i="1"/>
              <a:t>Henry Jimenez</a:t>
            </a:r>
            <a:endParaRPr lang="es-PE" sz="900" b="1">
              <a:solidFill>
                <a:schemeClr val="tx1"/>
              </a:solidFill>
            </a:endParaRPr>
          </a:p>
          <a:p>
            <a:pPr algn="ctr"/>
            <a:endParaRPr lang="es-PE" b="1">
              <a:solidFill>
                <a:schemeClr val="tx1"/>
              </a:solidFill>
            </a:endParaRPr>
          </a:p>
        </p:txBody>
      </p:sp>
      <p:pic>
        <p:nvPicPr>
          <p:cNvPr id="50" name="Gráfico 49" descr="Perfil de hombre con relleno sólido">
            <a:extLst>
              <a:ext uri="{FF2B5EF4-FFF2-40B4-BE49-F238E27FC236}">
                <a16:creationId xmlns:a16="http://schemas.microsoft.com/office/drawing/2014/main" id="{E478E9E1-4F68-E73D-BF93-D0BD5E3EDF2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67672" y="4613423"/>
            <a:ext cx="360000" cy="360000"/>
          </a:xfrm>
          <a:prstGeom prst="rect">
            <a:avLst/>
          </a:prstGeom>
        </p:spPr>
      </p:pic>
      <p:pic>
        <p:nvPicPr>
          <p:cNvPr id="51" name="Gráfico 50" descr="Perfil de hombre con relleno sólido">
            <a:extLst>
              <a:ext uri="{FF2B5EF4-FFF2-40B4-BE49-F238E27FC236}">
                <a16:creationId xmlns:a16="http://schemas.microsoft.com/office/drawing/2014/main" id="{568E1A9C-1D04-8A18-40B5-A8F03CDA77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91648" y="4604615"/>
            <a:ext cx="360000" cy="360000"/>
          </a:xfrm>
          <a:prstGeom prst="rect">
            <a:avLst/>
          </a:prstGeom>
        </p:spPr>
      </p:pic>
      <p:pic>
        <p:nvPicPr>
          <p:cNvPr id="52" name="Gráfico 51" descr="Perfil de hombre con relleno sólido">
            <a:extLst>
              <a:ext uri="{FF2B5EF4-FFF2-40B4-BE49-F238E27FC236}">
                <a16:creationId xmlns:a16="http://schemas.microsoft.com/office/drawing/2014/main" id="{C988A82F-F8B7-B5FB-641E-CCD4914ABC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25865" y="4604279"/>
            <a:ext cx="360000" cy="360000"/>
          </a:xfrm>
          <a:prstGeom prst="rect">
            <a:avLst/>
          </a:prstGeom>
        </p:spPr>
      </p:pic>
      <p:pic>
        <p:nvPicPr>
          <p:cNvPr id="53" name="Gráfico 52" descr="Perfil de hombre con relleno sólido">
            <a:extLst>
              <a:ext uri="{FF2B5EF4-FFF2-40B4-BE49-F238E27FC236}">
                <a16:creationId xmlns:a16="http://schemas.microsoft.com/office/drawing/2014/main" id="{C49EB99A-40AB-0E75-6837-8D80B83220D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66347" y="4604279"/>
            <a:ext cx="360000" cy="360000"/>
          </a:xfrm>
          <a:prstGeom prst="rect">
            <a:avLst/>
          </a:prstGeom>
        </p:spPr>
      </p:pic>
      <p:pic>
        <p:nvPicPr>
          <p:cNvPr id="54" name="Gráfico 53" descr="Perfil de hombre con relleno sólido">
            <a:extLst>
              <a:ext uri="{FF2B5EF4-FFF2-40B4-BE49-F238E27FC236}">
                <a16:creationId xmlns:a16="http://schemas.microsoft.com/office/drawing/2014/main" id="{335B53C0-F14A-231D-F075-443E0A95C7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56152" y="4604437"/>
            <a:ext cx="360000" cy="360000"/>
          </a:xfrm>
          <a:prstGeom prst="rect">
            <a:avLst/>
          </a:prstGeom>
        </p:spPr>
      </p:pic>
      <p:sp>
        <p:nvSpPr>
          <p:cNvPr id="57" name="CuadroTexto 56">
            <a:extLst>
              <a:ext uri="{FF2B5EF4-FFF2-40B4-BE49-F238E27FC236}">
                <a16:creationId xmlns:a16="http://schemas.microsoft.com/office/drawing/2014/main" id="{B3E0F901-E063-1D89-3B4E-6C889A30E418}"/>
              </a:ext>
            </a:extLst>
          </p:cNvPr>
          <p:cNvSpPr txBox="1"/>
          <p:nvPr/>
        </p:nvSpPr>
        <p:spPr>
          <a:xfrm>
            <a:off x="2557207" y="4577979"/>
            <a:ext cx="1018227" cy="415498"/>
          </a:xfrm>
          <a:prstGeom prst="rect">
            <a:avLst/>
          </a:prstGeom>
          <a:noFill/>
        </p:spPr>
        <p:txBody>
          <a:bodyPr wrap="none" rtlCol="0">
            <a:spAutoFit/>
          </a:bodyPr>
          <a:lstStyle/>
          <a:p>
            <a:r>
              <a:rPr lang="es-MX" sz="1100" b="1"/>
              <a:t>SE - QA</a:t>
            </a:r>
          </a:p>
          <a:p>
            <a:r>
              <a:rPr lang="es-MX" sz="1000" b="1" i="1"/>
              <a:t>KAREN VILLACA</a:t>
            </a:r>
            <a:endParaRPr lang="es-PE" sz="1000" b="1" i="1"/>
          </a:p>
        </p:txBody>
      </p:sp>
      <p:sp>
        <p:nvSpPr>
          <p:cNvPr id="58" name="CuadroTexto 57">
            <a:extLst>
              <a:ext uri="{FF2B5EF4-FFF2-40B4-BE49-F238E27FC236}">
                <a16:creationId xmlns:a16="http://schemas.microsoft.com/office/drawing/2014/main" id="{C7F4E64A-9A15-ADD5-9E6B-3CE5E0CF0A52}"/>
              </a:ext>
            </a:extLst>
          </p:cNvPr>
          <p:cNvSpPr txBox="1"/>
          <p:nvPr/>
        </p:nvSpPr>
        <p:spPr>
          <a:xfrm>
            <a:off x="3952601" y="4577978"/>
            <a:ext cx="1085554" cy="415498"/>
          </a:xfrm>
          <a:prstGeom prst="rect">
            <a:avLst/>
          </a:prstGeom>
          <a:noFill/>
        </p:spPr>
        <p:txBody>
          <a:bodyPr wrap="none" rtlCol="0">
            <a:spAutoFit/>
          </a:bodyPr>
          <a:lstStyle/>
          <a:p>
            <a:r>
              <a:rPr lang="es-MX" sz="1100" b="1"/>
              <a:t>SE - QA</a:t>
            </a:r>
          </a:p>
          <a:p>
            <a:r>
              <a:rPr lang="es-MX" sz="1000" b="1" i="1"/>
              <a:t>OMAR MESONES</a:t>
            </a:r>
            <a:endParaRPr lang="es-PE" sz="1000" b="1" i="1"/>
          </a:p>
        </p:txBody>
      </p:sp>
      <p:sp>
        <p:nvSpPr>
          <p:cNvPr id="59" name="CuadroTexto 58">
            <a:extLst>
              <a:ext uri="{FF2B5EF4-FFF2-40B4-BE49-F238E27FC236}">
                <a16:creationId xmlns:a16="http://schemas.microsoft.com/office/drawing/2014/main" id="{35DCD48A-2A2D-E7C4-9B9B-B09A2ADBC73B}"/>
              </a:ext>
            </a:extLst>
          </p:cNvPr>
          <p:cNvSpPr txBox="1"/>
          <p:nvPr/>
        </p:nvSpPr>
        <p:spPr>
          <a:xfrm>
            <a:off x="10802208" y="4565460"/>
            <a:ext cx="949299" cy="415498"/>
          </a:xfrm>
          <a:prstGeom prst="rect">
            <a:avLst/>
          </a:prstGeom>
          <a:noFill/>
        </p:spPr>
        <p:txBody>
          <a:bodyPr wrap="none" rtlCol="0">
            <a:spAutoFit/>
          </a:bodyPr>
          <a:lstStyle/>
          <a:p>
            <a:r>
              <a:rPr lang="es-MX" sz="1100" b="1"/>
              <a:t>SE - QA</a:t>
            </a:r>
          </a:p>
          <a:p>
            <a:r>
              <a:rPr lang="es-MX" sz="1000" b="1" i="1"/>
              <a:t>DAYAN IPINCE</a:t>
            </a:r>
            <a:endParaRPr lang="es-PE" sz="1000" b="1" i="1"/>
          </a:p>
        </p:txBody>
      </p:sp>
      <p:sp>
        <p:nvSpPr>
          <p:cNvPr id="60" name="CuadroTexto 59">
            <a:extLst>
              <a:ext uri="{FF2B5EF4-FFF2-40B4-BE49-F238E27FC236}">
                <a16:creationId xmlns:a16="http://schemas.microsoft.com/office/drawing/2014/main" id="{67AD90B7-9BAC-E299-B3D1-04CE87A61D2A}"/>
              </a:ext>
            </a:extLst>
          </p:cNvPr>
          <p:cNvSpPr txBox="1"/>
          <p:nvPr/>
        </p:nvSpPr>
        <p:spPr>
          <a:xfrm>
            <a:off x="6727322" y="4589639"/>
            <a:ext cx="949299" cy="415498"/>
          </a:xfrm>
          <a:prstGeom prst="rect">
            <a:avLst/>
          </a:prstGeom>
          <a:noFill/>
        </p:spPr>
        <p:txBody>
          <a:bodyPr wrap="none" rtlCol="0">
            <a:spAutoFit/>
          </a:bodyPr>
          <a:lstStyle/>
          <a:p>
            <a:r>
              <a:rPr lang="es-MX" sz="1100" b="1"/>
              <a:t>SE - QA</a:t>
            </a:r>
          </a:p>
          <a:p>
            <a:r>
              <a:rPr lang="es-MX" sz="1000" b="1" i="1"/>
              <a:t>HUGO RAMOS</a:t>
            </a:r>
            <a:endParaRPr lang="es-PE" sz="1000" b="1" i="1"/>
          </a:p>
        </p:txBody>
      </p:sp>
      <p:sp>
        <p:nvSpPr>
          <p:cNvPr id="61" name="CuadroTexto 60">
            <a:extLst>
              <a:ext uri="{FF2B5EF4-FFF2-40B4-BE49-F238E27FC236}">
                <a16:creationId xmlns:a16="http://schemas.microsoft.com/office/drawing/2014/main" id="{47368B0D-19CF-C32B-DB3F-DBC61FDCFD43}"/>
              </a:ext>
            </a:extLst>
          </p:cNvPr>
          <p:cNvSpPr txBox="1"/>
          <p:nvPr/>
        </p:nvSpPr>
        <p:spPr>
          <a:xfrm>
            <a:off x="5366360" y="4589481"/>
            <a:ext cx="1063953" cy="569387"/>
          </a:xfrm>
          <a:prstGeom prst="rect">
            <a:avLst/>
          </a:prstGeom>
          <a:noFill/>
        </p:spPr>
        <p:txBody>
          <a:bodyPr wrap="square" rtlCol="0">
            <a:spAutoFit/>
          </a:bodyPr>
          <a:lstStyle/>
          <a:p>
            <a:r>
              <a:rPr lang="es-MX" sz="1100" b="1"/>
              <a:t>SE - QA</a:t>
            </a:r>
          </a:p>
          <a:p>
            <a:r>
              <a:rPr lang="es-MX" sz="1000" b="1" i="1"/>
              <a:t>MARILUZ HILARIO</a:t>
            </a:r>
            <a:endParaRPr lang="es-PE" sz="1000" b="1" i="1"/>
          </a:p>
        </p:txBody>
      </p:sp>
      <p:pic>
        <p:nvPicPr>
          <p:cNvPr id="68" name="Gráfico 67" descr="Perfil de hombre con relleno sólido">
            <a:extLst>
              <a:ext uri="{FF2B5EF4-FFF2-40B4-BE49-F238E27FC236}">
                <a16:creationId xmlns:a16="http://schemas.microsoft.com/office/drawing/2014/main" id="{C0348B63-7342-627C-9DBD-07F7B48AF3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06170" y="5459465"/>
            <a:ext cx="360000" cy="360000"/>
          </a:xfrm>
          <a:prstGeom prst="rect">
            <a:avLst/>
          </a:prstGeom>
        </p:spPr>
      </p:pic>
      <p:cxnSp>
        <p:nvCxnSpPr>
          <p:cNvPr id="72" name="Conector recto 71">
            <a:extLst>
              <a:ext uri="{FF2B5EF4-FFF2-40B4-BE49-F238E27FC236}">
                <a16:creationId xmlns:a16="http://schemas.microsoft.com/office/drawing/2014/main" id="{B0F6F698-4039-5C16-8F92-BF406914C20D}"/>
              </a:ext>
            </a:extLst>
          </p:cNvPr>
          <p:cNvCxnSpPr>
            <a:cxnSpLocks/>
          </p:cNvCxnSpPr>
          <p:nvPr/>
        </p:nvCxnSpPr>
        <p:spPr>
          <a:xfrm>
            <a:off x="7720025" y="4121001"/>
            <a:ext cx="10160" cy="2471288"/>
          </a:xfrm>
          <a:prstGeom prst="line">
            <a:avLst/>
          </a:prstGeom>
          <a:ln w="127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4" name="Conector recto 73">
            <a:extLst>
              <a:ext uri="{FF2B5EF4-FFF2-40B4-BE49-F238E27FC236}">
                <a16:creationId xmlns:a16="http://schemas.microsoft.com/office/drawing/2014/main" id="{213FBE2F-CD0E-8F84-D71B-982B03E8385B}"/>
              </a:ext>
            </a:extLst>
          </p:cNvPr>
          <p:cNvCxnSpPr>
            <a:cxnSpLocks/>
          </p:cNvCxnSpPr>
          <p:nvPr/>
        </p:nvCxnSpPr>
        <p:spPr>
          <a:xfrm>
            <a:off x="9125499" y="1354605"/>
            <a:ext cx="0" cy="2918459"/>
          </a:xfrm>
          <a:prstGeom prst="line">
            <a:avLst/>
          </a:prstGeom>
          <a:ln w="127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5" name="Conector recto 74">
            <a:extLst>
              <a:ext uri="{FF2B5EF4-FFF2-40B4-BE49-F238E27FC236}">
                <a16:creationId xmlns:a16="http://schemas.microsoft.com/office/drawing/2014/main" id="{95325446-D060-5C12-09A0-1881FEFFAF47}"/>
              </a:ext>
            </a:extLst>
          </p:cNvPr>
          <p:cNvCxnSpPr>
            <a:cxnSpLocks/>
          </p:cNvCxnSpPr>
          <p:nvPr/>
        </p:nvCxnSpPr>
        <p:spPr>
          <a:xfrm flipH="1">
            <a:off x="9125499" y="5254521"/>
            <a:ext cx="10160" cy="1339200"/>
          </a:xfrm>
          <a:prstGeom prst="line">
            <a:avLst/>
          </a:prstGeom>
          <a:ln w="127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 name="Rectángulo: esquinas redondeadas 13">
            <a:extLst>
              <a:ext uri="{FF2B5EF4-FFF2-40B4-BE49-F238E27FC236}">
                <a16:creationId xmlns:a16="http://schemas.microsoft.com/office/drawing/2014/main" id="{DB0958CE-BAB5-6040-7515-AFFD5A92780B}"/>
              </a:ext>
            </a:extLst>
          </p:cNvPr>
          <p:cNvSpPr/>
          <p:nvPr/>
        </p:nvSpPr>
        <p:spPr>
          <a:xfrm>
            <a:off x="2161032" y="3761001"/>
            <a:ext cx="9631232" cy="360000"/>
          </a:xfrm>
          <a:prstGeom prst="roundRect">
            <a:avLst/>
          </a:prstGeom>
          <a:solidFill>
            <a:srgbClr val="DEEDF1"/>
          </a:solid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r>
              <a:rPr lang="es-MX" sz="1400" b="1">
                <a:solidFill>
                  <a:schemeClr val="tx1"/>
                </a:solidFill>
              </a:rPr>
              <a:t>QA</a:t>
            </a:r>
            <a:endParaRPr lang="es-PE" sz="1400" b="1">
              <a:solidFill>
                <a:schemeClr val="tx1"/>
              </a:solidFill>
            </a:endParaRPr>
          </a:p>
        </p:txBody>
      </p:sp>
      <p:pic>
        <p:nvPicPr>
          <p:cNvPr id="16" name="Gráfico 15" descr="Perfil de hombre con relleno sólido">
            <a:extLst>
              <a:ext uri="{FF2B5EF4-FFF2-40B4-BE49-F238E27FC236}">
                <a16:creationId xmlns:a16="http://schemas.microsoft.com/office/drawing/2014/main" id="{1E941DBF-B917-EC8C-82D6-216F20C3877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87752" y="3785349"/>
            <a:ext cx="360000" cy="360000"/>
          </a:xfrm>
          <a:prstGeom prst="rect">
            <a:avLst/>
          </a:prstGeom>
        </p:spPr>
      </p:pic>
      <p:sp>
        <p:nvSpPr>
          <p:cNvPr id="17" name="CuadroTexto 16">
            <a:extLst>
              <a:ext uri="{FF2B5EF4-FFF2-40B4-BE49-F238E27FC236}">
                <a16:creationId xmlns:a16="http://schemas.microsoft.com/office/drawing/2014/main" id="{AD0783A4-A43E-55D4-BAF9-1B7F2356A779}"/>
              </a:ext>
            </a:extLst>
          </p:cNvPr>
          <p:cNvSpPr txBox="1"/>
          <p:nvPr/>
        </p:nvSpPr>
        <p:spPr>
          <a:xfrm>
            <a:off x="2940386" y="3720072"/>
            <a:ext cx="1047082" cy="461665"/>
          </a:xfrm>
          <a:prstGeom prst="rect">
            <a:avLst/>
          </a:prstGeom>
          <a:noFill/>
        </p:spPr>
        <p:txBody>
          <a:bodyPr wrap="none" rtlCol="0">
            <a:spAutoFit/>
          </a:bodyPr>
          <a:lstStyle/>
          <a:p>
            <a:r>
              <a:rPr lang="es-MX" sz="1400" b="1" i="1"/>
              <a:t>Líder QA</a:t>
            </a:r>
          </a:p>
          <a:p>
            <a:r>
              <a:rPr lang="es-MX" sz="1000" b="1" i="1">
                <a:solidFill>
                  <a:schemeClr val="accent3"/>
                </a:solidFill>
              </a:rPr>
              <a:t>Abraham Rivera</a:t>
            </a:r>
          </a:p>
        </p:txBody>
      </p:sp>
      <p:pic>
        <p:nvPicPr>
          <p:cNvPr id="18" name="Gráfico 17" descr="Perfil de hombre con relleno sólido">
            <a:extLst>
              <a:ext uri="{FF2B5EF4-FFF2-40B4-BE49-F238E27FC236}">
                <a16:creationId xmlns:a16="http://schemas.microsoft.com/office/drawing/2014/main" id="{4E3DA980-03AE-51EA-E37F-9E929581451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35621" y="3785349"/>
            <a:ext cx="360000" cy="360000"/>
          </a:xfrm>
          <a:prstGeom prst="rect">
            <a:avLst/>
          </a:prstGeom>
        </p:spPr>
      </p:pic>
      <p:sp>
        <p:nvSpPr>
          <p:cNvPr id="19" name="CuadroTexto 18">
            <a:extLst>
              <a:ext uri="{FF2B5EF4-FFF2-40B4-BE49-F238E27FC236}">
                <a16:creationId xmlns:a16="http://schemas.microsoft.com/office/drawing/2014/main" id="{E9A5CF43-79B5-DD68-82D7-AAFB82565181}"/>
              </a:ext>
            </a:extLst>
          </p:cNvPr>
          <p:cNvSpPr txBox="1"/>
          <p:nvPr/>
        </p:nvSpPr>
        <p:spPr>
          <a:xfrm>
            <a:off x="8188255" y="3720420"/>
            <a:ext cx="1232645" cy="677108"/>
          </a:xfrm>
          <a:prstGeom prst="rect">
            <a:avLst/>
          </a:prstGeom>
          <a:noFill/>
        </p:spPr>
        <p:txBody>
          <a:bodyPr wrap="none" rtlCol="0">
            <a:spAutoFit/>
          </a:bodyPr>
          <a:lstStyle/>
          <a:p>
            <a:r>
              <a:rPr lang="es-MX" sz="1400" b="1" i="1"/>
              <a:t>Ingeniero QA</a:t>
            </a:r>
          </a:p>
          <a:p>
            <a:r>
              <a:rPr lang="es-MX" sz="1000" b="1" i="1"/>
              <a:t>Saul Galan</a:t>
            </a:r>
          </a:p>
          <a:p>
            <a:endParaRPr lang="es-PE" sz="1400" b="1" i="1"/>
          </a:p>
        </p:txBody>
      </p:sp>
      <p:pic>
        <p:nvPicPr>
          <p:cNvPr id="80" name="Gráfico 79" descr="Perfil de hombre con relleno sólido">
            <a:extLst>
              <a:ext uri="{FF2B5EF4-FFF2-40B4-BE49-F238E27FC236}">
                <a16:creationId xmlns:a16="http://schemas.microsoft.com/office/drawing/2014/main" id="{E32E39C5-401A-1217-8DF0-9FA73635D5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06031" y="5459465"/>
            <a:ext cx="360000" cy="360000"/>
          </a:xfrm>
          <a:prstGeom prst="rect">
            <a:avLst/>
          </a:prstGeom>
        </p:spPr>
      </p:pic>
      <p:pic>
        <p:nvPicPr>
          <p:cNvPr id="83" name="Gráfico 82" descr="Perfil de hombre con relleno sólido">
            <a:extLst>
              <a:ext uri="{FF2B5EF4-FFF2-40B4-BE49-F238E27FC236}">
                <a16:creationId xmlns:a16="http://schemas.microsoft.com/office/drawing/2014/main" id="{06B86C57-EA99-E602-ADE8-613ACAE5C91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51864" y="5456260"/>
            <a:ext cx="360000" cy="360000"/>
          </a:xfrm>
          <a:prstGeom prst="rect">
            <a:avLst/>
          </a:prstGeom>
        </p:spPr>
      </p:pic>
      <p:pic>
        <p:nvPicPr>
          <p:cNvPr id="84" name="Gráfico 83" descr="Perfil de hombre con relleno sólido">
            <a:extLst>
              <a:ext uri="{FF2B5EF4-FFF2-40B4-BE49-F238E27FC236}">
                <a16:creationId xmlns:a16="http://schemas.microsoft.com/office/drawing/2014/main" id="{5AF9F42C-B5CA-904E-F746-388A39C6EA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07829" y="5437113"/>
            <a:ext cx="360000" cy="360000"/>
          </a:xfrm>
          <a:prstGeom prst="rect">
            <a:avLst/>
          </a:prstGeom>
        </p:spPr>
      </p:pic>
      <p:pic>
        <p:nvPicPr>
          <p:cNvPr id="86" name="Gráfico 85" descr="Perfil de hombre con relleno sólido">
            <a:extLst>
              <a:ext uri="{FF2B5EF4-FFF2-40B4-BE49-F238E27FC236}">
                <a16:creationId xmlns:a16="http://schemas.microsoft.com/office/drawing/2014/main" id="{5DC8E887-9847-31D4-5C0D-F39DEA0F578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504846" y="5437113"/>
            <a:ext cx="360000" cy="360000"/>
          </a:xfrm>
          <a:prstGeom prst="rect">
            <a:avLst/>
          </a:prstGeom>
        </p:spPr>
      </p:pic>
      <p:pic>
        <p:nvPicPr>
          <p:cNvPr id="87" name="Gráfico 86" descr="Perfil de hombre con relleno sólido">
            <a:extLst>
              <a:ext uri="{FF2B5EF4-FFF2-40B4-BE49-F238E27FC236}">
                <a16:creationId xmlns:a16="http://schemas.microsoft.com/office/drawing/2014/main" id="{4856578C-705D-C3B0-DD61-47E3D9286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8750" y="5437113"/>
            <a:ext cx="360000" cy="360000"/>
          </a:xfrm>
          <a:prstGeom prst="rect">
            <a:avLst/>
          </a:prstGeom>
        </p:spPr>
      </p:pic>
      <p:pic>
        <p:nvPicPr>
          <p:cNvPr id="88" name="Gráfico 87" descr="Perfil de hombre con relleno sólido">
            <a:extLst>
              <a:ext uri="{FF2B5EF4-FFF2-40B4-BE49-F238E27FC236}">
                <a16:creationId xmlns:a16="http://schemas.microsoft.com/office/drawing/2014/main" id="{8CF28CAF-0D69-1DCF-5468-2F17064F3D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69141" y="5459465"/>
            <a:ext cx="360000" cy="360000"/>
          </a:xfrm>
          <a:prstGeom prst="rect">
            <a:avLst/>
          </a:prstGeom>
        </p:spPr>
      </p:pic>
      <p:sp>
        <p:nvSpPr>
          <p:cNvPr id="89" name="Rectángulo: esquinas redondeadas 88">
            <a:extLst>
              <a:ext uri="{FF2B5EF4-FFF2-40B4-BE49-F238E27FC236}">
                <a16:creationId xmlns:a16="http://schemas.microsoft.com/office/drawing/2014/main" id="{884E6CF0-C03A-42A9-3140-247A0ACA9ED3}"/>
              </a:ext>
            </a:extLst>
          </p:cNvPr>
          <p:cNvSpPr/>
          <p:nvPr/>
        </p:nvSpPr>
        <p:spPr>
          <a:xfrm>
            <a:off x="109726" y="980693"/>
            <a:ext cx="11682536" cy="460248"/>
          </a:xfrm>
          <a:prstGeom prst="roundRect">
            <a:avLst/>
          </a:prstGeom>
          <a:solidFill>
            <a:srgbClr val="DEEDF1"/>
          </a:solid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es-MX" b="1">
                <a:solidFill>
                  <a:schemeClr val="tx1"/>
                </a:solidFill>
              </a:rPr>
              <a:t>CAPACITY QAs (PROYECTO HELIOS)</a:t>
            </a:r>
            <a:endParaRPr lang="es-PE" b="1">
              <a:solidFill>
                <a:schemeClr val="tx1"/>
              </a:solidFill>
            </a:endParaRPr>
          </a:p>
        </p:txBody>
      </p:sp>
      <p:pic>
        <p:nvPicPr>
          <p:cNvPr id="118" name="Gráfico 117" descr="Perfil de hombre con relleno sólido">
            <a:extLst>
              <a:ext uri="{FF2B5EF4-FFF2-40B4-BE49-F238E27FC236}">
                <a16:creationId xmlns:a16="http://schemas.microsoft.com/office/drawing/2014/main" id="{B981CB85-7EE8-1923-7D7C-68FD112DD9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25362" y="4583455"/>
            <a:ext cx="360000" cy="360000"/>
          </a:xfrm>
          <a:prstGeom prst="rect">
            <a:avLst/>
          </a:prstGeom>
        </p:spPr>
      </p:pic>
      <p:sp>
        <p:nvSpPr>
          <p:cNvPr id="119" name="CuadroTexto 118">
            <a:extLst>
              <a:ext uri="{FF2B5EF4-FFF2-40B4-BE49-F238E27FC236}">
                <a16:creationId xmlns:a16="http://schemas.microsoft.com/office/drawing/2014/main" id="{58CB94EA-6F2D-3BA5-E411-69048FAD73FF}"/>
              </a:ext>
            </a:extLst>
          </p:cNvPr>
          <p:cNvSpPr txBox="1"/>
          <p:nvPr/>
        </p:nvSpPr>
        <p:spPr>
          <a:xfrm>
            <a:off x="8796532" y="4568657"/>
            <a:ext cx="1467068" cy="769441"/>
          </a:xfrm>
          <a:prstGeom prst="rect">
            <a:avLst/>
          </a:prstGeom>
          <a:noFill/>
        </p:spPr>
        <p:txBody>
          <a:bodyPr wrap="none" rtlCol="0">
            <a:spAutoFit/>
          </a:bodyPr>
          <a:lstStyle/>
          <a:p>
            <a:r>
              <a:rPr lang="es-MX" sz="1100" b="1"/>
              <a:t>SE - QA</a:t>
            </a:r>
          </a:p>
          <a:p>
            <a:r>
              <a:rPr lang="es-MX" sz="1000" b="1" i="1"/>
              <a:t>SAMANTHA ANTENUCCI</a:t>
            </a:r>
            <a:endParaRPr lang="es-PE" sz="1000" b="1" i="1"/>
          </a:p>
          <a:p>
            <a:endParaRPr lang="es-MX" sz="1200" i="1">
              <a:solidFill>
                <a:srgbClr val="FF0000"/>
              </a:solidFill>
            </a:endParaRPr>
          </a:p>
          <a:p>
            <a:endParaRPr lang="es-PE" sz="1100" b="1"/>
          </a:p>
        </p:txBody>
      </p:sp>
      <p:sp>
        <p:nvSpPr>
          <p:cNvPr id="22" name="CuadroTexto 21">
            <a:extLst>
              <a:ext uri="{FF2B5EF4-FFF2-40B4-BE49-F238E27FC236}">
                <a16:creationId xmlns:a16="http://schemas.microsoft.com/office/drawing/2014/main" id="{1A4D2EDF-0A48-362A-2A9E-69B027A0A3C1}"/>
              </a:ext>
            </a:extLst>
          </p:cNvPr>
          <p:cNvSpPr txBox="1"/>
          <p:nvPr/>
        </p:nvSpPr>
        <p:spPr>
          <a:xfrm>
            <a:off x="288802" y="2876467"/>
            <a:ext cx="1663128" cy="646331"/>
          </a:xfrm>
          <a:prstGeom prst="rect">
            <a:avLst/>
          </a:prstGeom>
          <a:noFill/>
        </p:spPr>
        <p:txBody>
          <a:bodyPr wrap="square">
            <a:spAutoFit/>
          </a:bodyPr>
          <a:lstStyle/>
          <a:p>
            <a:pPr algn="ctr"/>
            <a:r>
              <a:rPr lang="es-MX" sz="1800" b="1">
                <a:solidFill>
                  <a:schemeClr val="tx1"/>
                </a:solidFill>
              </a:rPr>
              <a:t>Equipos </a:t>
            </a:r>
          </a:p>
          <a:p>
            <a:pPr algn="ctr"/>
            <a:r>
              <a:rPr lang="es-MX" b="1"/>
              <a:t>Transversales</a:t>
            </a:r>
            <a:endParaRPr lang="es-PE" sz="1800" b="1">
              <a:solidFill>
                <a:schemeClr val="tx1"/>
              </a:solidFill>
            </a:endParaRPr>
          </a:p>
        </p:txBody>
      </p:sp>
      <p:sp>
        <p:nvSpPr>
          <p:cNvPr id="24" name="CuadroTexto 23">
            <a:extLst>
              <a:ext uri="{FF2B5EF4-FFF2-40B4-BE49-F238E27FC236}">
                <a16:creationId xmlns:a16="http://schemas.microsoft.com/office/drawing/2014/main" id="{CAFAE3FF-83BC-241F-F04A-6C4346827577}"/>
              </a:ext>
            </a:extLst>
          </p:cNvPr>
          <p:cNvSpPr txBox="1"/>
          <p:nvPr/>
        </p:nvSpPr>
        <p:spPr>
          <a:xfrm>
            <a:off x="303815" y="1625273"/>
            <a:ext cx="1663128" cy="646331"/>
          </a:xfrm>
          <a:prstGeom prst="rect">
            <a:avLst/>
          </a:prstGeom>
          <a:noFill/>
        </p:spPr>
        <p:txBody>
          <a:bodyPr wrap="square">
            <a:spAutoFit/>
          </a:bodyPr>
          <a:lstStyle/>
          <a:p>
            <a:pPr algn="ctr"/>
            <a:r>
              <a:rPr lang="es-MX" b="1"/>
              <a:t>Building</a:t>
            </a:r>
          </a:p>
          <a:p>
            <a:pPr algn="ctr"/>
            <a:r>
              <a:rPr lang="es-MX" sz="1800" b="1">
                <a:solidFill>
                  <a:schemeClr val="tx1"/>
                </a:solidFill>
              </a:rPr>
              <a:t>Blocks</a:t>
            </a:r>
            <a:endParaRPr lang="es-PE" sz="1800" b="1">
              <a:solidFill>
                <a:schemeClr val="tx1"/>
              </a:solidFill>
            </a:endParaRPr>
          </a:p>
        </p:txBody>
      </p:sp>
      <p:sp>
        <p:nvSpPr>
          <p:cNvPr id="12" name="Rectángulo: esquinas redondeadas 11">
            <a:extLst>
              <a:ext uri="{FF2B5EF4-FFF2-40B4-BE49-F238E27FC236}">
                <a16:creationId xmlns:a16="http://schemas.microsoft.com/office/drawing/2014/main" id="{B652A1E0-DB26-AF64-A597-D6DD03FE6E6E}"/>
              </a:ext>
            </a:extLst>
          </p:cNvPr>
          <p:cNvSpPr/>
          <p:nvPr/>
        </p:nvSpPr>
        <p:spPr>
          <a:xfrm>
            <a:off x="2148838" y="2871584"/>
            <a:ext cx="9648000" cy="360000"/>
          </a:xfrm>
          <a:prstGeom prst="roundRect">
            <a:avLst/>
          </a:prstGeom>
          <a:solidFill>
            <a:srgbClr val="DEEDF1"/>
          </a:solid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es-MX" sz="1400" b="1">
                <a:solidFill>
                  <a:schemeClr val="tx1"/>
                </a:solidFill>
              </a:rPr>
              <a:t>CIBERSEGURIDAD</a:t>
            </a:r>
            <a:r>
              <a:rPr lang="es-MX" sz="1400" b="1">
                <a:solidFill>
                  <a:schemeClr val="bg1"/>
                </a:solidFill>
              </a:rPr>
              <a:t> </a:t>
            </a:r>
            <a:r>
              <a:rPr lang="es-MX" sz="900" b="1" i="1"/>
              <a:t>César Villanueva</a:t>
            </a:r>
            <a:endParaRPr lang="es-PE" sz="1400" b="1">
              <a:solidFill>
                <a:schemeClr val="tx1"/>
              </a:solidFill>
            </a:endParaRPr>
          </a:p>
        </p:txBody>
      </p:sp>
      <p:sp>
        <p:nvSpPr>
          <p:cNvPr id="13" name="Rectángulo: esquinas redondeadas 12">
            <a:extLst>
              <a:ext uri="{FF2B5EF4-FFF2-40B4-BE49-F238E27FC236}">
                <a16:creationId xmlns:a16="http://schemas.microsoft.com/office/drawing/2014/main" id="{EDE6DE5A-FFA9-6DFD-F9D9-002492ACD945}"/>
              </a:ext>
            </a:extLst>
          </p:cNvPr>
          <p:cNvSpPr/>
          <p:nvPr/>
        </p:nvSpPr>
        <p:spPr>
          <a:xfrm>
            <a:off x="2139694" y="3316465"/>
            <a:ext cx="9648000" cy="360000"/>
          </a:xfrm>
          <a:prstGeom prst="roundRect">
            <a:avLst/>
          </a:prstGeom>
          <a:solidFill>
            <a:srgbClr val="DEEDF1"/>
          </a:solid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es-MX" sz="1400" b="1">
                <a:solidFill>
                  <a:schemeClr val="tx1"/>
                </a:solidFill>
              </a:rPr>
              <a:t>DATA</a:t>
            </a:r>
            <a:r>
              <a:rPr lang="es-MX" sz="1400" b="1">
                <a:solidFill>
                  <a:schemeClr val="bg1"/>
                </a:solidFill>
              </a:rPr>
              <a:t> </a:t>
            </a:r>
            <a:r>
              <a:rPr lang="es-MX" sz="900" b="1" i="1"/>
              <a:t>Jean Paul </a:t>
            </a:r>
            <a:r>
              <a:rPr lang="es-MX" sz="900" b="1" i="1" err="1"/>
              <a:t>Astonitas</a:t>
            </a:r>
            <a:endParaRPr lang="es-PE" sz="1400" b="1">
              <a:solidFill>
                <a:schemeClr val="tx1"/>
              </a:solidFill>
            </a:endParaRPr>
          </a:p>
        </p:txBody>
      </p:sp>
      <p:sp>
        <p:nvSpPr>
          <p:cNvPr id="122" name="Rectángulo: esquinas redondeadas 121">
            <a:extLst>
              <a:ext uri="{FF2B5EF4-FFF2-40B4-BE49-F238E27FC236}">
                <a16:creationId xmlns:a16="http://schemas.microsoft.com/office/drawing/2014/main" id="{95B09A61-68D0-2845-A181-8D1072FFED61}"/>
              </a:ext>
            </a:extLst>
          </p:cNvPr>
          <p:cNvSpPr/>
          <p:nvPr/>
        </p:nvSpPr>
        <p:spPr>
          <a:xfrm>
            <a:off x="2143448" y="2439668"/>
            <a:ext cx="9648813" cy="360000"/>
          </a:xfrm>
          <a:prstGeom prst="roundRect">
            <a:avLst/>
          </a:prstGeom>
          <a:solidFill>
            <a:srgbClr val="DEEDF1"/>
          </a:solid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es-MX" sz="1400" b="1">
                <a:solidFill>
                  <a:schemeClr val="tx1"/>
                </a:solidFill>
              </a:rPr>
              <a:t>INFRAESTRUCTURA</a:t>
            </a:r>
            <a:r>
              <a:rPr lang="es-MX" sz="1400" b="1">
                <a:solidFill>
                  <a:schemeClr val="bg1"/>
                </a:solidFill>
              </a:rPr>
              <a:t> </a:t>
            </a:r>
            <a:r>
              <a:rPr lang="es-MX" sz="900" b="1" i="1"/>
              <a:t>Hector Guerra</a:t>
            </a:r>
            <a:endParaRPr lang="es-PE" sz="1400" b="1"/>
          </a:p>
        </p:txBody>
      </p:sp>
      <p:sp>
        <p:nvSpPr>
          <p:cNvPr id="21" name="Title 5">
            <a:extLst>
              <a:ext uri="{FF2B5EF4-FFF2-40B4-BE49-F238E27FC236}">
                <a16:creationId xmlns:a16="http://schemas.microsoft.com/office/drawing/2014/main" id="{B6CD02B3-3D4C-7B8D-5DAB-4C6A05CBE907}"/>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 </a:t>
            </a:r>
            <a:r>
              <a:rPr lang="en-GB" b="0">
                <a:solidFill>
                  <a:srgbClr val="203864"/>
                </a:solidFill>
                <a:latin typeface="Santander Headline" panose="020B0504020201020104" pitchFamily="34" charset="0"/>
              </a:rPr>
              <a:t>Asignación por Building Block</a:t>
            </a:r>
            <a:endParaRPr lang="es-MX">
              <a:solidFill>
                <a:srgbClr val="203864"/>
              </a:solidFill>
            </a:endParaRPr>
          </a:p>
        </p:txBody>
      </p:sp>
    </p:spTree>
    <p:extLst>
      <p:ext uri="{BB962C8B-B14F-4D97-AF65-F5344CB8AC3E}">
        <p14:creationId xmlns:p14="http://schemas.microsoft.com/office/powerpoint/2010/main" val="27934470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a 5">
            <a:extLst>
              <a:ext uri="{FF2B5EF4-FFF2-40B4-BE49-F238E27FC236}">
                <a16:creationId xmlns:a16="http://schemas.microsoft.com/office/drawing/2014/main" id="{2DE71A40-EB62-F8CA-60CE-CF5A8FE9AB65}"/>
              </a:ext>
            </a:extLst>
          </p:cNvPr>
          <p:cNvGraphicFramePr>
            <a:graphicFrameLocks noGrp="1"/>
          </p:cNvGraphicFramePr>
          <p:nvPr>
            <p:extLst>
              <p:ext uri="{D42A27DB-BD31-4B8C-83A1-F6EECF244321}">
                <p14:modId xmlns:p14="http://schemas.microsoft.com/office/powerpoint/2010/main" val="2986269724"/>
              </p:ext>
            </p:extLst>
          </p:nvPr>
        </p:nvGraphicFramePr>
        <p:xfrm>
          <a:off x="550861" y="1631790"/>
          <a:ext cx="11090275" cy="3747264"/>
        </p:xfrm>
        <a:graphic>
          <a:graphicData uri="http://schemas.openxmlformats.org/drawingml/2006/table">
            <a:tbl>
              <a:tblPr firstRow="1" bandRow="1">
                <a:tableStyleId>{5C22544A-7EE6-4342-B048-85BDC9FD1C3A}</a:tableStyleId>
              </a:tblPr>
              <a:tblGrid>
                <a:gridCol w="2925859">
                  <a:extLst>
                    <a:ext uri="{9D8B030D-6E8A-4147-A177-3AD203B41FA5}">
                      <a16:colId xmlns:a16="http://schemas.microsoft.com/office/drawing/2014/main" val="785894044"/>
                    </a:ext>
                  </a:extLst>
                </a:gridCol>
                <a:gridCol w="3988301">
                  <a:extLst>
                    <a:ext uri="{9D8B030D-6E8A-4147-A177-3AD203B41FA5}">
                      <a16:colId xmlns:a16="http://schemas.microsoft.com/office/drawing/2014/main" val="3079723282"/>
                    </a:ext>
                  </a:extLst>
                </a:gridCol>
                <a:gridCol w="4176115">
                  <a:extLst>
                    <a:ext uri="{9D8B030D-6E8A-4147-A177-3AD203B41FA5}">
                      <a16:colId xmlns:a16="http://schemas.microsoft.com/office/drawing/2014/main" val="3613029601"/>
                    </a:ext>
                  </a:extLst>
                </a:gridCol>
              </a:tblGrid>
              <a:tr h="173736">
                <a:tc>
                  <a:txBody>
                    <a:bodyPr/>
                    <a:lstStyle/>
                    <a:p>
                      <a:r>
                        <a:rPr lang="es-MX"/>
                        <a:t>Nombre Tarea</a:t>
                      </a:r>
                      <a:endParaRPr lang="es-PE"/>
                    </a:p>
                  </a:txBody>
                  <a:tcPr>
                    <a:solidFill>
                      <a:srgbClr val="203864"/>
                    </a:solidFill>
                  </a:tcPr>
                </a:tc>
                <a:tc>
                  <a:txBody>
                    <a:bodyPr/>
                    <a:lstStyle/>
                    <a:p>
                      <a:pPr algn="ctr"/>
                      <a:r>
                        <a:rPr lang="es-MX"/>
                        <a:t>Hito del Proyecto</a:t>
                      </a:r>
                      <a:endParaRPr lang="es-PE"/>
                    </a:p>
                  </a:txBody>
                  <a:tcPr>
                    <a:solidFill>
                      <a:srgbClr val="203864"/>
                    </a:solidFill>
                  </a:tcPr>
                </a:tc>
                <a:tc>
                  <a:txBody>
                    <a:bodyPr/>
                    <a:lstStyle/>
                    <a:p>
                      <a:pPr algn="ctr"/>
                      <a:r>
                        <a:rPr lang="es-MX"/>
                        <a:t>Entregables de Aseguramiento de Calidad</a:t>
                      </a:r>
                      <a:endParaRPr lang="es-PE"/>
                    </a:p>
                  </a:txBody>
                  <a:tcPr>
                    <a:solidFill>
                      <a:srgbClr val="203864"/>
                    </a:solidFill>
                  </a:tcPr>
                </a:tc>
                <a:extLst>
                  <a:ext uri="{0D108BD9-81ED-4DB2-BD59-A6C34878D82A}">
                    <a16:rowId xmlns:a16="http://schemas.microsoft.com/office/drawing/2014/main" val="2264354213"/>
                  </a:ext>
                </a:extLst>
              </a:tr>
              <a:tr h="0">
                <a:tc gridSpan="3">
                  <a:txBody>
                    <a:bodyPr/>
                    <a:lstStyle/>
                    <a:p>
                      <a:r>
                        <a:rPr lang="es-MX" b="1">
                          <a:solidFill>
                            <a:schemeClr val="tx2"/>
                          </a:solidFill>
                        </a:rPr>
                        <a:t>ETAPA DE PRUEBAS</a:t>
                      </a:r>
                      <a:endParaRPr lang="es-PE" b="1">
                        <a:solidFill>
                          <a:schemeClr val="tx2"/>
                        </a:solidFill>
                      </a:endParaRPr>
                    </a:p>
                  </a:txBody>
                  <a:tcPr>
                    <a:solidFill>
                      <a:srgbClr val="DEEDF1"/>
                    </a:solidFill>
                  </a:tcPr>
                </a:tc>
                <a:tc hMerge="1">
                  <a:txBody>
                    <a:bodyPr/>
                    <a:lstStyle/>
                    <a:p>
                      <a:endParaRPr lang="es-PE"/>
                    </a:p>
                  </a:txBody>
                  <a:tcPr/>
                </a:tc>
                <a:tc hMerge="1">
                  <a:txBody>
                    <a:bodyPr/>
                    <a:lstStyle/>
                    <a:p>
                      <a:endParaRPr lang="es-PE"/>
                    </a:p>
                  </a:txBody>
                  <a:tcPr/>
                </a:tc>
                <a:extLst>
                  <a:ext uri="{0D108BD9-81ED-4DB2-BD59-A6C34878D82A}">
                    <a16:rowId xmlns:a16="http://schemas.microsoft.com/office/drawing/2014/main" val="2194483168"/>
                  </a:ext>
                </a:extLst>
              </a:tr>
              <a:tr h="256032">
                <a:tc>
                  <a:txBody>
                    <a:bodyPr/>
                    <a:lstStyle/>
                    <a:p>
                      <a:r>
                        <a:rPr lang="es-MX">
                          <a:solidFill>
                            <a:schemeClr val="tx2"/>
                          </a:solidFill>
                        </a:rPr>
                        <a:t>1. PLANIFICACION</a:t>
                      </a:r>
                      <a:endParaRPr lang="es-PE">
                        <a:solidFill>
                          <a:schemeClr val="tx2"/>
                        </a:solidFill>
                      </a:endParaRPr>
                    </a:p>
                  </a:txBody>
                  <a:tcPr>
                    <a:solidFill>
                      <a:srgbClr val="DEEDF1"/>
                    </a:solidFill>
                  </a:tcPr>
                </a:tc>
                <a:tc>
                  <a:txBody>
                    <a:bodyPr/>
                    <a:lstStyle/>
                    <a:p>
                      <a:pPr algn="l"/>
                      <a:r>
                        <a:rPr lang="es-MX">
                          <a:solidFill>
                            <a:schemeClr val="tx2"/>
                          </a:solidFill>
                        </a:rPr>
                        <a:t>-</a:t>
                      </a:r>
                      <a:endParaRPr lang="es-PE">
                        <a:solidFill>
                          <a:schemeClr val="tx2"/>
                        </a:solidFill>
                      </a:endParaRPr>
                    </a:p>
                  </a:txBody>
                  <a:tcPr>
                    <a:solidFill>
                      <a:srgbClr val="DEEDF1"/>
                    </a:solidFill>
                  </a:tcPr>
                </a:tc>
                <a:tc>
                  <a:txBody>
                    <a:bodyPr/>
                    <a:lstStyle/>
                    <a:p>
                      <a:pPr algn="l"/>
                      <a:r>
                        <a:rPr lang="es-MX" sz="1400">
                          <a:solidFill>
                            <a:schemeClr val="tx2"/>
                          </a:solidFill>
                        </a:rPr>
                        <a:t>Documento Estrategia de Prueba Transversal.</a:t>
                      </a:r>
                    </a:p>
                  </a:txBody>
                  <a:tcPr>
                    <a:solidFill>
                      <a:srgbClr val="DEEDF1"/>
                    </a:solidFill>
                  </a:tcPr>
                </a:tc>
                <a:extLst>
                  <a:ext uri="{0D108BD9-81ED-4DB2-BD59-A6C34878D82A}">
                    <a16:rowId xmlns:a16="http://schemas.microsoft.com/office/drawing/2014/main" val="368486550"/>
                  </a:ext>
                </a:extLst>
              </a:tr>
              <a:tr h="0">
                <a:tc>
                  <a:txBody>
                    <a:bodyPr/>
                    <a:lstStyle/>
                    <a:p>
                      <a:r>
                        <a:rPr lang="es-MX">
                          <a:solidFill>
                            <a:schemeClr val="tx2"/>
                          </a:solidFill>
                        </a:rPr>
                        <a:t>2. ANALISIS</a:t>
                      </a:r>
                      <a:endParaRPr lang="es-PE">
                        <a:solidFill>
                          <a:schemeClr val="tx2"/>
                        </a:solidFill>
                      </a:endParaRPr>
                    </a:p>
                  </a:txBody>
                  <a:tcPr>
                    <a:solidFill>
                      <a:srgbClr val="DEEDF1"/>
                    </a:solidFill>
                  </a:tcPr>
                </a:tc>
                <a:tc>
                  <a:txBody>
                    <a:bodyPr/>
                    <a:lstStyle/>
                    <a:p>
                      <a:pPr algn="l"/>
                      <a:r>
                        <a:rPr lang="es-MX">
                          <a:solidFill>
                            <a:schemeClr val="tx2"/>
                          </a:solidFill>
                        </a:rPr>
                        <a:t>-</a:t>
                      </a:r>
                      <a:endParaRPr lang="es-PE">
                        <a:solidFill>
                          <a:schemeClr val="tx2"/>
                        </a:solidFill>
                      </a:endParaRPr>
                    </a:p>
                  </a:txBody>
                  <a:tcPr>
                    <a:solidFill>
                      <a:srgbClr val="DEEDF1"/>
                    </a:solidFill>
                  </a:tcPr>
                </a:tc>
                <a:tc>
                  <a:txBody>
                    <a:bodyPr/>
                    <a:lstStyle/>
                    <a:p>
                      <a:pPr marL="0" marR="0" lvl="0" indent="0" algn="l" defTabSz="912688" rtl="0" eaLnBrk="1" fontAlgn="auto" latinLnBrk="0" hangingPunct="1">
                        <a:lnSpc>
                          <a:spcPct val="100000"/>
                        </a:lnSpc>
                        <a:spcBef>
                          <a:spcPts val="0"/>
                        </a:spcBef>
                        <a:spcAft>
                          <a:spcPts val="0"/>
                        </a:spcAft>
                        <a:buClrTx/>
                        <a:buSzTx/>
                        <a:buFontTx/>
                        <a:buNone/>
                        <a:tabLst/>
                        <a:defRPr/>
                      </a:pPr>
                      <a:r>
                        <a:rPr lang="es-MX" sz="1400" b="1">
                          <a:solidFill>
                            <a:srgbClr val="FF0000"/>
                          </a:solidFill>
                        </a:rPr>
                        <a:t>Documento de plan de pruebas.</a:t>
                      </a:r>
                    </a:p>
                    <a:p>
                      <a:pPr algn="l"/>
                      <a:r>
                        <a:rPr lang="es-MX" sz="1400">
                          <a:solidFill>
                            <a:schemeClr val="tx2"/>
                          </a:solidFill>
                        </a:rPr>
                        <a:t>Matriz de trazabilidad.</a:t>
                      </a:r>
                      <a:endParaRPr lang="es-PE" sz="1400">
                        <a:solidFill>
                          <a:schemeClr val="tx2"/>
                        </a:solidFill>
                      </a:endParaRPr>
                    </a:p>
                  </a:txBody>
                  <a:tcPr>
                    <a:solidFill>
                      <a:srgbClr val="DEEDF1"/>
                    </a:solidFill>
                  </a:tcPr>
                </a:tc>
                <a:extLst>
                  <a:ext uri="{0D108BD9-81ED-4DB2-BD59-A6C34878D82A}">
                    <a16:rowId xmlns:a16="http://schemas.microsoft.com/office/drawing/2014/main" val="1046483228"/>
                  </a:ext>
                </a:extLst>
              </a:tr>
              <a:tr h="149352">
                <a:tc>
                  <a:txBody>
                    <a:bodyPr/>
                    <a:lstStyle/>
                    <a:p>
                      <a:r>
                        <a:rPr lang="es-MX">
                          <a:solidFill>
                            <a:schemeClr val="tx2"/>
                          </a:solidFill>
                        </a:rPr>
                        <a:t>3. DISEÑO</a:t>
                      </a:r>
                      <a:endParaRPr lang="es-PE">
                        <a:solidFill>
                          <a:schemeClr val="tx2"/>
                        </a:solidFill>
                      </a:endParaRPr>
                    </a:p>
                  </a:txBody>
                  <a:tcPr>
                    <a:solidFill>
                      <a:srgbClr val="DEEDF1"/>
                    </a:solidFill>
                  </a:tcPr>
                </a:tc>
                <a:tc>
                  <a:txBody>
                    <a:bodyPr/>
                    <a:lstStyle/>
                    <a:p>
                      <a:pPr algn="l"/>
                      <a:r>
                        <a:rPr lang="es-MX" sz="1400">
                          <a:solidFill>
                            <a:schemeClr val="tx2"/>
                          </a:solidFill>
                        </a:rPr>
                        <a:t>ENTREGA DE INFRAESTRUCTURA UAT</a:t>
                      </a:r>
                      <a:endParaRPr lang="es-PE" sz="1400">
                        <a:solidFill>
                          <a:schemeClr val="tx2"/>
                        </a:solidFill>
                      </a:endParaRPr>
                    </a:p>
                  </a:txBody>
                  <a:tcPr>
                    <a:solidFill>
                      <a:srgbClr val="DEEDF1"/>
                    </a:solidFill>
                  </a:tcPr>
                </a:tc>
                <a:tc>
                  <a:txBody>
                    <a:bodyPr/>
                    <a:lstStyle/>
                    <a:p>
                      <a:pPr algn="l"/>
                      <a:r>
                        <a:rPr lang="es-MX" sz="1400">
                          <a:solidFill>
                            <a:schemeClr val="tx2"/>
                          </a:solidFill>
                        </a:rPr>
                        <a:t>Matriz de Casos de Prueba.</a:t>
                      </a:r>
                      <a:endParaRPr lang="es-PE" sz="1400">
                        <a:solidFill>
                          <a:schemeClr val="tx2"/>
                        </a:solidFill>
                      </a:endParaRPr>
                    </a:p>
                  </a:txBody>
                  <a:tcPr>
                    <a:solidFill>
                      <a:srgbClr val="DEEDF1"/>
                    </a:solidFill>
                  </a:tcPr>
                </a:tc>
                <a:extLst>
                  <a:ext uri="{0D108BD9-81ED-4DB2-BD59-A6C34878D82A}">
                    <a16:rowId xmlns:a16="http://schemas.microsoft.com/office/drawing/2014/main" val="2571092462"/>
                  </a:ext>
                </a:extLst>
              </a:tr>
              <a:tr h="0">
                <a:tc>
                  <a:txBody>
                    <a:bodyPr/>
                    <a:lstStyle/>
                    <a:p>
                      <a:r>
                        <a:rPr lang="es-MX">
                          <a:solidFill>
                            <a:schemeClr val="tx2"/>
                          </a:solidFill>
                        </a:rPr>
                        <a:t>4. PREPARACION</a:t>
                      </a:r>
                      <a:endParaRPr lang="es-PE">
                        <a:solidFill>
                          <a:schemeClr val="tx2"/>
                        </a:solidFill>
                      </a:endParaRPr>
                    </a:p>
                  </a:txBody>
                  <a:tcPr>
                    <a:solidFill>
                      <a:srgbClr val="DEEDF1"/>
                    </a:solidFill>
                  </a:tcPr>
                </a:tc>
                <a:tc>
                  <a:txBody>
                    <a:bodyPr/>
                    <a:lstStyle/>
                    <a:p>
                      <a:pPr algn="l"/>
                      <a:r>
                        <a:rPr lang="es-MX" sz="1400">
                          <a:solidFill>
                            <a:schemeClr val="tx2"/>
                          </a:solidFill>
                        </a:rPr>
                        <a:t>DESPLIEGUE DE AMBIENTE UAT</a:t>
                      </a:r>
                      <a:endParaRPr lang="es-PE" sz="1400">
                        <a:solidFill>
                          <a:schemeClr val="tx2"/>
                        </a:solidFill>
                      </a:endParaRPr>
                    </a:p>
                  </a:txBody>
                  <a:tcPr>
                    <a:solidFill>
                      <a:srgbClr val="DEEDF1"/>
                    </a:solidFill>
                  </a:tcPr>
                </a:tc>
                <a:tc>
                  <a:txBody>
                    <a:bodyPr/>
                    <a:lstStyle/>
                    <a:p>
                      <a:pPr algn="l"/>
                      <a:r>
                        <a:rPr lang="es-MX" sz="1400" i="1">
                          <a:solidFill>
                            <a:schemeClr val="tx2"/>
                          </a:solidFill>
                        </a:rPr>
                        <a:t>Verificación de ambientes(*)</a:t>
                      </a:r>
                      <a:br>
                        <a:rPr lang="es-MX" sz="1400" i="1">
                          <a:solidFill>
                            <a:schemeClr val="tx2"/>
                          </a:solidFill>
                        </a:rPr>
                      </a:br>
                      <a:r>
                        <a:rPr lang="es-MX" sz="1400" i="1">
                          <a:solidFill>
                            <a:schemeClr val="tx2"/>
                          </a:solidFill>
                        </a:rPr>
                        <a:t>Generación de data(*)</a:t>
                      </a:r>
                      <a:endParaRPr lang="es-PE" sz="1400" i="1">
                        <a:solidFill>
                          <a:schemeClr val="tx2"/>
                        </a:solidFill>
                      </a:endParaRPr>
                    </a:p>
                  </a:txBody>
                  <a:tcPr>
                    <a:solidFill>
                      <a:srgbClr val="DEEDF1"/>
                    </a:solidFill>
                  </a:tcPr>
                </a:tc>
                <a:extLst>
                  <a:ext uri="{0D108BD9-81ED-4DB2-BD59-A6C34878D82A}">
                    <a16:rowId xmlns:a16="http://schemas.microsoft.com/office/drawing/2014/main" val="3567653532"/>
                  </a:ext>
                </a:extLst>
              </a:tr>
              <a:tr h="490784">
                <a:tc>
                  <a:txBody>
                    <a:bodyPr/>
                    <a:lstStyle/>
                    <a:p>
                      <a:r>
                        <a:rPr lang="es-MX">
                          <a:solidFill>
                            <a:schemeClr val="tx2"/>
                          </a:solidFill>
                        </a:rPr>
                        <a:t>5. EJECUCION DE PRUEBAS</a:t>
                      </a:r>
                      <a:endParaRPr lang="es-PE">
                        <a:solidFill>
                          <a:schemeClr val="tx2"/>
                        </a:solidFill>
                      </a:endParaRPr>
                    </a:p>
                  </a:txBody>
                  <a:tcPr>
                    <a:solidFill>
                      <a:srgbClr val="DEEDF1"/>
                    </a:solidFill>
                  </a:tcPr>
                </a:tc>
                <a:tc>
                  <a:txBody>
                    <a:bodyPr/>
                    <a:lstStyle/>
                    <a:p>
                      <a:pPr algn="l"/>
                      <a:r>
                        <a:rPr lang="es-MX" sz="1400">
                          <a:solidFill>
                            <a:schemeClr val="tx2"/>
                          </a:solidFill>
                        </a:rPr>
                        <a:t>FIN DE PRUEBAS UNITARIAS</a:t>
                      </a:r>
                    </a:p>
                    <a:p>
                      <a:pPr algn="l"/>
                      <a:r>
                        <a:rPr lang="es-MX" sz="1400">
                          <a:solidFill>
                            <a:schemeClr val="tx2"/>
                          </a:solidFill>
                        </a:rPr>
                        <a:t>INICIO DE PRUEBAS INTEGRALES</a:t>
                      </a:r>
                      <a:endParaRPr lang="es-PE" sz="1400">
                        <a:solidFill>
                          <a:schemeClr val="tx2"/>
                        </a:solidFill>
                      </a:endParaRPr>
                    </a:p>
                  </a:txBody>
                  <a:tcPr>
                    <a:solidFill>
                      <a:srgbClr val="DEEDF1"/>
                    </a:solidFill>
                  </a:tcPr>
                </a:tc>
                <a:tc>
                  <a:txBody>
                    <a:bodyPr/>
                    <a:lstStyle/>
                    <a:p>
                      <a:pPr algn="l"/>
                      <a:r>
                        <a:rPr lang="es-MX" sz="1400">
                          <a:solidFill>
                            <a:schemeClr val="tx2"/>
                          </a:solidFill>
                        </a:rPr>
                        <a:t>Finalización de ejecución de pruebas.</a:t>
                      </a:r>
                    </a:p>
                    <a:p>
                      <a:pPr algn="l"/>
                      <a:r>
                        <a:rPr lang="es-MX" sz="1400">
                          <a:solidFill>
                            <a:schemeClr val="tx2"/>
                          </a:solidFill>
                        </a:rPr>
                        <a:t>Reporte consolidado de defectos.</a:t>
                      </a:r>
                      <a:endParaRPr lang="es-PE" sz="1400">
                        <a:solidFill>
                          <a:schemeClr val="tx2"/>
                        </a:solidFill>
                      </a:endParaRPr>
                    </a:p>
                  </a:txBody>
                  <a:tcPr>
                    <a:solidFill>
                      <a:srgbClr val="DEEDF1"/>
                    </a:solidFill>
                  </a:tcPr>
                </a:tc>
                <a:extLst>
                  <a:ext uri="{0D108BD9-81ED-4DB2-BD59-A6C34878D82A}">
                    <a16:rowId xmlns:a16="http://schemas.microsoft.com/office/drawing/2014/main" val="137443243"/>
                  </a:ext>
                </a:extLst>
              </a:tr>
              <a:tr h="490784">
                <a:tc>
                  <a:txBody>
                    <a:bodyPr/>
                    <a:lstStyle/>
                    <a:p>
                      <a:r>
                        <a:rPr lang="es-MX">
                          <a:solidFill>
                            <a:schemeClr val="tx2"/>
                          </a:solidFill>
                        </a:rPr>
                        <a:t>6. CIERRE</a:t>
                      </a:r>
                      <a:endParaRPr lang="es-PE">
                        <a:solidFill>
                          <a:schemeClr val="tx2"/>
                        </a:solidFill>
                      </a:endParaRPr>
                    </a:p>
                  </a:txBody>
                  <a:tcPr>
                    <a:solidFill>
                      <a:srgbClr val="DEEDF1"/>
                    </a:solidFill>
                  </a:tcPr>
                </a:tc>
                <a:tc>
                  <a:txBody>
                    <a:bodyPr/>
                    <a:lstStyle/>
                    <a:p>
                      <a:pPr algn="l"/>
                      <a:r>
                        <a:rPr lang="es-MX" sz="1400">
                          <a:solidFill>
                            <a:schemeClr val="tx2"/>
                          </a:solidFill>
                        </a:rPr>
                        <a:t>FIN DE PRUEBAS INTEGRALES</a:t>
                      </a:r>
                    </a:p>
                    <a:p>
                      <a:pPr algn="l"/>
                      <a:r>
                        <a:rPr lang="es-MX" sz="1400">
                          <a:solidFill>
                            <a:schemeClr val="tx2"/>
                          </a:solidFill>
                        </a:rPr>
                        <a:t>INICIO DE DRY RUN</a:t>
                      </a:r>
                    </a:p>
                    <a:p>
                      <a:pPr algn="l"/>
                      <a:r>
                        <a:rPr lang="es-MX" sz="1400">
                          <a:solidFill>
                            <a:schemeClr val="tx2"/>
                          </a:solidFill>
                        </a:rPr>
                        <a:t>FIN DE DRY RUN</a:t>
                      </a:r>
                      <a:endParaRPr lang="es-PE" sz="1400">
                        <a:solidFill>
                          <a:schemeClr val="tx2"/>
                        </a:solidFill>
                      </a:endParaRPr>
                    </a:p>
                  </a:txBody>
                  <a:tcPr>
                    <a:solidFill>
                      <a:srgbClr val="DEEDF1"/>
                    </a:solidFill>
                  </a:tcPr>
                </a:tc>
                <a:tc>
                  <a:txBody>
                    <a:bodyPr/>
                    <a:lstStyle/>
                    <a:p>
                      <a:pPr algn="l"/>
                      <a:r>
                        <a:rPr lang="es-MX" sz="1400">
                          <a:solidFill>
                            <a:schemeClr val="tx2"/>
                          </a:solidFill>
                        </a:rPr>
                        <a:t>Acta de cierre.</a:t>
                      </a:r>
                    </a:p>
                    <a:p>
                      <a:pPr algn="l"/>
                      <a:r>
                        <a:rPr lang="es-MX" sz="1400">
                          <a:solidFill>
                            <a:schemeClr val="tx2"/>
                          </a:solidFill>
                        </a:rPr>
                        <a:t>Lecciones aprendidas documentadas.</a:t>
                      </a:r>
                      <a:endParaRPr lang="es-PE">
                        <a:solidFill>
                          <a:schemeClr val="tx2"/>
                        </a:solidFill>
                      </a:endParaRPr>
                    </a:p>
                  </a:txBody>
                  <a:tcPr>
                    <a:solidFill>
                      <a:srgbClr val="DEEDF1"/>
                    </a:solidFill>
                  </a:tcPr>
                </a:tc>
                <a:extLst>
                  <a:ext uri="{0D108BD9-81ED-4DB2-BD59-A6C34878D82A}">
                    <a16:rowId xmlns:a16="http://schemas.microsoft.com/office/drawing/2014/main" val="3480320684"/>
                  </a:ext>
                </a:extLst>
              </a:tr>
            </a:tbl>
          </a:graphicData>
        </a:graphic>
      </p:graphicFrame>
      <p:sp>
        <p:nvSpPr>
          <p:cNvPr id="4" name="Título 3">
            <a:extLst>
              <a:ext uri="{FF2B5EF4-FFF2-40B4-BE49-F238E27FC236}">
                <a16:creationId xmlns:a16="http://schemas.microsoft.com/office/drawing/2014/main" id="{0C95A2BE-4A7D-198E-72B9-8730AD2A7D04}"/>
              </a:ext>
            </a:extLst>
          </p:cNvPr>
          <p:cNvSpPr>
            <a:spLocks noGrp="1"/>
          </p:cNvSpPr>
          <p:nvPr>
            <p:ph type="title"/>
          </p:nvPr>
        </p:nvSpPr>
        <p:spPr/>
        <p:txBody>
          <a:bodyPr/>
          <a:lstStyle/>
          <a:p>
            <a:r>
              <a:rPr lang="es-MX"/>
              <a:t> </a:t>
            </a:r>
            <a:endParaRPr lang="es-PE"/>
          </a:p>
        </p:txBody>
      </p:sp>
      <p:sp>
        <p:nvSpPr>
          <p:cNvPr id="7" name="Title 5">
            <a:extLst>
              <a:ext uri="{FF2B5EF4-FFF2-40B4-BE49-F238E27FC236}">
                <a16:creationId xmlns:a16="http://schemas.microsoft.com/office/drawing/2014/main" id="{F6B349A9-7329-32CB-4D0E-331BAA939220}"/>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a:solidFill>
                  <a:srgbClr val="203864"/>
                </a:solidFill>
                <a:latin typeface="Santander Headline" panose="020B0504020201020104" pitchFamily="34" charset="0"/>
              </a:rPr>
              <a:t>Hitos/Entregables en Calidad</a:t>
            </a:r>
            <a:endParaRPr lang="es-MX">
              <a:solidFill>
                <a:srgbClr val="203864"/>
              </a:solidFill>
            </a:endParaRPr>
          </a:p>
        </p:txBody>
      </p:sp>
      <p:sp>
        <p:nvSpPr>
          <p:cNvPr id="3" name="CuadroTexto 2">
            <a:extLst>
              <a:ext uri="{FF2B5EF4-FFF2-40B4-BE49-F238E27FC236}">
                <a16:creationId xmlns:a16="http://schemas.microsoft.com/office/drawing/2014/main" id="{B95334CB-1C6F-DD80-F711-B0ED087FDEB0}"/>
              </a:ext>
            </a:extLst>
          </p:cNvPr>
          <p:cNvSpPr txBox="1"/>
          <p:nvPr/>
        </p:nvSpPr>
        <p:spPr>
          <a:xfrm>
            <a:off x="10158413" y="6112730"/>
            <a:ext cx="6097904" cy="307777"/>
          </a:xfrm>
          <a:prstGeom prst="rect">
            <a:avLst/>
          </a:prstGeom>
          <a:noFill/>
        </p:spPr>
        <p:txBody>
          <a:bodyPr wrap="square">
            <a:spAutoFit/>
          </a:bodyPr>
          <a:lstStyle/>
          <a:p>
            <a:r>
              <a:rPr lang="es-MX" sz="1400" i="1">
                <a:solidFill>
                  <a:schemeClr val="tx2"/>
                </a:solidFill>
              </a:rPr>
              <a:t>(*)Actividades</a:t>
            </a:r>
            <a:endParaRPr lang="es-PE" sz="1400"/>
          </a:p>
        </p:txBody>
      </p:sp>
    </p:spTree>
    <p:extLst>
      <p:ext uri="{BB962C8B-B14F-4D97-AF65-F5344CB8AC3E}">
        <p14:creationId xmlns:p14="http://schemas.microsoft.com/office/powerpoint/2010/main" val="19481500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202AD2-9E07-BA46-4BFF-1E31CCAE94D2}"/>
            </a:ext>
          </a:extLst>
        </p:cNvPr>
        <p:cNvGrpSpPr/>
        <p:nvPr/>
      </p:nvGrpSpPr>
      <p:grpSpPr>
        <a:xfrm>
          <a:off x="0" y="0"/>
          <a:ext cx="0" cy="0"/>
          <a:chOff x="0" y="0"/>
          <a:chExt cx="0" cy="0"/>
        </a:xfrm>
      </p:grpSpPr>
      <p:grpSp>
        <p:nvGrpSpPr>
          <p:cNvPr id="111" name="Grupo 110">
            <a:extLst>
              <a:ext uri="{FF2B5EF4-FFF2-40B4-BE49-F238E27FC236}">
                <a16:creationId xmlns:a16="http://schemas.microsoft.com/office/drawing/2014/main" id="{55A1D25D-FCAF-D07F-572E-2489A353F68F}"/>
              </a:ext>
            </a:extLst>
          </p:cNvPr>
          <p:cNvGrpSpPr/>
          <p:nvPr/>
        </p:nvGrpSpPr>
        <p:grpSpPr>
          <a:xfrm>
            <a:off x="0" y="978684"/>
            <a:ext cx="11272442" cy="5649232"/>
            <a:chOff x="0" y="1192438"/>
            <a:chExt cx="11272442" cy="5649232"/>
          </a:xfrm>
        </p:grpSpPr>
        <p:sp>
          <p:nvSpPr>
            <p:cNvPr id="112" name="Rectángulo 111">
              <a:extLst>
                <a:ext uri="{FF2B5EF4-FFF2-40B4-BE49-F238E27FC236}">
                  <a16:creationId xmlns:a16="http://schemas.microsoft.com/office/drawing/2014/main" id="{69BC1FF7-350A-6445-05C0-FBB888372B5D}"/>
                </a:ext>
              </a:extLst>
            </p:cNvPr>
            <p:cNvSpPr/>
            <p:nvPr/>
          </p:nvSpPr>
          <p:spPr>
            <a:xfrm>
              <a:off x="0" y="2253173"/>
              <a:ext cx="614149" cy="3439236"/>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3" name="Rectángulo 112">
              <a:extLst>
                <a:ext uri="{FF2B5EF4-FFF2-40B4-BE49-F238E27FC236}">
                  <a16:creationId xmlns:a16="http://schemas.microsoft.com/office/drawing/2014/main" id="{DEE3AE97-568F-5B23-FD55-76B3487260E2}"/>
                </a:ext>
              </a:extLst>
            </p:cNvPr>
            <p:cNvSpPr/>
            <p:nvPr/>
          </p:nvSpPr>
          <p:spPr>
            <a:xfrm>
              <a:off x="916526" y="6213873"/>
              <a:ext cx="3179928" cy="627797"/>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4" name="Rectángulo redondeado 14">
              <a:extLst>
                <a:ext uri="{FF2B5EF4-FFF2-40B4-BE49-F238E27FC236}">
                  <a16:creationId xmlns:a16="http://schemas.microsoft.com/office/drawing/2014/main" id="{EE274F56-E6EF-8753-0D46-6D1301DB98CF}"/>
                </a:ext>
              </a:extLst>
            </p:cNvPr>
            <p:cNvSpPr/>
            <p:nvPr/>
          </p:nvSpPr>
          <p:spPr>
            <a:xfrm>
              <a:off x="3191803" y="3526382"/>
              <a:ext cx="5727031" cy="2931085"/>
            </a:xfrm>
            <a:prstGeom prst="roundRect">
              <a:avLst>
                <a:gd name="adj" fmla="val 0"/>
              </a:avLst>
            </a:prstGeom>
            <a:solidFill>
              <a:srgbClr val="DEEDF1">
                <a:alpha val="50196"/>
              </a:srgbClr>
            </a:solidFill>
            <a:ln w="19050" cap="flat" cmpd="sng" algn="ctr">
              <a:solidFill>
                <a:srgbClr val="0579CC"/>
              </a:solid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500" b="1" i="0" u="none" strike="noStrike" kern="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15" name="Rectángulo 114">
              <a:extLst>
                <a:ext uri="{FF2B5EF4-FFF2-40B4-BE49-F238E27FC236}">
                  <a16:creationId xmlns:a16="http://schemas.microsoft.com/office/drawing/2014/main" id="{B13689D7-44BD-8BDC-719F-C7624A919FA7}"/>
                </a:ext>
              </a:extLst>
            </p:cNvPr>
            <p:cNvSpPr/>
            <p:nvPr/>
          </p:nvSpPr>
          <p:spPr>
            <a:xfrm>
              <a:off x="3191802" y="2594216"/>
              <a:ext cx="5727032" cy="775384"/>
            </a:xfrm>
            <a:prstGeom prst="rect">
              <a:avLst/>
            </a:prstGeom>
            <a:solidFill>
              <a:srgbClr val="DEEDF1"/>
            </a:solidFill>
            <a:ln w="12700" cap="flat" cmpd="sng" algn="ctr">
              <a:solidFill>
                <a:srgbClr val="0579CC"/>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6" name="Rectángulo 115">
              <a:extLst>
                <a:ext uri="{FF2B5EF4-FFF2-40B4-BE49-F238E27FC236}">
                  <a16:creationId xmlns:a16="http://schemas.microsoft.com/office/drawing/2014/main" id="{85DDFDA8-A859-6F5F-A3BA-D7F1E0CF0FB7}"/>
                </a:ext>
              </a:extLst>
            </p:cNvPr>
            <p:cNvSpPr/>
            <p:nvPr/>
          </p:nvSpPr>
          <p:spPr>
            <a:xfrm>
              <a:off x="3165864" y="1192438"/>
              <a:ext cx="5752970" cy="1277242"/>
            </a:xfrm>
            <a:prstGeom prst="rect">
              <a:avLst/>
            </a:prstGeom>
            <a:solidFill>
              <a:srgbClr val="DEEDF1"/>
            </a:solidFill>
            <a:ln w="12700" cap="flat" cmpd="sng" algn="ctr">
              <a:solidFill>
                <a:srgbClr val="0579CC"/>
              </a:solid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7" name="Rectángulo 116">
              <a:extLst>
                <a:ext uri="{FF2B5EF4-FFF2-40B4-BE49-F238E27FC236}">
                  <a16:creationId xmlns:a16="http://schemas.microsoft.com/office/drawing/2014/main" id="{716EDAEF-0595-0FE1-8700-66268E83B622}"/>
                </a:ext>
              </a:extLst>
            </p:cNvPr>
            <p:cNvSpPr/>
            <p:nvPr/>
          </p:nvSpPr>
          <p:spPr>
            <a:xfrm>
              <a:off x="9112442" y="1192439"/>
              <a:ext cx="2160000" cy="2177162"/>
            </a:xfrm>
            <a:prstGeom prst="rect">
              <a:avLst/>
            </a:prstGeom>
            <a:solidFill>
              <a:srgbClr val="DEEDF1"/>
            </a:solidFill>
            <a:ln w="12700" cap="flat" cmpd="sng" algn="ctr">
              <a:solidFill>
                <a:srgbClr val="0579CC"/>
              </a:solid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18" name="Rectángulo redondeado 18">
              <a:extLst>
                <a:ext uri="{FF2B5EF4-FFF2-40B4-BE49-F238E27FC236}">
                  <a16:creationId xmlns:a16="http://schemas.microsoft.com/office/drawing/2014/main" id="{7950086C-CC52-BBFC-27E2-7581CC11223A}"/>
                </a:ext>
              </a:extLst>
            </p:cNvPr>
            <p:cNvSpPr/>
            <p:nvPr/>
          </p:nvSpPr>
          <p:spPr>
            <a:xfrm>
              <a:off x="3846239" y="3862325"/>
              <a:ext cx="4551687" cy="583276"/>
            </a:xfrm>
            <a:prstGeom prst="roundRect">
              <a:avLst>
                <a:gd name="adj" fmla="val 8077"/>
              </a:avLst>
            </a:prstGeom>
            <a:solidFill>
              <a:srgbClr val="203864"/>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19" name="Freeform 477">
              <a:extLst>
                <a:ext uri="{FF2B5EF4-FFF2-40B4-BE49-F238E27FC236}">
                  <a16:creationId xmlns:a16="http://schemas.microsoft.com/office/drawing/2014/main" id="{DE171AC7-7577-863C-D0E3-57B8671C3D38}"/>
                </a:ext>
              </a:extLst>
            </p:cNvPr>
            <p:cNvSpPr/>
            <p:nvPr/>
          </p:nvSpPr>
          <p:spPr>
            <a:xfrm>
              <a:off x="5275573" y="3952384"/>
              <a:ext cx="324000" cy="396000"/>
            </a:xfrm>
            <a:custGeom>
              <a:avLst/>
              <a:gdLst>
                <a:gd name="connsiteX0" fmla="*/ 117191 w 432706"/>
                <a:gd name="connsiteY0" fmla="*/ 360589 h 504825"/>
                <a:gd name="connsiteX1" fmla="*/ 315515 w 432706"/>
                <a:gd name="connsiteY1" fmla="*/ 360589 h 504825"/>
                <a:gd name="connsiteX2" fmla="*/ 321994 w 432706"/>
                <a:gd name="connsiteY2" fmla="*/ 363125 h 504825"/>
                <a:gd name="connsiteX3" fmla="*/ 324530 w 432706"/>
                <a:gd name="connsiteY3" fmla="*/ 369604 h 504825"/>
                <a:gd name="connsiteX4" fmla="*/ 324530 w 432706"/>
                <a:gd name="connsiteY4" fmla="*/ 387634 h 504825"/>
                <a:gd name="connsiteX5" fmla="*/ 321994 w 432706"/>
                <a:gd name="connsiteY5" fmla="*/ 394113 h 504825"/>
                <a:gd name="connsiteX6" fmla="*/ 315515 w 432706"/>
                <a:gd name="connsiteY6" fmla="*/ 396648 h 504825"/>
                <a:gd name="connsiteX7" fmla="*/ 117191 w 432706"/>
                <a:gd name="connsiteY7" fmla="*/ 396648 h 504825"/>
                <a:gd name="connsiteX8" fmla="*/ 110712 w 432706"/>
                <a:gd name="connsiteY8" fmla="*/ 394113 h 504825"/>
                <a:gd name="connsiteX9" fmla="*/ 108176 w 432706"/>
                <a:gd name="connsiteY9" fmla="*/ 387634 h 504825"/>
                <a:gd name="connsiteX10" fmla="*/ 108176 w 432706"/>
                <a:gd name="connsiteY10" fmla="*/ 369604 h 504825"/>
                <a:gd name="connsiteX11" fmla="*/ 110712 w 432706"/>
                <a:gd name="connsiteY11" fmla="*/ 363125 h 504825"/>
                <a:gd name="connsiteX12" fmla="*/ 117191 w 432706"/>
                <a:gd name="connsiteY12" fmla="*/ 360589 h 504825"/>
                <a:gd name="connsiteX13" fmla="*/ 117191 w 432706"/>
                <a:gd name="connsiteY13" fmla="*/ 288471 h 504825"/>
                <a:gd name="connsiteX14" fmla="*/ 315515 w 432706"/>
                <a:gd name="connsiteY14" fmla="*/ 288471 h 504825"/>
                <a:gd name="connsiteX15" fmla="*/ 321994 w 432706"/>
                <a:gd name="connsiteY15" fmla="*/ 291007 h 504825"/>
                <a:gd name="connsiteX16" fmla="*/ 324530 w 432706"/>
                <a:gd name="connsiteY16" fmla="*/ 297486 h 504825"/>
                <a:gd name="connsiteX17" fmla="*/ 324530 w 432706"/>
                <a:gd name="connsiteY17" fmla="*/ 315516 h 504825"/>
                <a:gd name="connsiteX18" fmla="*/ 321994 w 432706"/>
                <a:gd name="connsiteY18" fmla="*/ 321995 h 504825"/>
                <a:gd name="connsiteX19" fmla="*/ 315515 w 432706"/>
                <a:gd name="connsiteY19" fmla="*/ 324530 h 504825"/>
                <a:gd name="connsiteX20" fmla="*/ 117191 w 432706"/>
                <a:gd name="connsiteY20" fmla="*/ 324530 h 504825"/>
                <a:gd name="connsiteX21" fmla="*/ 110712 w 432706"/>
                <a:gd name="connsiteY21" fmla="*/ 321995 h 504825"/>
                <a:gd name="connsiteX22" fmla="*/ 108176 w 432706"/>
                <a:gd name="connsiteY22" fmla="*/ 315516 h 504825"/>
                <a:gd name="connsiteX23" fmla="*/ 108176 w 432706"/>
                <a:gd name="connsiteY23" fmla="*/ 297486 h 504825"/>
                <a:gd name="connsiteX24" fmla="*/ 110712 w 432706"/>
                <a:gd name="connsiteY24" fmla="*/ 291007 h 504825"/>
                <a:gd name="connsiteX25" fmla="*/ 117191 w 432706"/>
                <a:gd name="connsiteY25" fmla="*/ 288471 h 504825"/>
                <a:gd name="connsiteX26" fmla="*/ 117191 w 432706"/>
                <a:gd name="connsiteY26" fmla="*/ 216353 h 504825"/>
                <a:gd name="connsiteX27" fmla="*/ 315515 w 432706"/>
                <a:gd name="connsiteY27" fmla="*/ 216353 h 504825"/>
                <a:gd name="connsiteX28" fmla="*/ 321994 w 432706"/>
                <a:gd name="connsiteY28" fmla="*/ 218888 h 504825"/>
                <a:gd name="connsiteX29" fmla="*/ 324530 w 432706"/>
                <a:gd name="connsiteY29" fmla="*/ 225367 h 504825"/>
                <a:gd name="connsiteX30" fmla="*/ 324530 w 432706"/>
                <a:gd name="connsiteY30" fmla="*/ 243397 h 504825"/>
                <a:gd name="connsiteX31" fmla="*/ 321994 w 432706"/>
                <a:gd name="connsiteY31" fmla="*/ 249876 h 504825"/>
                <a:gd name="connsiteX32" fmla="*/ 315515 w 432706"/>
                <a:gd name="connsiteY32" fmla="*/ 252411 h 504825"/>
                <a:gd name="connsiteX33" fmla="*/ 117191 w 432706"/>
                <a:gd name="connsiteY33" fmla="*/ 252411 h 504825"/>
                <a:gd name="connsiteX34" fmla="*/ 110712 w 432706"/>
                <a:gd name="connsiteY34" fmla="*/ 249876 h 504825"/>
                <a:gd name="connsiteX35" fmla="*/ 108176 w 432706"/>
                <a:gd name="connsiteY35" fmla="*/ 243397 h 504825"/>
                <a:gd name="connsiteX36" fmla="*/ 108176 w 432706"/>
                <a:gd name="connsiteY36" fmla="*/ 225367 h 504825"/>
                <a:gd name="connsiteX37" fmla="*/ 110712 w 432706"/>
                <a:gd name="connsiteY37" fmla="*/ 218888 h 504825"/>
                <a:gd name="connsiteX38" fmla="*/ 117191 w 432706"/>
                <a:gd name="connsiteY38" fmla="*/ 216353 h 504825"/>
                <a:gd name="connsiteX39" fmla="*/ 288471 w 432706"/>
                <a:gd name="connsiteY39" fmla="*/ 38312 h 504825"/>
                <a:gd name="connsiteX40" fmla="*/ 288471 w 432706"/>
                <a:gd name="connsiteY40" fmla="*/ 144236 h 504825"/>
                <a:gd name="connsiteX41" fmla="*/ 394394 w 432706"/>
                <a:gd name="connsiteY41" fmla="*/ 144236 h 504825"/>
                <a:gd name="connsiteX42" fmla="*/ 388196 w 432706"/>
                <a:gd name="connsiteY42" fmla="*/ 132685 h 504825"/>
                <a:gd name="connsiteX43" fmla="*/ 300021 w 432706"/>
                <a:gd name="connsiteY43" fmla="*/ 44510 h 504825"/>
                <a:gd name="connsiteX44" fmla="*/ 288471 w 432706"/>
                <a:gd name="connsiteY44" fmla="*/ 38312 h 504825"/>
                <a:gd name="connsiteX45" fmla="*/ 36059 w 432706"/>
                <a:gd name="connsiteY45" fmla="*/ 36059 h 504825"/>
                <a:gd name="connsiteX46" fmla="*/ 36059 w 432706"/>
                <a:gd name="connsiteY46" fmla="*/ 468766 h 504825"/>
                <a:gd name="connsiteX47" fmla="*/ 396648 w 432706"/>
                <a:gd name="connsiteY47" fmla="*/ 468766 h 504825"/>
                <a:gd name="connsiteX48" fmla="*/ 396648 w 432706"/>
                <a:gd name="connsiteY48" fmla="*/ 180295 h 504825"/>
                <a:gd name="connsiteX49" fmla="*/ 279456 w 432706"/>
                <a:gd name="connsiteY49" fmla="*/ 180295 h 504825"/>
                <a:gd name="connsiteX50" fmla="*/ 260300 w 432706"/>
                <a:gd name="connsiteY50" fmla="*/ 172407 h 504825"/>
                <a:gd name="connsiteX51" fmla="*/ 252412 w 432706"/>
                <a:gd name="connsiteY51" fmla="*/ 153251 h 504825"/>
                <a:gd name="connsiteX52" fmla="*/ 252412 w 432706"/>
                <a:gd name="connsiteY52" fmla="*/ 36059 h 504825"/>
                <a:gd name="connsiteX53" fmla="*/ 27044 w 432706"/>
                <a:gd name="connsiteY53" fmla="*/ 0 h 504825"/>
                <a:gd name="connsiteX54" fmla="*/ 279456 w 432706"/>
                <a:gd name="connsiteY54" fmla="*/ 0 h 504825"/>
                <a:gd name="connsiteX55" fmla="*/ 304246 w 432706"/>
                <a:gd name="connsiteY55" fmla="*/ 5634 h 504825"/>
                <a:gd name="connsiteX56" fmla="*/ 325656 w 432706"/>
                <a:gd name="connsiteY56" fmla="*/ 19156 h 504825"/>
                <a:gd name="connsiteX57" fmla="*/ 413550 w 432706"/>
                <a:gd name="connsiteY57" fmla="*/ 107050 h 504825"/>
                <a:gd name="connsiteX58" fmla="*/ 427073 w 432706"/>
                <a:gd name="connsiteY58" fmla="*/ 128460 h 504825"/>
                <a:gd name="connsiteX59" fmla="*/ 432706 w 432706"/>
                <a:gd name="connsiteY59" fmla="*/ 153251 h 504825"/>
                <a:gd name="connsiteX60" fmla="*/ 432706 w 432706"/>
                <a:gd name="connsiteY60" fmla="*/ 477781 h 504825"/>
                <a:gd name="connsiteX61" fmla="*/ 424818 w 432706"/>
                <a:gd name="connsiteY61" fmla="*/ 496937 h 504825"/>
                <a:gd name="connsiteX62" fmla="*/ 405662 w 432706"/>
                <a:gd name="connsiteY62" fmla="*/ 504825 h 504825"/>
                <a:gd name="connsiteX63" fmla="*/ 27044 w 432706"/>
                <a:gd name="connsiteY63" fmla="*/ 504825 h 504825"/>
                <a:gd name="connsiteX64" fmla="*/ 7888 w 432706"/>
                <a:gd name="connsiteY64" fmla="*/ 496937 h 504825"/>
                <a:gd name="connsiteX65" fmla="*/ 0 w 432706"/>
                <a:gd name="connsiteY65" fmla="*/ 477781 h 504825"/>
                <a:gd name="connsiteX66" fmla="*/ 0 w 432706"/>
                <a:gd name="connsiteY66" fmla="*/ 27044 h 504825"/>
                <a:gd name="connsiteX67" fmla="*/ 7888 w 432706"/>
                <a:gd name="connsiteY67" fmla="*/ 7888 h 504825"/>
                <a:gd name="connsiteX68" fmla="*/ 27044 w 432706"/>
                <a:gd name="connsiteY68" fmla="*/ 0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32706" h="504825">
                  <a:moveTo>
                    <a:pt x="117191" y="360589"/>
                  </a:moveTo>
                  <a:lnTo>
                    <a:pt x="315515" y="360589"/>
                  </a:lnTo>
                  <a:cubicBezTo>
                    <a:pt x="318144" y="360589"/>
                    <a:pt x="320304" y="361434"/>
                    <a:pt x="321994" y="363125"/>
                  </a:cubicBezTo>
                  <a:cubicBezTo>
                    <a:pt x="323684" y="364815"/>
                    <a:pt x="324530" y="366975"/>
                    <a:pt x="324530" y="369604"/>
                  </a:cubicBezTo>
                  <a:lnTo>
                    <a:pt x="324530" y="387634"/>
                  </a:lnTo>
                  <a:cubicBezTo>
                    <a:pt x="324530" y="390263"/>
                    <a:pt x="323684" y="392423"/>
                    <a:pt x="321994" y="394113"/>
                  </a:cubicBezTo>
                  <a:cubicBezTo>
                    <a:pt x="320304" y="395803"/>
                    <a:pt x="318144" y="396648"/>
                    <a:pt x="315515" y="396648"/>
                  </a:cubicBezTo>
                  <a:lnTo>
                    <a:pt x="117191" y="396648"/>
                  </a:lnTo>
                  <a:cubicBezTo>
                    <a:pt x="114562" y="396648"/>
                    <a:pt x="112402" y="395803"/>
                    <a:pt x="110712" y="394113"/>
                  </a:cubicBezTo>
                  <a:cubicBezTo>
                    <a:pt x="109021" y="392423"/>
                    <a:pt x="108176" y="390263"/>
                    <a:pt x="108176" y="387634"/>
                  </a:cubicBezTo>
                  <a:lnTo>
                    <a:pt x="108176" y="369604"/>
                  </a:lnTo>
                  <a:cubicBezTo>
                    <a:pt x="108176" y="366975"/>
                    <a:pt x="109021" y="364815"/>
                    <a:pt x="110712" y="363125"/>
                  </a:cubicBezTo>
                  <a:cubicBezTo>
                    <a:pt x="112402" y="361434"/>
                    <a:pt x="114562" y="360589"/>
                    <a:pt x="117191" y="360589"/>
                  </a:cubicBezTo>
                  <a:close/>
                  <a:moveTo>
                    <a:pt x="117191" y="288471"/>
                  </a:moveTo>
                  <a:lnTo>
                    <a:pt x="315515" y="288471"/>
                  </a:lnTo>
                  <a:cubicBezTo>
                    <a:pt x="318144" y="288471"/>
                    <a:pt x="320304" y="289317"/>
                    <a:pt x="321994" y="291007"/>
                  </a:cubicBezTo>
                  <a:cubicBezTo>
                    <a:pt x="323684" y="292697"/>
                    <a:pt x="324530" y="294857"/>
                    <a:pt x="324530" y="297486"/>
                  </a:cubicBezTo>
                  <a:lnTo>
                    <a:pt x="324530" y="315516"/>
                  </a:lnTo>
                  <a:cubicBezTo>
                    <a:pt x="324530" y="318145"/>
                    <a:pt x="323684" y="320305"/>
                    <a:pt x="321994" y="321995"/>
                  </a:cubicBezTo>
                  <a:cubicBezTo>
                    <a:pt x="320304" y="323685"/>
                    <a:pt x="318144" y="324530"/>
                    <a:pt x="315515" y="324530"/>
                  </a:cubicBezTo>
                  <a:lnTo>
                    <a:pt x="117191" y="324530"/>
                  </a:lnTo>
                  <a:cubicBezTo>
                    <a:pt x="114562" y="324530"/>
                    <a:pt x="112402" y="323685"/>
                    <a:pt x="110712" y="321995"/>
                  </a:cubicBezTo>
                  <a:cubicBezTo>
                    <a:pt x="109021" y="320305"/>
                    <a:pt x="108176" y="318145"/>
                    <a:pt x="108176" y="315516"/>
                  </a:cubicBezTo>
                  <a:lnTo>
                    <a:pt x="108176" y="297486"/>
                  </a:lnTo>
                  <a:cubicBezTo>
                    <a:pt x="108176" y="294857"/>
                    <a:pt x="109021" y="292697"/>
                    <a:pt x="110712" y="291007"/>
                  </a:cubicBezTo>
                  <a:cubicBezTo>
                    <a:pt x="112402" y="289317"/>
                    <a:pt x="114562" y="288471"/>
                    <a:pt x="117191" y="288471"/>
                  </a:cubicBezTo>
                  <a:close/>
                  <a:moveTo>
                    <a:pt x="117191" y="216353"/>
                  </a:moveTo>
                  <a:lnTo>
                    <a:pt x="315515" y="216353"/>
                  </a:lnTo>
                  <a:cubicBezTo>
                    <a:pt x="318144" y="216353"/>
                    <a:pt x="320304" y="217198"/>
                    <a:pt x="321994" y="218888"/>
                  </a:cubicBezTo>
                  <a:cubicBezTo>
                    <a:pt x="323684" y="220578"/>
                    <a:pt x="324530" y="222738"/>
                    <a:pt x="324530" y="225367"/>
                  </a:cubicBezTo>
                  <a:lnTo>
                    <a:pt x="324530" y="243397"/>
                  </a:lnTo>
                  <a:cubicBezTo>
                    <a:pt x="324530" y="246026"/>
                    <a:pt x="323684" y="248186"/>
                    <a:pt x="321994" y="249876"/>
                  </a:cubicBezTo>
                  <a:cubicBezTo>
                    <a:pt x="320304" y="251566"/>
                    <a:pt x="318144" y="252411"/>
                    <a:pt x="315515" y="252411"/>
                  </a:cubicBezTo>
                  <a:lnTo>
                    <a:pt x="117191" y="252411"/>
                  </a:lnTo>
                  <a:cubicBezTo>
                    <a:pt x="114562" y="252411"/>
                    <a:pt x="112402" y="251566"/>
                    <a:pt x="110712" y="249876"/>
                  </a:cubicBezTo>
                  <a:cubicBezTo>
                    <a:pt x="109021" y="248186"/>
                    <a:pt x="108176" y="246026"/>
                    <a:pt x="108176" y="243397"/>
                  </a:cubicBezTo>
                  <a:lnTo>
                    <a:pt x="108176" y="225367"/>
                  </a:lnTo>
                  <a:cubicBezTo>
                    <a:pt x="108176" y="222738"/>
                    <a:pt x="109021" y="220578"/>
                    <a:pt x="110712" y="218888"/>
                  </a:cubicBezTo>
                  <a:cubicBezTo>
                    <a:pt x="112402" y="217198"/>
                    <a:pt x="114562" y="216353"/>
                    <a:pt x="117191" y="216353"/>
                  </a:cubicBezTo>
                  <a:close/>
                  <a:moveTo>
                    <a:pt x="288471" y="38312"/>
                  </a:moveTo>
                  <a:lnTo>
                    <a:pt x="288471" y="144236"/>
                  </a:lnTo>
                  <a:lnTo>
                    <a:pt x="394394" y="144236"/>
                  </a:lnTo>
                  <a:cubicBezTo>
                    <a:pt x="392516" y="138789"/>
                    <a:pt x="390450" y="134939"/>
                    <a:pt x="388196" y="132685"/>
                  </a:cubicBezTo>
                  <a:lnTo>
                    <a:pt x="300021" y="44510"/>
                  </a:lnTo>
                  <a:cubicBezTo>
                    <a:pt x="297767" y="42256"/>
                    <a:pt x="293917" y="40191"/>
                    <a:pt x="288471" y="38312"/>
                  </a:cubicBezTo>
                  <a:close/>
                  <a:moveTo>
                    <a:pt x="36059" y="36059"/>
                  </a:moveTo>
                  <a:lnTo>
                    <a:pt x="36059" y="468766"/>
                  </a:lnTo>
                  <a:lnTo>
                    <a:pt x="396648" y="468766"/>
                  </a:lnTo>
                  <a:lnTo>
                    <a:pt x="396648" y="180295"/>
                  </a:lnTo>
                  <a:lnTo>
                    <a:pt x="279456" y="180295"/>
                  </a:lnTo>
                  <a:cubicBezTo>
                    <a:pt x="271944" y="180295"/>
                    <a:pt x="265558" y="177665"/>
                    <a:pt x="260300" y="172407"/>
                  </a:cubicBezTo>
                  <a:cubicBezTo>
                    <a:pt x="255041" y="167148"/>
                    <a:pt x="252412" y="160763"/>
                    <a:pt x="252412" y="153251"/>
                  </a:cubicBezTo>
                  <a:lnTo>
                    <a:pt x="252412" y="36059"/>
                  </a:lnTo>
                  <a:close/>
                  <a:moveTo>
                    <a:pt x="27044" y="0"/>
                  </a:moveTo>
                  <a:lnTo>
                    <a:pt x="279456" y="0"/>
                  </a:lnTo>
                  <a:cubicBezTo>
                    <a:pt x="286968" y="0"/>
                    <a:pt x="295232" y="1878"/>
                    <a:pt x="304246" y="5634"/>
                  </a:cubicBezTo>
                  <a:cubicBezTo>
                    <a:pt x="313261" y="9390"/>
                    <a:pt x="320398" y="13898"/>
                    <a:pt x="325656" y="19156"/>
                  </a:cubicBezTo>
                  <a:lnTo>
                    <a:pt x="413550" y="107050"/>
                  </a:lnTo>
                  <a:cubicBezTo>
                    <a:pt x="418809" y="112309"/>
                    <a:pt x="423316" y="119445"/>
                    <a:pt x="427073" y="128460"/>
                  </a:cubicBezTo>
                  <a:cubicBezTo>
                    <a:pt x="430828" y="137475"/>
                    <a:pt x="432706" y="145738"/>
                    <a:pt x="432706" y="153251"/>
                  </a:cubicBezTo>
                  <a:lnTo>
                    <a:pt x="432706" y="477781"/>
                  </a:lnTo>
                  <a:cubicBezTo>
                    <a:pt x="432706" y="485293"/>
                    <a:pt x="430077" y="491679"/>
                    <a:pt x="424818" y="496937"/>
                  </a:cubicBezTo>
                  <a:cubicBezTo>
                    <a:pt x="419560" y="502196"/>
                    <a:pt x="413175" y="504825"/>
                    <a:pt x="405662" y="504825"/>
                  </a:cubicBezTo>
                  <a:lnTo>
                    <a:pt x="27044" y="504825"/>
                  </a:lnTo>
                  <a:cubicBezTo>
                    <a:pt x="19531" y="504825"/>
                    <a:pt x="13146" y="502196"/>
                    <a:pt x="7888" y="496937"/>
                  </a:cubicBezTo>
                  <a:cubicBezTo>
                    <a:pt x="2629" y="491679"/>
                    <a:pt x="0" y="485293"/>
                    <a:pt x="0" y="477781"/>
                  </a:cubicBezTo>
                  <a:lnTo>
                    <a:pt x="0" y="27044"/>
                  </a:lnTo>
                  <a:cubicBezTo>
                    <a:pt x="0" y="19532"/>
                    <a:pt x="2629" y="13147"/>
                    <a:pt x="7888" y="7888"/>
                  </a:cubicBezTo>
                  <a:cubicBezTo>
                    <a:pt x="13146" y="2629"/>
                    <a:pt x="19531" y="0"/>
                    <a:pt x="27044" y="0"/>
                  </a:cubicBezTo>
                  <a:close/>
                </a:path>
              </a:pathLst>
            </a:custGeom>
            <a:solidFill>
              <a:schemeClr val="bg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20" name="CuadroTexto 119">
              <a:extLst>
                <a:ext uri="{FF2B5EF4-FFF2-40B4-BE49-F238E27FC236}">
                  <a16:creationId xmlns:a16="http://schemas.microsoft.com/office/drawing/2014/main" id="{3FADEA35-1F09-1133-67BC-5C7CEFDD0652}"/>
                </a:ext>
              </a:extLst>
            </p:cNvPr>
            <p:cNvSpPr txBox="1"/>
            <p:nvPr/>
          </p:nvSpPr>
          <p:spPr>
            <a:xfrm>
              <a:off x="5736983" y="3996495"/>
              <a:ext cx="1480790"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bg1"/>
                  </a:solidFill>
                  <a:effectLst/>
                  <a:uLnTx/>
                  <a:uFillTx/>
                  <a:latin typeface="Calibri" panose="020F0502020204030204"/>
                </a:rPr>
                <a:t>Script de pruebas</a:t>
              </a:r>
              <a:endParaRPr kumimoji="0" lang="es-ES" sz="1400" b="0" i="0" u="none" strike="noStrike" kern="0" cap="none" spc="0" normalizeH="0" baseline="0" noProof="0">
                <a:ln>
                  <a:noFill/>
                </a:ln>
                <a:solidFill>
                  <a:schemeClr val="bg1"/>
                </a:solidFill>
                <a:effectLst/>
                <a:uLnTx/>
                <a:uFillTx/>
                <a:latin typeface="Calibri" panose="020F0502020204030204"/>
              </a:endParaRPr>
            </a:p>
          </p:txBody>
        </p:sp>
        <p:sp>
          <p:nvSpPr>
            <p:cNvPr id="123" name="Rectángulo redondeado 23">
              <a:extLst>
                <a:ext uri="{FF2B5EF4-FFF2-40B4-BE49-F238E27FC236}">
                  <a16:creationId xmlns:a16="http://schemas.microsoft.com/office/drawing/2014/main" id="{09C91A7A-E7D1-2901-1881-CC05E9E7FA20}"/>
                </a:ext>
              </a:extLst>
            </p:cNvPr>
            <p:cNvSpPr/>
            <p:nvPr/>
          </p:nvSpPr>
          <p:spPr>
            <a:xfrm>
              <a:off x="3840547" y="4620005"/>
              <a:ext cx="2167762" cy="946555"/>
            </a:xfrm>
            <a:prstGeom prst="roundRect">
              <a:avLst>
                <a:gd name="adj" fmla="val 7404"/>
              </a:avLst>
            </a:prstGeom>
            <a:solidFill>
              <a:srgbClr val="203864"/>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24" name="CuadroTexto 123">
              <a:extLst>
                <a:ext uri="{FF2B5EF4-FFF2-40B4-BE49-F238E27FC236}">
                  <a16:creationId xmlns:a16="http://schemas.microsoft.com/office/drawing/2014/main" id="{2B88871C-8026-DEC2-F3DA-3DFA01B780B7}"/>
                </a:ext>
              </a:extLst>
            </p:cNvPr>
            <p:cNvSpPr txBox="1"/>
            <p:nvPr/>
          </p:nvSpPr>
          <p:spPr>
            <a:xfrm>
              <a:off x="4493158" y="5258783"/>
              <a:ext cx="82747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bg1"/>
                  </a:solidFill>
                  <a:effectLst/>
                  <a:uLnTx/>
                  <a:uFillTx/>
                  <a:latin typeface="Calibri" panose="020F0502020204030204"/>
                </a:rPr>
                <a:t>Modular</a:t>
              </a:r>
              <a:endParaRPr kumimoji="0" lang="es-ES" sz="1400" b="0" i="0" u="none" strike="noStrike" kern="0" cap="none" spc="0" normalizeH="0" baseline="0" noProof="0">
                <a:ln>
                  <a:noFill/>
                </a:ln>
                <a:solidFill>
                  <a:schemeClr val="bg1"/>
                </a:solidFill>
                <a:effectLst/>
                <a:uLnTx/>
                <a:uFillTx/>
                <a:latin typeface="Calibri" panose="020F0502020204030204"/>
              </a:endParaRPr>
            </a:p>
          </p:txBody>
        </p:sp>
        <p:sp>
          <p:nvSpPr>
            <p:cNvPr id="125" name="Rectángulo redondeado 25">
              <a:extLst>
                <a:ext uri="{FF2B5EF4-FFF2-40B4-BE49-F238E27FC236}">
                  <a16:creationId xmlns:a16="http://schemas.microsoft.com/office/drawing/2014/main" id="{DB3EE3C6-F439-66A3-0AA3-10439D9674A2}"/>
                </a:ext>
              </a:extLst>
            </p:cNvPr>
            <p:cNvSpPr/>
            <p:nvPr/>
          </p:nvSpPr>
          <p:spPr>
            <a:xfrm>
              <a:off x="4636894" y="4697680"/>
              <a:ext cx="540000" cy="540000"/>
            </a:xfrm>
            <a:prstGeom prst="roundRect">
              <a:avLst/>
            </a:prstGeom>
            <a:solidFill>
              <a:schemeClr val="bg1"/>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pic>
          <p:nvPicPr>
            <p:cNvPr id="126" name="Picture 2" descr="Resultado de imagen para pieza de rompecabezas png">
              <a:extLst>
                <a:ext uri="{FF2B5EF4-FFF2-40B4-BE49-F238E27FC236}">
                  <a16:creationId xmlns:a16="http://schemas.microsoft.com/office/drawing/2014/main" id="{4EED2825-75EB-4955-1DEF-41BD8426414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60173" y="4778269"/>
              <a:ext cx="360000" cy="360000"/>
            </a:xfrm>
            <a:prstGeom prst="rect">
              <a:avLst/>
            </a:prstGeom>
            <a:solidFill>
              <a:schemeClr val="bg1"/>
            </a:solidFill>
          </p:spPr>
        </p:pic>
        <p:sp>
          <p:nvSpPr>
            <p:cNvPr id="127" name="Rectángulo redondeado 27">
              <a:extLst>
                <a:ext uri="{FF2B5EF4-FFF2-40B4-BE49-F238E27FC236}">
                  <a16:creationId xmlns:a16="http://schemas.microsoft.com/office/drawing/2014/main" id="{0E5A537E-3774-BCC6-AAF0-1AA43C9B528C}"/>
                </a:ext>
              </a:extLst>
            </p:cNvPr>
            <p:cNvSpPr/>
            <p:nvPr/>
          </p:nvSpPr>
          <p:spPr>
            <a:xfrm>
              <a:off x="5280272" y="4697680"/>
              <a:ext cx="540000" cy="540000"/>
            </a:xfrm>
            <a:prstGeom prst="roundRect">
              <a:avLst/>
            </a:prstGeom>
            <a:solidFill>
              <a:schemeClr val="bg1"/>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pic>
          <p:nvPicPr>
            <p:cNvPr id="128" name="Picture 2" descr="Resultado de imagen para pieza de rompecabezas png">
              <a:extLst>
                <a:ext uri="{FF2B5EF4-FFF2-40B4-BE49-F238E27FC236}">
                  <a16:creationId xmlns:a16="http://schemas.microsoft.com/office/drawing/2014/main" id="{2F271CFA-0E14-7429-7043-B2B464E06BC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03551" y="4778269"/>
              <a:ext cx="360000" cy="360000"/>
            </a:xfrm>
            <a:prstGeom prst="rect">
              <a:avLst/>
            </a:prstGeom>
            <a:solidFill>
              <a:schemeClr val="bg1"/>
            </a:solidFill>
          </p:spPr>
        </p:pic>
        <p:sp>
          <p:nvSpPr>
            <p:cNvPr id="129" name="Rectángulo redondeado 29">
              <a:extLst>
                <a:ext uri="{FF2B5EF4-FFF2-40B4-BE49-F238E27FC236}">
                  <a16:creationId xmlns:a16="http://schemas.microsoft.com/office/drawing/2014/main" id="{09D939E0-C298-69C2-5F29-C71632281946}"/>
                </a:ext>
              </a:extLst>
            </p:cNvPr>
            <p:cNvSpPr/>
            <p:nvPr/>
          </p:nvSpPr>
          <p:spPr>
            <a:xfrm>
              <a:off x="3846240" y="5740964"/>
              <a:ext cx="2173936" cy="583276"/>
            </a:xfrm>
            <a:prstGeom prst="roundRect">
              <a:avLst>
                <a:gd name="adj" fmla="val 12372"/>
              </a:avLst>
            </a:prstGeom>
            <a:solidFill>
              <a:srgbClr val="203864"/>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30" name="CuadroTexto 129">
              <a:extLst>
                <a:ext uri="{FF2B5EF4-FFF2-40B4-BE49-F238E27FC236}">
                  <a16:creationId xmlns:a16="http://schemas.microsoft.com/office/drawing/2014/main" id="{B4C63FFD-2348-BD7B-0C1B-94F3394272B2}"/>
                </a:ext>
              </a:extLst>
            </p:cNvPr>
            <p:cNvSpPr txBox="1"/>
            <p:nvPr/>
          </p:nvSpPr>
          <p:spPr>
            <a:xfrm>
              <a:off x="4496056" y="5875135"/>
              <a:ext cx="1553246"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bg1"/>
                  </a:solidFill>
                  <a:effectLst/>
                  <a:uLnTx/>
                  <a:uFillTx/>
                  <a:latin typeface="Calibri" panose="020F0502020204030204"/>
                </a:rPr>
                <a:t>Librerías Comunes</a:t>
              </a:r>
              <a:endParaRPr kumimoji="0" lang="es-ES" sz="1400" b="0" i="0" u="none" strike="noStrike" kern="0" cap="none" spc="0" normalizeH="0" baseline="0" noProof="0">
                <a:ln>
                  <a:noFill/>
                </a:ln>
                <a:solidFill>
                  <a:schemeClr val="bg1"/>
                </a:solidFill>
                <a:effectLst/>
                <a:uLnTx/>
                <a:uFillTx/>
                <a:latin typeface="Calibri" panose="020F0502020204030204"/>
              </a:endParaRPr>
            </a:p>
          </p:txBody>
        </p:sp>
        <p:sp>
          <p:nvSpPr>
            <p:cNvPr id="131" name="Freeform 509">
              <a:extLst>
                <a:ext uri="{FF2B5EF4-FFF2-40B4-BE49-F238E27FC236}">
                  <a16:creationId xmlns:a16="http://schemas.microsoft.com/office/drawing/2014/main" id="{F9E33C8D-EF49-CB5E-DBEF-DC35F100F338}"/>
                </a:ext>
              </a:extLst>
            </p:cNvPr>
            <p:cNvSpPr/>
            <p:nvPr/>
          </p:nvSpPr>
          <p:spPr>
            <a:xfrm>
              <a:off x="3989378" y="5841098"/>
              <a:ext cx="360000" cy="360000"/>
            </a:xfrm>
            <a:custGeom>
              <a:avLst/>
              <a:gdLst>
                <a:gd name="connsiteX0" fmla="*/ 198324 w 468766"/>
                <a:gd name="connsiteY0" fmla="*/ 180295 h 432707"/>
                <a:gd name="connsiteX1" fmla="*/ 185647 w 468766"/>
                <a:gd name="connsiteY1" fmla="*/ 185647 h 432707"/>
                <a:gd name="connsiteX2" fmla="*/ 180295 w 468766"/>
                <a:gd name="connsiteY2" fmla="*/ 198324 h 432707"/>
                <a:gd name="connsiteX3" fmla="*/ 185647 w 468766"/>
                <a:gd name="connsiteY3" fmla="*/ 211001 h 432707"/>
                <a:gd name="connsiteX4" fmla="*/ 198324 w 468766"/>
                <a:gd name="connsiteY4" fmla="*/ 216353 h 432707"/>
                <a:gd name="connsiteX5" fmla="*/ 270442 w 468766"/>
                <a:gd name="connsiteY5" fmla="*/ 216353 h 432707"/>
                <a:gd name="connsiteX6" fmla="*/ 283119 w 468766"/>
                <a:gd name="connsiteY6" fmla="*/ 211001 h 432707"/>
                <a:gd name="connsiteX7" fmla="*/ 288471 w 468766"/>
                <a:gd name="connsiteY7" fmla="*/ 198324 h 432707"/>
                <a:gd name="connsiteX8" fmla="*/ 283119 w 468766"/>
                <a:gd name="connsiteY8" fmla="*/ 185647 h 432707"/>
                <a:gd name="connsiteX9" fmla="*/ 270442 w 468766"/>
                <a:gd name="connsiteY9" fmla="*/ 180295 h 432707"/>
                <a:gd name="connsiteX10" fmla="*/ 36058 w 468766"/>
                <a:gd name="connsiteY10" fmla="*/ 126206 h 432707"/>
                <a:gd name="connsiteX11" fmla="*/ 432707 w 468766"/>
                <a:gd name="connsiteY11" fmla="*/ 126206 h 432707"/>
                <a:gd name="connsiteX12" fmla="*/ 445383 w 468766"/>
                <a:gd name="connsiteY12" fmla="*/ 131559 h 432707"/>
                <a:gd name="connsiteX13" fmla="*/ 450737 w 468766"/>
                <a:gd name="connsiteY13" fmla="*/ 144236 h 432707"/>
                <a:gd name="connsiteX14" fmla="*/ 450737 w 468766"/>
                <a:gd name="connsiteY14" fmla="*/ 414678 h 432707"/>
                <a:gd name="connsiteX15" fmla="*/ 445383 w 468766"/>
                <a:gd name="connsiteY15" fmla="*/ 427355 h 432707"/>
                <a:gd name="connsiteX16" fmla="*/ 432707 w 468766"/>
                <a:gd name="connsiteY16" fmla="*/ 432707 h 432707"/>
                <a:gd name="connsiteX17" fmla="*/ 36058 w 468766"/>
                <a:gd name="connsiteY17" fmla="*/ 432707 h 432707"/>
                <a:gd name="connsiteX18" fmla="*/ 23381 w 468766"/>
                <a:gd name="connsiteY18" fmla="*/ 427355 h 432707"/>
                <a:gd name="connsiteX19" fmla="*/ 18029 w 468766"/>
                <a:gd name="connsiteY19" fmla="*/ 414678 h 432707"/>
                <a:gd name="connsiteX20" fmla="*/ 18029 w 468766"/>
                <a:gd name="connsiteY20" fmla="*/ 144236 h 432707"/>
                <a:gd name="connsiteX21" fmla="*/ 23381 w 468766"/>
                <a:gd name="connsiteY21" fmla="*/ 131559 h 432707"/>
                <a:gd name="connsiteX22" fmla="*/ 36058 w 468766"/>
                <a:gd name="connsiteY22" fmla="*/ 126206 h 432707"/>
                <a:gd name="connsiteX23" fmla="*/ 18029 w 468766"/>
                <a:gd name="connsiteY23" fmla="*/ 0 h 432707"/>
                <a:gd name="connsiteX24" fmla="*/ 450737 w 468766"/>
                <a:gd name="connsiteY24" fmla="*/ 0 h 432707"/>
                <a:gd name="connsiteX25" fmla="*/ 463414 w 468766"/>
                <a:gd name="connsiteY25" fmla="*/ 5352 h 432707"/>
                <a:gd name="connsiteX26" fmla="*/ 468766 w 468766"/>
                <a:gd name="connsiteY26" fmla="*/ 18029 h 432707"/>
                <a:gd name="connsiteX27" fmla="*/ 468766 w 468766"/>
                <a:gd name="connsiteY27" fmla="*/ 90147 h 432707"/>
                <a:gd name="connsiteX28" fmla="*/ 463414 w 468766"/>
                <a:gd name="connsiteY28" fmla="*/ 102824 h 432707"/>
                <a:gd name="connsiteX29" fmla="*/ 450737 w 468766"/>
                <a:gd name="connsiteY29" fmla="*/ 108177 h 432707"/>
                <a:gd name="connsiteX30" fmla="*/ 18029 w 468766"/>
                <a:gd name="connsiteY30" fmla="*/ 108177 h 432707"/>
                <a:gd name="connsiteX31" fmla="*/ 5352 w 468766"/>
                <a:gd name="connsiteY31" fmla="*/ 102824 h 432707"/>
                <a:gd name="connsiteX32" fmla="*/ 0 w 468766"/>
                <a:gd name="connsiteY32" fmla="*/ 90147 h 432707"/>
                <a:gd name="connsiteX33" fmla="*/ 0 w 468766"/>
                <a:gd name="connsiteY33" fmla="*/ 18029 h 432707"/>
                <a:gd name="connsiteX34" fmla="*/ 5352 w 468766"/>
                <a:gd name="connsiteY34" fmla="*/ 5352 h 432707"/>
                <a:gd name="connsiteX35" fmla="*/ 18029 w 468766"/>
                <a:gd name="connsiteY35"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68766" h="432707">
                  <a:moveTo>
                    <a:pt x="198324" y="180295"/>
                  </a:moveTo>
                  <a:cubicBezTo>
                    <a:pt x="193441" y="180295"/>
                    <a:pt x="189214" y="182079"/>
                    <a:pt x="185647" y="185647"/>
                  </a:cubicBezTo>
                  <a:cubicBezTo>
                    <a:pt x="182078" y="189215"/>
                    <a:pt x="180295" y="193441"/>
                    <a:pt x="180295" y="198324"/>
                  </a:cubicBezTo>
                  <a:cubicBezTo>
                    <a:pt x="180295" y="203207"/>
                    <a:pt x="182078" y="207433"/>
                    <a:pt x="185647" y="211001"/>
                  </a:cubicBezTo>
                  <a:cubicBezTo>
                    <a:pt x="189214" y="214569"/>
                    <a:pt x="193441" y="216353"/>
                    <a:pt x="198324" y="216353"/>
                  </a:cubicBezTo>
                  <a:lnTo>
                    <a:pt x="270442" y="216353"/>
                  </a:lnTo>
                  <a:cubicBezTo>
                    <a:pt x="275324" y="216353"/>
                    <a:pt x="279550" y="214569"/>
                    <a:pt x="283119" y="211001"/>
                  </a:cubicBezTo>
                  <a:cubicBezTo>
                    <a:pt x="286686" y="207433"/>
                    <a:pt x="288471" y="203207"/>
                    <a:pt x="288471" y="198324"/>
                  </a:cubicBezTo>
                  <a:cubicBezTo>
                    <a:pt x="288471" y="193441"/>
                    <a:pt x="286686" y="189215"/>
                    <a:pt x="283119" y="185647"/>
                  </a:cubicBezTo>
                  <a:cubicBezTo>
                    <a:pt x="279550" y="182079"/>
                    <a:pt x="275324" y="180295"/>
                    <a:pt x="270442" y="180295"/>
                  </a:cubicBezTo>
                  <a:close/>
                  <a:moveTo>
                    <a:pt x="36058" y="126206"/>
                  </a:moveTo>
                  <a:lnTo>
                    <a:pt x="432707" y="126206"/>
                  </a:lnTo>
                  <a:cubicBezTo>
                    <a:pt x="437590" y="126206"/>
                    <a:pt x="441815" y="127990"/>
                    <a:pt x="445383" y="131559"/>
                  </a:cubicBezTo>
                  <a:cubicBezTo>
                    <a:pt x="448952" y="135127"/>
                    <a:pt x="450737" y="139353"/>
                    <a:pt x="450737" y="144236"/>
                  </a:cubicBezTo>
                  <a:lnTo>
                    <a:pt x="450737" y="414678"/>
                  </a:lnTo>
                  <a:cubicBezTo>
                    <a:pt x="450737" y="419561"/>
                    <a:pt x="448952" y="423786"/>
                    <a:pt x="445383" y="427355"/>
                  </a:cubicBezTo>
                  <a:cubicBezTo>
                    <a:pt x="441815" y="430923"/>
                    <a:pt x="437590" y="432707"/>
                    <a:pt x="432707" y="432707"/>
                  </a:cubicBezTo>
                  <a:lnTo>
                    <a:pt x="36058" y="432707"/>
                  </a:lnTo>
                  <a:cubicBezTo>
                    <a:pt x="31175" y="432707"/>
                    <a:pt x="26950" y="430923"/>
                    <a:pt x="23381" y="427355"/>
                  </a:cubicBezTo>
                  <a:cubicBezTo>
                    <a:pt x="19813" y="423786"/>
                    <a:pt x="18029" y="419561"/>
                    <a:pt x="18029" y="414678"/>
                  </a:cubicBezTo>
                  <a:lnTo>
                    <a:pt x="18029" y="144236"/>
                  </a:lnTo>
                  <a:cubicBezTo>
                    <a:pt x="18029" y="139353"/>
                    <a:pt x="19813" y="135127"/>
                    <a:pt x="23381" y="131559"/>
                  </a:cubicBezTo>
                  <a:cubicBezTo>
                    <a:pt x="26950" y="127990"/>
                    <a:pt x="31175" y="126206"/>
                    <a:pt x="36058" y="126206"/>
                  </a:cubicBezTo>
                  <a:close/>
                  <a:moveTo>
                    <a:pt x="18029" y="0"/>
                  </a:moveTo>
                  <a:lnTo>
                    <a:pt x="450737" y="0"/>
                  </a:lnTo>
                  <a:cubicBezTo>
                    <a:pt x="455619" y="0"/>
                    <a:pt x="459844" y="1784"/>
                    <a:pt x="463414" y="5352"/>
                  </a:cubicBezTo>
                  <a:cubicBezTo>
                    <a:pt x="466981" y="8921"/>
                    <a:pt x="468766" y="13146"/>
                    <a:pt x="468766" y="18029"/>
                  </a:cubicBezTo>
                  <a:lnTo>
                    <a:pt x="468766" y="90147"/>
                  </a:lnTo>
                  <a:cubicBezTo>
                    <a:pt x="468766" y="95030"/>
                    <a:pt x="466981" y="99256"/>
                    <a:pt x="463414" y="102824"/>
                  </a:cubicBezTo>
                  <a:cubicBezTo>
                    <a:pt x="459844" y="106392"/>
                    <a:pt x="455619" y="108177"/>
                    <a:pt x="450737" y="108177"/>
                  </a:cubicBezTo>
                  <a:lnTo>
                    <a:pt x="18029" y="108177"/>
                  </a:lnTo>
                  <a:cubicBezTo>
                    <a:pt x="13146" y="108177"/>
                    <a:pt x="8919" y="106392"/>
                    <a:pt x="5352" y="102824"/>
                  </a:cubicBezTo>
                  <a:cubicBezTo>
                    <a:pt x="1784" y="99256"/>
                    <a:pt x="0" y="95030"/>
                    <a:pt x="0" y="90147"/>
                  </a:cubicBezTo>
                  <a:lnTo>
                    <a:pt x="0" y="18029"/>
                  </a:lnTo>
                  <a:cubicBezTo>
                    <a:pt x="0" y="13146"/>
                    <a:pt x="1784" y="8921"/>
                    <a:pt x="5352" y="5352"/>
                  </a:cubicBezTo>
                  <a:cubicBezTo>
                    <a:pt x="8919" y="1784"/>
                    <a:pt x="13146" y="0"/>
                    <a:pt x="18029" y="0"/>
                  </a:cubicBezTo>
                  <a:close/>
                </a:path>
              </a:pathLst>
            </a:custGeom>
            <a:solidFill>
              <a:schemeClr val="bg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Triángulo isósceles 131">
              <a:extLst>
                <a:ext uri="{FF2B5EF4-FFF2-40B4-BE49-F238E27FC236}">
                  <a16:creationId xmlns:a16="http://schemas.microsoft.com/office/drawing/2014/main" id="{9F588074-AB80-1907-7F7E-C66748EBF6F4}"/>
                </a:ext>
              </a:extLst>
            </p:cNvPr>
            <p:cNvSpPr/>
            <p:nvPr/>
          </p:nvSpPr>
          <p:spPr>
            <a:xfrm>
              <a:off x="4748029" y="4465871"/>
              <a:ext cx="288000" cy="54000"/>
            </a:xfrm>
            <a:prstGeom prst="triangl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3" name="Triángulo isósceles 132">
              <a:extLst>
                <a:ext uri="{FF2B5EF4-FFF2-40B4-BE49-F238E27FC236}">
                  <a16:creationId xmlns:a16="http://schemas.microsoft.com/office/drawing/2014/main" id="{9EC78785-94D6-C9F3-23E6-27292B2DE807}"/>
                </a:ext>
              </a:extLst>
            </p:cNvPr>
            <p:cNvSpPr/>
            <p:nvPr/>
          </p:nvSpPr>
          <p:spPr>
            <a:xfrm rot="10800000">
              <a:off x="4748029" y="4538355"/>
              <a:ext cx="288000" cy="54000"/>
            </a:xfrm>
            <a:prstGeom prst="triangl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4" name="Triángulo isósceles 133">
              <a:extLst>
                <a:ext uri="{FF2B5EF4-FFF2-40B4-BE49-F238E27FC236}">
                  <a16:creationId xmlns:a16="http://schemas.microsoft.com/office/drawing/2014/main" id="{A83EBF90-1515-D256-7E05-2C12636426AC}"/>
                </a:ext>
              </a:extLst>
            </p:cNvPr>
            <p:cNvSpPr/>
            <p:nvPr/>
          </p:nvSpPr>
          <p:spPr>
            <a:xfrm>
              <a:off x="4750797" y="5586862"/>
              <a:ext cx="288000" cy="54000"/>
            </a:xfrm>
            <a:prstGeom prst="triangl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5" name="Triángulo isósceles 134">
              <a:extLst>
                <a:ext uri="{FF2B5EF4-FFF2-40B4-BE49-F238E27FC236}">
                  <a16:creationId xmlns:a16="http://schemas.microsoft.com/office/drawing/2014/main" id="{3A770EBF-5CED-700D-16B9-DD3EDCE4A1F6}"/>
                </a:ext>
              </a:extLst>
            </p:cNvPr>
            <p:cNvSpPr/>
            <p:nvPr/>
          </p:nvSpPr>
          <p:spPr>
            <a:xfrm rot="10800000">
              <a:off x="4750797" y="5659346"/>
              <a:ext cx="288000" cy="54000"/>
            </a:xfrm>
            <a:prstGeom prst="triangl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Rectángulo redondeado 36">
              <a:extLst>
                <a:ext uri="{FF2B5EF4-FFF2-40B4-BE49-F238E27FC236}">
                  <a16:creationId xmlns:a16="http://schemas.microsoft.com/office/drawing/2014/main" id="{1EFE393F-6D93-37E1-FB13-E008759E992E}"/>
                </a:ext>
              </a:extLst>
            </p:cNvPr>
            <p:cNvSpPr/>
            <p:nvPr/>
          </p:nvSpPr>
          <p:spPr>
            <a:xfrm>
              <a:off x="6131587" y="4621824"/>
              <a:ext cx="2266339" cy="1702416"/>
            </a:xfrm>
            <a:prstGeom prst="roundRect">
              <a:avLst>
                <a:gd name="adj" fmla="val 4159"/>
              </a:avLst>
            </a:prstGeom>
            <a:no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39" name="Rectángulo redondeado 39">
              <a:extLst>
                <a:ext uri="{FF2B5EF4-FFF2-40B4-BE49-F238E27FC236}">
                  <a16:creationId xmlns:a16="http://schemas.microsoft.com/office/drawing/2014/main" id="{E8FADDA0-F85E-DA51-6FAC-0989B47CEC62}"/>
                </a:ext>
              </a:extLst>
            </p:cNvPr>
            <p:cNvSpPr/>
            <p:nvPr/>
          </p:nvSpPr>
          <p:spPr>
            <a:xfrm>
              <a:off x="6205180" y="4837388"/>
              <a:ext cx="2111302" cy="518990"/>
            </a:xfrm>
            <a:prstGeom prst="roundRect">
              <a:avLst/>
            </a:prstGeom>
            <a:solidFill>
              <a:srgbClr val="203864"/>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41" name="Rectángulo redondeado 41">
              <a:extLst>
                <a:ext uri="{FF2B5EF4-FFF2-40B4-BE49-F238E27FC236}">
                  <a16:creationId xmlns:a16="http://schemas.microsoft.com/office/drawing/2014/main" id="{23C37EC8-F549-5DED-DA03-4E3E67B10085}"/>
                </a:ext>
              </a:extLst>
            </p:cNvPr>
            <p:cNvSpPr/>
            <p:nvPr/>
          </p:nvSpPr>
          <p:spPr>
            <a:xfrm>
              <a:off x="6205180" y="5586862"/>
              <a:ext cx="2111302" cy="518990"/>
            </a:xfrm>
            <a:prstGeom prst="roundRect">
              <a:avLst/>
            </a:prstGeom>
            <a:solidFill>
              <a:srgbClr val="203864"/>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43" name="Triángulo isósceles 142">
              <a:extLst>
                <a:ext uri="{FF2B5EF4-FFF2-40B4-BE49-F238E27FC236}">
                  <a16:creationId xmlns:a16="http://schemas.microsoft.com/office/drawing/2014/main" id="{D1818DA1-8672-AB41-D6F3-FB66527DB2BD}"/>
                </a:ext>
              </a:extLst>
            </p:cNvPr>
            <p:cNvSpPr/>
            <p:nvPr/>
          </p:nvSpPr>
          <p:spPr>
            <a:xfrm>
              <a:off x="7042654" y="4470601"/>
              <a:ext cx="288000" cy="54000"/>
            </a:xfrm>
            <a:prstGeom prst="triangl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Triángulo isósceles 143">
              <a:extLst>
                <a:ext uri="{FF2B5EF4-FFF2-40B4-BE49-F238E27FC236}">
                  <a16:creationId xmlns:a16="http://schemas.microsoft.com/office/drawing/2014/main" id="{E5923207-3CFD-D592-99F2-4F2B1224BC4C}"/>
                </a:ext>
              </a:extLst>
            </p:cNvPr>
            <p:cNvSpPr/>
            <p:nvPr/>
          </p:nvSpPr>
          <p:spPr>
            <a:xfrm rot="10800000">
              <a:off x="7042654" y="4543085"/>
              <a:ext cx="288000" cy="54000"/>
            </a:xfrm>
            <a:prstGeom prst="triangl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5" name="CuadroTexto 144">
              <a:extLst>
                <a:ext uri="{FF2B5EF4-FFF2-40B4-BE49-F238E27FC236}">
                  <a16:creationId xmlns:a16="http://schemas.microsoft.com/office/drawing/2014/main" id="{338A2AE6-A055-A64A-97EF-0B9375CA4CD3}"/>
                </a:ext>
              </a:extLst>
            </p:cNvPr>
            <p:cNvSpPr txBox="1"/>
            <p:nvPr/>
          </p:nvSpPr>
          <p:spPr>
            <a:xfrm>
              <a:off x="9529110" y="1255910"/>
              <a:ext cx="1355307"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accent5"/>
                  </a:solidFill>
                  <a:effectLst/>
                  <a:uLnTx/>
                  <a:uFillTx/>
                  <a:latin typeface="Calibri" panose="020F0502020204030204"/>
                </a:rPr>
                <a:t>Administració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accent5"/>
                  </a:solidFill>
                  <a:effectLst/>
                  <a:uLnTx/>
                  <a:uFillTx/>
                  <a:latin typeface="Calibri" panose="020F0502020204030204"/>
                </a:rPr>
                <a:t>de Scripts</a:t>
              </a:r>
              <a:endParaRPr kumimoji="0" lang="es-ES" sz="1400" b="0" i="0" u="none" strike="noStrike" kern="0" cap="none" spc="0" normalizeH="0" baseline="0" noProof="0">
                <a:ln>
                  <a:noFill/>
                </a:ln>
                <a:solidFill>
                  <a:schemeClr val="accent5"/>
                </a:solidFill>
                <a:effectLst/>
                <a:uLnTx/>
                <a:uFillTx/>
                <a:latin typeface="Calibri" panose="020F0502020204030204"/>
              </a:endParaRPr>
            </a:p>
          </p:txBody>
        </p:sp>
        <p:sp>
          <p:nvSpPr>
            <p:cNvPr id="146" name="Rectángulo 145">
              <a:extLst>
                <a:ext uri="{FF2B5EF4-FFF2-40B4-BE49-F238E27FC236}">
                  <a16:creationId xmlns:a16="http://schemas.microsoft.com/office/drawing/2014/main" id="{C42702F0-8BCD-7A2B-EA8E-48EF33BE415D}"/>
                </a:ext>
              </a:extLst>
            </p:cNvPr>
            <p:cNvSpPr/>
            <p:nvPr/>
          </p:nvSpPr>
          <p:spPr>
            <a:xfrm>
              <a:off x="9257313" y="1867949"/>
              <a:ext cx="1881359" cy="518990"/>
            </a:xfrm>
            <a:prstGeom prst="rect">
              <a:avLst/>
            </a:prstGeom>
            <a:solidFill>
              <a:srgbClr val="203864"/>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47" name="Freeform 306">
              <a:extLst>
                <a:ext uri="{FF2B5EF4-FFF2-40B4-BE49-F238E27FC236}">
                  <a16:creationId xmlns:a16="http://schemas.microsoft.com/office/drawing/2014/main" id="{1D1F7E1F-B8B0-10C2-9E8D-2E2FFDA3F45F}"/>
                </a:ext>
              </a:extLst>
            </p:cNvPr>
            <p:cNvSpPr/>
            <p:nvPr/>
          </p:nvSpPr>
          <p:spPr>
            <a:xfrm>
              <a:off x="9439453" y="1966516"/>
              <a:ext cx="396000" cy="324000"/>
            </a:xfrm>
            <a:custGeom>
              <a:avLst/>
              <a:gdLst>
                <a:gd name="connsiteX0" fmla="*/ 198324 w 529333"/>
                <a:gd name="connsiteY0" fmla="*/ 216354 h 396648"/>
                <a:gd name="connsiteX1" fmla="*/ 504825 w 529333"/>
                <a:gd name="connsiteY1" fmla="*/ 216354 h 396648"/>
                <a:gd name="connsiteX2" fmla="*/ 521868 w 529333"/>
                <a:gd name="connsiteY2" fmla="*/ 220016 h 396648"/>
                <a:gd name="connsiteX3" fmla="*/ 529333 w 529333"/>
                <a:gd name="connsiteY3" fmla="*/ 232130 h 396648"/>
                <a:gd name="connsiteX4" fmla="*/ 520600 w 529333"/>
                <a:gd name="connsiteY4" fmla="*/ 250722 h 396648"/>
                <a:gd name="connsiteX5" fmla="*/ 425945 w 529333"/>
                <a:gd name="connsiteY5" fmla="*/ 362279 h 396648"/>
                <a:gd name="connsiteX6" fmla="*/ 392000 w 529333"/>
                <a:gd name="connsiteY6" fmla="*/ 386647 h 396648"/>
                <a:gd name="connsiteX7" fmla="*/ 351574 w 529333"/>
                <a:gd name="connsiteY7" fmla="*/ 396648 h 396648"/>
                <a:gd name="connsiteX8" fmla="*/ 45073 w 529333"/>
                <a:gd name="connsiteY8" fmla="*/ 396648 h 396648"/>
                <a:gd name="connsiteX9" fmla="*/ 28030 w 529333"/>
                <a:gd name="connsiteY9" fmla="*/ 392986 h 396648"/>
                <a:gd name="connsiteX10" fmla="*/ 20565 w 529333"/>
                <a:gd name="connsiteY10" fmla="*/ 380873 h 396648"/>
                <a:gd name="connsiteX11" fmla="*/ 29297 w 529333"/>
                <a:gd name="connsiteY11" fmla="*/ 362279 h 396648"/>
                <a:gd name="connsiteX12" fmla="*/ 123952 w 529333"/>
                <a:gd name="connsiteY12" fmla="*/ 250722 h 396648"/>
                <a:gd name="connsiteX13" fmla="*/ 157898 w 529333"/>
                <a:gd name="connsiteY13" fmla="*/ 226354 h 396648"/>
                <a:gd name="connsiteX14" fmla="*/ 198324 w 529333"/>
                <a:gd name="connsiteY14" fmla="*/ 216354 h 396648"/>
                <a:gd name="connsiteX15" fmla="*/ 63103 w 529333"/>
                <a:gd name="connsiteY15" fmla="*/ 0 h 396648"/>
                <a:gd name="connsiteX16" fmla="*/ 153251 w 529333"/>
                <a:gd name="connsiteY16" fmla="*/ 0 h 396648"/>
                <a:gd name="connsiteX17" fmla="*/ 197760 w 529333"/>
                <a:gd name="connsiteY17" fmla="*/ 18593 h 396648"/>
                <a:gd name="connsiteX18" fmla="*/ 216354 w 529333"/>
                <a:gd name="connsiteY18" fmla="*/ 63103 h 396648"/>
                <a:gd name="connsiteX19" fmla="*/ 216354 w 529333"/>
                <a:gd name="connsiteY19" fmla="*/ 72118 h 396648"/>
                <a:gd name="connsiteX20" fmla="*/ 369605 w 529333"/>
                <a:gd name="connsiteY20" fmla="*/ 72118 h 396648"/>
                <a:gd name="connsiteX21" fmla="*/ 414114 w 529333"/>
                <a:gd name="connsiteY21" fmla="*/ 90711 h 396648"/>
                <a:gd name="connsiteX22" fmla="*/ 432707 w 529333"/>
                <a:gd name="connsiteY22" fmla="*/ 135221 h 396648"/>
                <a:gd name="connsiteX23" fmla="*/ 432707 w 529333"/>
                <a:gd name="connsiteY23" fmla="*/ 180295 h 396648"/>
                <a:gd name="connsiteX24" fmla="*/ 198325 w 529333"/>
                <a:gd name="connsiteY24" fmla="*/ 180295 h 396648"/>
                <a:gd name="connsiteX25" fmla="*/ 142827 w 529333"/>
                <a:gd name="connsiteY25" fmla="*/ 193676 h 396648"/>
                <a:gd name="connsiteX26" fmla="*/ 96627 w 529333"/>
                <a:gd name="connsiteY26" fmla="*/ 227340 h 396648"/>
                <a:gd name="connsiteX27" fmla="*/ 1691 w 529333"/>
                <a:gd name="connsiteY27" fmla="*/ 338898 h 396648"/>
                <a:gd name="connsiteX28" fmla="*/ 282 w 529333"/>
                <a:gd name="connsiteY28" fmla="*/ 340588 h 396648"/>
                <a:gd name="connsiteX29" fmla="*/ 140 w 529333"/>
                <a:gd name="connsiteY29" fmla="*/ 337067 h 396648"/>
                <a:gd name="connsiteX30" fmla="*/ 0 w 529333"/>
                <a:gd name="connsiteY30" fmla="*/ 333545 h 396648"/>
                <a:gd name="connsiteX31" fmla="*/ 0 w 529333"/>
                <a:gd name="connsiteY31" fmla="*/ 63103 h 396648"/>
                <a:gd name="connsiteX32" fmla="*/ 18593 w 529333"/>
                <a:gd name="connsiteY32" fmla="*/ 18593 h 396648"/>
                <a:gd name="connsiteX33" fmla="*/ 63103 w 529333"/>
                <a:gd name="connsiteY33" fmla="*/ 0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29333" h="396648">
                  <a:moveTo>
                    <a:pt x="198324" y="216354"/>
                  </a:moveTo>
                  <a:lnTo>
                    <a:pt x="504825" y="216354"/>
                  </a:lnTo>
                  <a:cubicBezTo>
                    <a:pt x="511210" y="216354"/>
                    <a:pt x="516890" y="217574"/>
                    <a:pt x="521868" y="220016"/>
                  </a:cubicBezTo>
                  <a:cubicBezTo>
                    <a:pt x="526844" y="222457"/>
                    <a:pt x="529333" y="226495"/>
                    <a:pt x="529333" y="232130"/>
                  </a:cubicBezTo>
                  <a:cubicBezTo>
                    <a:pt x="529333" y="237951"/>
                    <a:pt x="526421" y="244149"/>
                    <a:pt x="520600" y="250722"/>
                  </a:cubicBezTo>
                  <a:lnTo>
                    <a:pt x="425945" y="362279"/>
                  </a:lnTo>
                  <a:cubicBezTo>
                    <a:pt x="417869" y="371858"/>
                    <a:pt x="406554" y="379980"/>
                    <a:pt x="392000" y="386647"/>
                  </a:cubicBezTo>
                  <a:cubicBezTo>
                    <a:pt x="377444" y="393315"/>
                    <a:pt x="363969" y="396648"/>
                    <a:pt x="351574" y="396648"/>
                  </a:cubicBezTo>
                  <a:lnTo>
                    <a:pt x="45073" y="396648"/>
                  </a:lnTo>
                  <a:cubicBezTo>
                    <a:pt x="38687" y="396648"/>
                    <a:pt x="33006" y="395427"/>
                    <a:pt x="28030" y="392986"/>
                  </a:cubicBezTo>
                  <a:cubicBezTo>
                    <a:pt x="23052" y="390544"/>
                    <a:pt x="20565" y="386507"/>
                    <a:pt x="20565" y="380873"/>
                  </a:cubicBezTo>
                  <a:cubicBezTo>
                    <a:pt x="20565" y="375050"/>
                    <a:pt x="23475" y="368853"/>
                    <a:pt x="29297" y="362279"/>
                  </a:cubicBezTo>
                  <a:lnTo>
                    <a:pt x="123952" y="250722"/>
                  </a:lnTo>
                  <a:cubicBezTo>
                    <a:pt x="132027" y="241144"/>
                    <a:pt x="143344" y="233021"/>
                    <a:pt x="157898" y="226354"/>
                  </a:cubicBezTo>
                  <a:cubicBezTo>
                    <a:pt x="172453" y="219687"/>
                    <a:pt x="185928" y="216354"/>
                    <a:pt x="198324" y="216354"/>
                  </a:cubicBezTo>
                  <a:close/>
                  <a:moveTo>
                    <a:pt x="63103" y="0"/>
                  </a:moveTo>
                  <a:lnTo>
                    <a:pt x="153251" y="0"/>
                  </a:lnTo>
                  <a:cubicBezTo>
                    <a:pt x="170529" y="0"/>
                    <a:pt x="185366" y="6198"/>
                    <a:pt x="197760" y="18593"/>
                  </a:cubicBezTo>
                  <a:cubicBezTo>
                    <a:pt x="210155" y="30988"/>
                    <a:pt x="216354" y="45825"/>
                    <a:pt x="216354" y="63103"/>
                  </a:cubicBezTo>
                  <a:lnTo>
                    <a:pt x="216354" y="72118"/>
                  </a:lnTo>
                  <a:lnTo>
                    <a:pt x="369605" y="72118"/>
                  </a:lnTo>
                  <a:cubicBezTo>
                    <a:pt x="386882" y="72118"/>
                    <a:pt x="401719" y="78315"/>
                    <a:pt x="414114" y="90711"/>
                  </a:cubicBezTo>
                  <a:cubicBezTo>
                    <a:pt x="426510" y="103106"/>
                    <a:pt x="432707" y="117943"/>
                    <a:pt x="432707" y="135221"/>
                  </a:cubicBezTo>
                  <a:lnTo>
                    <a:pt x="432707" y="180295"/>
                  </a:lnTo>
                  <a:lnTo>
                    <a:pt x="198325" y="180295"/>
                  </a:lnTo>
                  <a:cubicBezTo>
                    <a:pt x="180671" y="180295"/>
                    <a:pt x="162172" y="184755"/>
                    <a:pt x="142827" y="193676"/>
                  </a:cubicBezTo>
                  <a:cubicBezTo>
                    <a:pt x="123483" y="202597"/>
                    <a:pt x="108084" y="213818"/>
                    <a:pt x="96627" y="227340"/>
                  </a:cubicBezTo>
                  <a:lnTo>
                    <a:pt x="1691" y="338898"/>
                  </a:lnTo>
                  <a:lnTo>
                    <a:pt x="282" y="340588"/>
                  </a:lnTo>
                  <a:cubicBezTo>
                    <a:pt x="282" y="339836"/>
                    <a:pt x="235" y="338663"/>
                    <a:pt x="140" y="337067"/>
                  </a:cubicBezTo>
                  <a:cubicBezTo>
                    <a:pt x="47" y="335470"/>
                    <a:pt x="0" y="334296"/>
                    <a:pt x="0" y="333545"/>
                  </a:cubicBezTo>
                  <a:lnTo>
                    <a:pt x="0" y="63103"/>
                  </a:lnTo>
                  <a:cubicBezTo>
                    <a:pt x="0" y="45825"/>
                    <a:pt x="6198" y="30988"/>
                    <a:pt x="18593" y="18593"/>
                  </a:cubicBezTo>
                  <a:cubicBezTo>
                    <a:pt x="30988" y="6198"/>
                    <a:pt x="45825" y="0"/>
                    <a:pt x="63103" y="0"/>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8" name="Rectángulo 147">
              <a:extLst>
                <a:ext uri="{FF2B5EF4-FFF2-40B4-BE49-F238E27FC236}">
                  <a16:creationId xmlns:a16="http://schemas.microsoft.com/office/drawing/2014/main" id="{4370969D-4A37-4526-A8AE-CB3BD02273D9}"/>
                </a:ext>
              </a:extLst>
            </p:cNvPr>
            <p:cNvSpPr/>
            <p:nvPr/>
          </p:nvSpPr>
          <p:spPr>
            <a:xfrm>
              <a:off x="9257314" y="2515251"/>
              <a:ext cx="1881358" cy="518990"/>
            </a:xfrm>
            <a:prstGeom prst="rect">
              <a:avLst/>
            </a:prstGeom>
            <a:solidFill>
              <a:srgbClr val="203864"/>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49" name="Freeform 410">
              <a:extLst>
                <a:ext uri="{FF2B5EF4-FFF2-40B4-BE49-F238E27FC236}">
                  <a16:creationId xmlns:a16="http://schemas.microsoft.com/office/drawing/2014/main" id="{48B4C95A-036B-57DC-CD20-BA1176B3768B}"/>
                </a:ext>
              </a:extLst>
            </p:cNvPr>
            <p:cNvSpPr/>
            <p:nvPr/>
          </p:nvSpPr>
          <p:spPr>
            <a:xfrm>
              <a:off x="9410554" y="2574691"/>
              <a:ext cx="360000" cy="360000"/>
            </a:xfrm>
            <a:custGeom>
              <a:avLst/>
              <a:gdLst>
                <a:gd name="connsiteX0" fmla="*/ 84231 w 462284"/>
                <a:gd name="connsiteY0" fmla="*/ 360589 h 462850"/>
                <a:gd name="connsiteX1" fmla="*/ 71553 w 462284"/>
                <a:gd name="connsiteY1" fmla="*/ 365942 h 462850"/>
                <a:gd name="connsiteX2" fmla="*/ 66201 w 462284"/>
                <a:gd name="connsiteY2" fmla="*/ 378619 h 462850"/>
                <a:gd name="connsiteX3" fmla="*/ 71553 w 462284"/>
                <a:gd name="connsiteY3" fmla="*/ 391296 h 462850"/>
                <a:gd name="connsiteX4" fmla="*/ 84231 w 462284"/>
                <a:gd name="connsiteY4" fmla="*/ 396648 h 462850"/>
                <a:gd name="connsiteX5" fmla="*/ 96908 w 462284"/>
                <a:gd name="connsiteY5" fmla="*/ 391296 h 462850"/>
                <a:gd name="connsiteX6" fmla="*/ 102260 w 462284"/>
                <a:gd name="connsiteY6" fmla="*/ 378619 h 462850"/>
                <a:gd name="connsiteX7" fmla="*/ 96908 w 462284"/>
                <a:gd name="connsiteY7" fmla="*/ 365942 h 462850"/>
                <a:gd name="connsiteX8" fmla="*/ 84231 w 462284"/>
                <a:gd name="connsiteY8" fmla="*/ 360589 h 462850"/>
                <a:gd name="connsiteX9" fmla="*/ 202549 w 462284"/>
                <a:gd name="connsiteY9" fmla="*/ 179168 h 462850"/>
                <a:gd name="connsiteX10" fmla="*/ 234805 w 462284"/>
                <a:gd name="connsiteY10" fmla="*/ 228045 h 462850"/>
                <a:gd name="connsiteX11" fmla="*/ 283681 w 462284"/>
                <a:gd name="connsiteY11" fmla="*/ 260300 h 462850"/>
                <a:gd name="connsiteX12" fmla="*/ 91555 w 462284"/>
                <a:gd name="connsiteY12" fmla="*/ 452427 h 462850"/>
                <a:gd name="connsiteX13" fmla="*/ 66201 w 462284"/>
                <a:gd name="connsiteY13" fmla="*/ 462850 h 462850"/>
                <a:gd name="connsiteX14" fmla="*/ 40566 w 462284"/>
                <a:gd name="connsiteY14" fmla="*/ 452427 h 462850"/>
                <a:gd name="connsiteX15" fmla="*/ 10705 w 462284"/>
                <a:gd name="connsiteY15" fmla="*/ 422002 h 462850"/>
                <a:gd name="connsiteX16" fmla="*/ 0 w 462284"/>
                <a:gd name="connsiteY16" fmla="*/ 396648 h 462850"/>
                <a:gd name="connsiteX17" fmla="*/ 10705 w 462284"/>
                <a:gd name="connsiteY17" fmla="*/ 371013 h 462850"/>
                <a:gd name="connsiteX18" fmla="*/ 336642 w 462284"/>
                <a:gd name="connsiteY18" fmla="*/ 0 h 462850"/>
                <a:gd name="connsiteX19" fmla="*/ 370870 w 462284"/>
                <a:gd name="connsiteY19" fmla="*/ 4648 h 462850"/>
                <a:gd name="connsiteX20" fmla="*/ 401153 w 462284"/>
                <a:gd name="connsiteY20" fmla="*/ 17748 h 462850"/>
                <a:gd name="connsiteX21" fmla="*/ 405661 w 462284"/>
                <a:gd name="connsiteY21" fmla="*/ 25636 h 462850"/>
                <a:gd name="connsiteX22" fmla="*/ 401153 w 462284"/>
                <a:gd name="connsiteY22" fmla="*/ 33524 h 462850"/>
                <a:gd name="connsiteX23" fmla="*/ 318613 w 462284"/>
                <a:gd name="connsiteY23" fmla="*/ 81133 h 462850"/>
                <a:gd name="connsiteX24" fmla="*/ 318613 w 462284"/>
                <a:gd name="connsiteY24" fmla="*/ 144236 h 462850"/>
                <a:gd name="connsiteX25" fmla="*/ 372983 w 462284"/>
                <a:gd name="connsiteY25" fmla="*/ 174379 h 462850"/>
                <a:gd name="connsiteX26" fmla="*/ 395237 w 462284"/>
                <a:gd name="connsiteY26" fmla="*/ 160716 h 462850"/>
                <a:gd name="connsiteX27" fmla="*/ 433409 w 462284"/>
                <a:gd name="connsiteY27" fmla="*/ 137897 h 462850"/>
                <a:gd name="connsiteX28" fmla="*/ 453270 w 462284"/>
                <a:gd name="connsiteY28" fmla="*/ 127896 h 462850"/>
                <a:gd name="connsiteX29" fmla="*/ 459890 w 462284"/>
                <a:gd name="connsiteY29" fmla="*/ 130714 h 462850"/>
                <a:gd name="connsiteX30" fmla="*/ 462284 w 462284"/>
                <a:gd name="connsiteY30" fmla="*/ 137756 h 462850"/>
                <a:gd name="connsiteX31" fmla="*/ 455806 w 462284"/>
                <a:gd name="connsiteY31" fmla="*/ 167618 h 462850"/>
                <a:gd name="connsiteX32" fmla="*/ 409464 w 462284"/>
                <a:gd name="connsiteY32" fmla="*/ 228890 h 462850"/>
                <a:gd name="connsiteX33" fmla="*/ 336642 w 462284"/>
                <a:gd name="connsiteY33" fmla="*/ 252412 h 462850"/>
                <a:gd name="connsiteX34" fmla="*/ 247481 w 462284"/>
                <a:gd name="connsiteY34" fmla="*/ 215368 h 462850"/>
                <a:gd name="connsiteX35" fmla="*/ 210436 w 462284"/>
                <a:gd name="connsiteY35" fmla="*/ 126206 h 462850"/>
                <a:gd name="connsiteX36" fmla="*/ 247481 w 462284"/>
                <a:gd name="connsiteY36" fmla="*/ 37045 h 462850"/>
                <a:gd name="connsiteX37" fmla="*/ 336642 w 462284"/>
                <a:gd name="connsiteY37" fmla="*/ 0 h 46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62284" h="462850">
                  <a:moveTo>
                    <a:pt x="84231" y="360589"/>
                  </a:moveTo>
                  <a:cubicBezTo>
                    <a:pt x="79348" y="360589"/>
                    <a:pt x="75122" y="362373"/>
                    <a:pt x="71553" y="365942"/>
                  </a:cubicBezTo>
                  <a:cubicBezTo>
                    <a:pt x="67986" y="369510"/>
                    <a:pt x="66201" y="373736"/>
                    <a:pt x="66201" y="378619"/>
                  </a:cubicBezTo>
                  <a:cubicBezTo>
                    <a:pt x="66201" y="383502"/>
                    <a:pt x="67986" y="387727"/>
                    <a:pt x="71553" y="391296"/>
                  </a:cubicBezTo>
                  <a:cubicBezTo>
                    <a:pt x="75122" y="394864"/>
                    <a:pt x="79348" y="396648"/>
                    <a:pt x="84231" y="396648"/>
                  </a:cubicBezTo>
                  <a:cubicBezTo>
                    <a:pt x="89114" y="396648"/>
                    <a:pt x="93340" y="394864"/>
                    <a:pt x="96908" y="391296"/>
                  </a:cubicBezTo>
                  <a:cubicBezTo>
                    <a:pt x="100476" y="387727"/>
                    <a:pt x="102260" y="383502"/>
                    <a:pt x="102260" y="378619"/>
                  </a:cubicBezTo>
                  <a:cubicBezTo>
                    <a:pt x="102260" y="373736"/>
                    <a:pt x="100476" y="369510"/>
                    <a:pt x="96908" y="365942"/>
                  </a:cubicBezTo>
                  <a:cubicBezTo>
                    <a:pt x="93340" y="362373"/>
                    <a:pt x="89114" y="360589"/>
                    <a:pt x="84231" y="360589"/>
                  </a:cubicBezTo>
                  <a:close/>
                  <a:moveTo>
                    <a:pt x="202549" y="179168"/>
                  </a:moveTo>
                  <a:cubicBezTo>
                    <a:pt x="209873" y="197573"/>
                    <a:pt x="220626" y="213865"/>
                    <a:pt x="234805" y="228045"/>
                  </a:cubicBezTo>
                  <a:cubicBezTo>
                    <a:pt x="248984" y="242224"/>
                    <a:pt x="265277" y="252976"/>
                    <a:pt x="283681" y="260300"/>
                  </a:cubicBezTo>
                  <a:lnTo>
                    <a:pt x="91555" y="452427"/>
                  </a:lnTo>
                  <a:cubicBezTo>
                    <a:pt x="84607" y="459376"/>
                    <a:pt x="76156" y="462850"/>
                    <a:pt x="66201" y="462850"/>
                  </a:cubicBezTo>
                  <a:cubicBezTo>
                    <a:pt x="56436" y="462850"/>
                    <a:pt x="47890" y="459376"/>
                    <a:pt x="40566" y="452427"/>
                  </a:cubicBezTo>
                  <a:lnTo>
                    <a:pt x="10705" y="422002"/>
                  </a:lnTo>
                  <a:cubicBezTo>
                    <a:pt x="3568" y="415241"/>
                    <a:pt x="0" y="406790"/>
                    <a:pt x="0" y="396648"/>
                  </a:cubicBezTo>
                  <a:cubicBezTo>
                    <a:pt x="0" y="386694"/>
                    <a:pt x="3568" y="378149"/>
                    <a:pt x="10705" y="371013"/>
                  </a:cubicBezTo>
                  <a:close/>
                  <a:moveTo>
                    <a:pt x="336642" y="0"/>
                  </a:moveTo>
                  <a:cubicBezTo>
                    <a:pt x="347536" y="0"/>
                    <a:pt x="358944" y="1549"/>
                    <a:pt x="370870" y="4648"/>
                  </a:cubicBezTo>
                  <a:cubicBezTo>
                    <a:pt x="382796" y="7747"/>
                    <a:pt x="392891" y="12114"/>
                    <a:pt x="401153" y="17748"/>
                  </a:cubicBezTo>
                  <a:cubicBezTo>
                    <a:pt x="404159" y="19814"/>
                    <a:pt x="405661" y="22443"/>
                    <a:pt x="405661" y="25636"/>
                  </a:cubicBezTo>
                  <a:cubicBezTo>
                    <a:pt x="405661" y="28828"/>
                    <a:pt x="404159" y="31458"/>
                    <a:pt x="401153" y="33524"/>
                  </a:cubicBezTo>
                  <a:lnTo>
                    <a:pt x="318613" y="81133"/>
                  </a:lnTo>
                  <a:lnTo>
                    <a:pt x="318613" y="144236"/>
                  </a:lnTo>
                  <a:lnTo>
                    <a:pt x="372983" y="174379"/>
                  </a:lnTo>
                  <a:cubicBezTo>
                    <a:pt x="373922" y="173815"/>
                    <a:pt x="381341" y="169261"/>
                    <a:pt x="395237" y="160716"/>
                  </a:cubicBezTo>
                  <a:cubicBezTo>
                    <a:pt x="409137" y="152171"/>
                    <a:pt x="421859" y="144564"/>
                    <a:pt x="433409" y="137897"/>
                  </a:cubicBezTo>
                  <a:cubicBezTo>
                    <a:pt x="444960" y="131230"/>
                    <a:pt x="451580" y="127896"/>
                    <a:pt x="453270" y="127896"/>
                  </a:cubicBezTo>
                  <a:cubicBezTo>
                    <a:pt x="456087" y="127896"/>
                    <a:pt x="458295" y="128835"/>
                    <a:pt x="459890" y="130714"/>
                  </a:cubicBezTo>
                  <a:cubicBezTo>
                    <a:pt x="461487" y="132592"/>
                    <a:pt x="462284" y="134939"/>
                    <a:pt x="462284" y="137756"/>
                  </a:cubicBezTo>
                  <a:cubicBezTo>
                    <a:pt x="462284" y="145081"/>
                    <a:pt x="460126" y="155035"/>
                    <a:pt x="455806" y="167618"/>
                  </a:cubicBezTo>
                  <a:cubicBezTo>
                    <a:pt x="446980" y="192784"/>
                    <a:pt x="431533" y="213208"/>
                    <a:pt x="409464" y="228890"/>
                  </a:cubicBezTo>
                  <a:cubicBezTo>
                    <a:pt x="387397" y="244572"/>
                    <a:pt x="363123" y="252412"/>
                    <a:pt x="336642" y="252412"/>
                  </a:cubicBezTo>
                  <a:cubicBezTo>
                    <a:pt x="301898" y="252412"/>
                    <a:pt x="272177" y="240064"/>
                    <a:pt x="247481" y="215368"/>
                  </a:cubicBezTo>
                  <a:cubicBezTo>
                    <a:pt x="222785" y="190671"/>
                    <a:pt x="210436" y="160951"/>
                    <a:pt x="210436" y="126206"/>
                  </a:cubicBezTo>
                  <a:cubicBezTo>
                    <a:pt x="210436" y="91462"/>
                    <a:pt x="222785" y="61741"/>
                    <a:pt x="247481" y="37045"/>
                  </a:cubicBezTo>
                  <a:cubicBezTo>
                    <a:pt x="272177" y="12348"/>
                    <a:pt x="301898" y="0"/>
                    <a:pt x="336642" y="0"/>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0" name="Rectángulo 149">
              <a:extLst>
                <a:ext uri="{FF2B5EF4-FFF2-40B4-BE49-F238E27FC236}">
                  <a16:creationId xmlns:a16="http://schemas.microsoft.com/office/drawing/2014/main" id="{DA84F024-1062-26C7-1FB2-463D52E21803}"/>
                </a:ext>
              </a:extLst>
            </p:cNvPr>
            <p:cNvSpPr/>
            <p:nvPr/>
          </p:nvSpPr>
          <p:spPr>
            <a:xfrm>
              <a:off x="9112442" y="3526383"/>
              <a:ext cx="2160000" cy="2214582"/>
            </a:xfrm>
            <a:prstGeom prst="rect">
              <a:avLst/>
            </a:prstGeom>
            <a:solidFill>
              <a:schemeClr val="bg1">
                <a:lumMod val="85000"/>
              </a:schemeClr>
            </a:solidFill>
            <a:ln w="12700" cap="flat" cmpd="sng" algn="ctr">
              <a:solidFill>
                <a:srgbClr val="373F5B"/>
              </a:solid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51" name="CuadroTexto 150">
              <a:extLst>
                <a:ext uri="{FF2B5EF4-FFF2-40B4-BE49-F238E27FC236}">
                  <a16:creationId xmlns:a16="http://schemas.microsoft.com/office/drawing/2014/main" id="{18F25F19-0295-0082-679F-33A15E96253B}"/>
                </a:ext>
              </a:extLst>
            </p:cNvPr>
            <p:cNvSpPr txBox="1"/>
            <p:nvPr/>
          </p:nvSpPr>
          <p:spPr>
            <a:xfrm>
              <a:off x="9758197" y="3618309"/>
              <a:ext cx="867545" cy="523220"/>
            </a:xfrm>
            <a:prstGeom prst="rect">
              <a:avLst/>
            </a:prstGeom>
            <a:noFill/>
          </p:spPr>
          <p:txBody>
            <a:bodyPr wrap="none" rtlCol="0">
              <a:spAutoFit/>
            </a:bodyPr>
            <a:lstStyle>
              <a:defPPr>
                <a:defRPr lang="es-AR"/>
              </a:defPPr>
              <a:lvl1pPr algn="ctr">
                <a:defRPr sz="1400" b="1">
                  <a:solidFill>
                    <a:srgbClr val="AB2F39"/>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accent5"/>
                  </a:solidFill>
                  <a:effectLst/>
                  <a:uLnTx/>
                  <a:uFillTx/>
                  <a:latin typeface="Calibri" panose="020F0502020204030204"/>
                </a:rPr>
                <a:t>Testing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accent5"/>
                  </a:solidFill>
                  <a:effectLst/>
                  <a:uLnTx/>
                  <a:uFillTx/>
                  <a:latin typeface="Calibri" panose="020F0502020204030204"/>
                </a:rPr>
                <a:t>Continuo</a:t>
              </a:r>
            </a:p>
          </p:txBody>
        </p:sp>
        <p:sp>
          <p:nvSpPr>
            <p:cNvPr id="152" name="Rectángulo 151">
              <a:extLst>
                <a:ext uri="{FF2B5EF4-FFF2-40B4-BE49-F238E27FC236}">
                  <a16:creationId xmlns:a16="http://schemas.microsoft.com/office/drawing/2014/main" id="{F9F06C07-92F5-6349-4395-832EAE43DF6D}"/>
                </a:ext>
              </a:extLst>
            </p:cNvPr>
            <p:cNvSpPr/>
            <p:nvPr/>
          </p:nvSpPr>
          <p:spPr>
            <a:xfrm>
              <a:off x="9257313" y="4228419"/>
              <a:ext cx="1881359" cy="518990"/>
            </a:xfrm>
            <a:prstGeom prst="rect">
              <a:avLst/>
            </a:prstGeom>
            <a:solidFill>
              <a:schemeClr val="bg1">
                <a:lumMod val="65000"/>
              </a:schemeClr>
            </a:solidFill>
            <a:ln w="12700" cap="flat" cmpd="sng" algn="ctr">
              <a:solidFill>
                <a:srgbClr val="373F5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53" name="Rectángulo 152">
              <a:extLst>
                <a:ext uri="{FF2B5EF4-FFF2-40B4-BE49-F238E27FC236}">
                  <a16:creationId xmlns:a16="http://schemas.microsoft.com/office/drawing/2014/main" id="{A4258D58-21A0-18E1-D559-28C180CED1E6}"/>
                </a:ext>
              </a:extLst>
            </p:cNvPr>
            <p:cNvSpPr/>
            <p:nvPr/>
          </p:nvSpPr>
          <p:spPr>
            <a:xfrm>
              <a:off x="9257314" y="4875721"/>
              <a:ext cx="1881358" cy="518990"/>
            </a:xfrm>
            <a:prstGeom prst="rect">
              <a:avLst/>
            </a:prstGeom>
            <a:solidFill>
              <a:schemeClr val="bg1">
                <a:lumMod val="65000"/>
              </a:schemeClr>
            </a:solidFill>
            <a:ln w="12700" cap="flat" cmpd="sng" algn="ctr">
              <a:solidFill>
                <a:srgbClr val="373F5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54" name="CuadroTexto 153">
              <a:extLst>
                <a:ext uri="{FF2B5EF4-FFF2-40B4-BE49-F238E27FC236}">
                  <a16:creationId xmlns:a16="http://schemas.microsoft.com/office/drawing/2014/main" id="{D462F67A-473D-470E-B663-F1C468A99851}"/>
                </a:ext>
              </a:extLst>
            </p:cNvPr>
            <p:cNvSpPr txBox="1"/>
            <p:nvPr/>
          </p:nvSpPr>
          <p:spPr>
            <a:xfrm>
              <a:off x="9975663" y="1904854"/>
              <a:ext cx="951642"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Control de Repositorio</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55" name="CuadroTexto 154">
              <a:extLst>
                <a:ext uri="{FF2B5EF4-FFF2-40B4-BE49-F238E27FC236}">
                  <a16:creationId xmlns:a16="http://schemas.microsoft.com/office/drawing/2014/main" id="{0B41C9A4-62F2-601B-C913-0298735FA3EF}"/>
                </a:ext>
              </a:extLst>
            </p:cNvPr>
            <p:cNvSpPr txBox="1"/>
            <p:nvPr/>
          </p:nvSpPr>
          <p:spPr>
            <a:xfrm>
              <a:off x="9976399" y="2546165"/>
              <a:ext cx="1025232" cy="400110"/>
            </a:xfrm>
            <a:prstGeom prst="rect">
              <a:avLst/>
            </a:prstGeom>
            <a:solidFill>
              <a:srgbClr val="203864"/>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Mantenimiento de scripts</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56" name="Freeform 308">
              <a:extLst>
                <a:ext uri="{FF2B5EF4-FFF2-40B4-BE49-F238E27FC236}">
                  <a16:creationId xmlns:a16="http://schemas.microsoft.com/office/drawing/2014/main" id="{CADCB553-0A01-D56D-99FC-32B309F2E96E}"/>
                </a:ext>
              </a:extLst>
            </p:cNvPr>
            <p:cNvSpPr/>
            <p:nvPr/>
          </p:nvSpPr>
          <p:spPr>
            <a:xfrm>
              <a:off x="9410554" y="4348099"/>
              <a:ext cx="360000" cy="360000"/>
            </a:xfrm>
            <a:custGeom>
              <a:avLst/>
              <a:gdLst>
                <a:gd name="connsiteX0" fmla="*/ 432708 w 540885"/>
                <a:gd name="connsiteY0" fmla="*/ 356081 h 496091"/>
                <a:gd name="connsiteX1" fmla="*/ 407355 w 540885"/>
                <a:gd name="connsiteY1" fmla="*/ 366786 h 496091"/>
                <a:gd name="connsiteX2" fmla="*/ 396649 w 540885"/>
                <a:gd name="connsiteY2" fmla="*/ 392140 h 496091"/>
                <a:gd name="connsiteX3" fmla="*/ 407213 w 540885"/>
                <a:gd name="connsiteY3" fmla="*/ 417635 h 496091"/>
                <a:gd name="connsiteX4" fmla="*/ 432708 w 540885"/>
                <a:gd name="connsiteY4" fmla="*/ 428199 h 496091"/>
                <a:gd name="connsiteX5" fmla="*/ 458203 w 540885"/>
                <a:gd name="connsiteY5" fmla="*/ 417635 h 496091"/>
                <a:gd name="connsiteX6" fmla="*/ 468767 w 540885"/>
                <a:gd name="connsiteY6" fmla="*/ 392140 h 496091"/>
                <a:gd name="connsiteX7" fmla="*/ 458063 w 540885"/>
                <a:gd name="connsiteY7" fmla="*/ 366786 h 496091"/>
                <a:gd name="connsiteX8" fmla="*/ 432708 w 540885"/>
                <a:gd name="connsiteY8" fmla="*/ 356081 h 496091"/>
                <a:gd name="connsiteX9" fmla="*/ 396649 w 540885"/>
                <a:gd name="connsiteY9" fmla="*/ 288471 h 496091"/>
                <a:gd name="connsiteX10" fmla="*/ 409608 w 540885"/>
                <a:gd name="connsiteY10" fmla="*/ 301570 h 496091"/>
                <a:gd name="connsiteX11" fmla="*/ 424257 w 540885"/>
                <a:gd name="connsiteY11" fmla="*/ 320586 h 496091"/>
                <a:gd name="connsiteX12" fmla="*/ 432708 w 540885"/>
                <a:gd name="connsiteY12" fmla="*/ 320023 h 496091"/>
                <a:gd name="connsiteX13" fmla="*/ 441160 w 540885"/>
                <a:gd name="connsiteY13" fmla="*/ 320586 h 496091"/>
                <a:gd name="connsiteX14" fmla="*/ 467077 w 540885"/>
                <a:gd name="connsiteY14" fmla="*/ 289034 h 496091"/>
                <a:gd name="connsiteX15" fmla="*/ 468767 w 540885"/>
                <a:gd name="connsiteY15" fmla="*/ 288471 h 496091"/>
                <a:gd name="connsiteX16" fmla="*/ 503699 w 540885"/>
                <a:gd name="connsiteY16" fmla="*/ 308190 h 496091"/>
                <a:gd name="connsiteX17" fmla="*/ 504826 w 540885"/>
                <a:gd name="connsiteY17" fmla="*/ 310163 h 496091"/>
                <a:gd name="connsiteX18" fmla="*/ 490459 w 540885"/>
                <a:gd name="connsiteY18" fmla="*/ 349039 h 496091"/>
                <a:gd name="connsiteX19" fmla="*/ 498910 w 540885"/>
                <a:gd name="connsiteY19" fmla="*/ 363688 h 496091"/>
                <a:gd name="connsiteX20" fmla="*/ 540885 w 540885"/>
                <a:gd name="connsiteY20" fmla="*/ 372421 h 496091"/>
                <a:gd name="connsiteX21" fmla="*/ 540885 w 540885"/>
                <a:gd name="connsiteY21" fmla="*/ 411860 h 496091"/>
                <a:gd name="connsiteX22" fmla="*/ 498910 w 540885"/>
                <a:gd name="connsiteY22" fmla="*/ 420593 h 496091"/>
                <a:gd name="connsiteX23" fmla="*/ 490459 w 540885"/>
                <a:gd name="connsiteY23" fmla="*/ 435242 h 496091"/>
                <a:gd name="connsiteX24" fmla="*/ 504826 w 540885"/>
                <a:gd name="connsiteY24" fmla="*/ 474118 h 496091"/>
                <a:gd name="connsiteX25" fmla="*/ 503699 w 540885"/>
                <a:gd name="connsiteY25" fmla="*/ 476090 h 496091"/>
                <a:gd name="connsiteX26" fmla="*/ 468767 w 540885"/>
                <a:gd name="connsiteY26" fmla="*/ 496091 h 496091"/>
                <a:gd name="connsiteX27" fmla="*/ 455809 w 540885"/>
                <a:gd name="connsiteY27" fmla="*/ 482851 h 496091"/>
                <a:gd name="connsiteX28" fmla="*/ 441160 w 540885"/>
                <a:gd name="connsiteY28" fmla="*/ 463695 h 496091"/>
                <a:gd name="connsiteX29" fmla="*/ 432708 w 540885"/>
                <a:gd name="connsiteY29" fmla="*/ 464258 h 496091"/>
                <a:gd name="connsiteX30" fmla="*/ 424257 w 540885"/>
                <a:gd name="connsiteY30" fmla="*/ 463695 h 496091"/>
                <a:gd name="connsiteX31" fmla="*/ 409608 w 540885"/>
                <a:gd name="connsiteY31" fmla="*/ 482851 h 496091"/>
                <a:gd name="connsiteX32" fmla="*/ 396649 w 540885"/>
                <a:gd name="connsiteY32" fmla="*/ 496091 h 496091"/>
                <a:gd name="connsiteX33" fmla="*/ 361717 w 540885"/>
                <a:gd name="connsiteY33" fmla="*/ 476090 h 496091"/>
                <a:gd name="connsiteX34" fmla="*/ 360591 w 540885"/>
                <a:gd name="connsiteY34" fmla="*/ 474118 h 496091"/>
                <a:gd name="connsiteX35" fmla="*/ 374958 w 540885"/>
                <a:gd name="connsiteY35" fmla="*/ 435242 h 496091"/>
                <a:gd name="connsiteX36" fmla="*/ 366507 w 540885"/>
                <a:gd name="connsiteY36" fmla="*/ 420593 h 496091"/>
                <a:gd name="connsiteX37" fmla="*/ 324532 w 540885"/>
                <a:gd name="connsiteY37" fmla="*/ 411860 h 496091"/>
                <a:gd name="connsiteX38" fmla="*/ 324532 w 540885"/>
                <a:gd name="connsiteY38" fmla="*/ 372421 h 496091"/>
                <a:gd name="connsiteX39" fmla="*/ 366507 w 540885"/>
                <a:gd name="connsiteY39" fmla="*/ 363688 h 496091"/>
                <a:gd name="connsiteX40" fmla="*/ 374958 w 540885"/>
                <a:gd name="connsiteY40" fmla="*/ 349039 h 496091"/>
                <a:gd name="connsiteX41" fmla="*/ 360591 w 540885"/>
                <a:gd name="connsiteY41" fmla="*/ 310163 h 496091"/>
                <a:gd name="connsiteX42" fmla="*/ 361717 w 540885"/>
                <a:gd name="connsiteY42" fmla="*/ 308190 h 496091"/>
                <a:gd name="connsiteX43" fmla="*/ 371577 w 540885"/>
                <a:gd name="connsiteY43" fmla="*/ 302557 h 496091"/>
                <a:gd name="connsiteX44" fmla="*/ 388198 w 540885"/>
                <a:gd name="connsiteY44" fmla="*/ 292978 h 496091"/>
                <a:gd name="connsiteX45" fmla="*/ 396649 w 540885"/>
                <a:gd name="connsiteY45" fmla="*/ 288471 h 496091"/>
                <a:gd name="connsiteX46" fmla="*/ 180295 w 540885"/>
                <a:gd name="connsiteY46" fmla="*/ 175788 h 496091"/>
                <a:gd name="connsiteX47" fmla="*/ 129305 w 540885"/>
                <a:gd name="connsiteY47" fmla="*/ 196916 h 496091"/>
                <a:gd name="connsiteX48" fmla="*/ 108177 w 540885"/>
                <a:gd name="connsiteY48" fmla="*/ 247906 h 496091"/>
                <a:gd name="connsiteX49" fmla="*/ 129305 w 540885"/>
                <a:gd name="connsiteY49" fmla="*/ 298895 h 496091"/>
                <a:gd name="connsiteX50" fmla="*/ 180295 w 540885"/>
                <a:gd name="connsiteY50" fmla="*/ 320024 h 496091"/>
                <a:gd name="connsiteX51" fmla="*/ 231285 w 540885"/>
                <a:gd name="connsiteY51" fmla="*/ 298895 h 496091"/>
                <a:gd name="connsiteX52" fmla="*/ 252413 w 540885"/>
                <a:gd name="connsiteY52" fmla="*/ 247906 h 496091"/>
                <a:gd name="connsiteX53" fmla="*/ 231285 w 540885"/>
                <a:gd name="connsiteY53" fmla="*/ 196916 h 496091"/>
                <a:gd name="connsiteX54" fmla="*/ 180295 w 540885"/>
                <a:gd name="connsiteY54" fmla="*/ 175788 h 496091"/>
                <a:gd name="connsiteX55" fmla="*/ 432708 w 540885"/>
                <a:gd name="connsiteY55" fmla="*/ 67611 h 496091"/>
                <a:gd name="connsiteX56" fmla="*/ 407355 w 540885"/>
                <a:gd name="connsiteY56" fmla="*/ 78316 h 496091"/>
                <a:gd name="connsiteX57" fmla="*/ 396649 w 540885"/>
                <a:gd name="connsiteY57" fmla="*/ 103670 h 496091"/>
                <a:gd name="connsiteX58" fmla="*/ 407213 w 540885"/>
                <a:gd name="connsiteY58" fmla="*/ 129165 h 496091"/>
                <a:gd name="connsiteX59" fmla="*/ 432708 w 540885"/>
                <a:gd name="connsiteY59" fmla="*/ 139729 h 496091"/>
                <a:gd name="connsiteX60" fmla="*/ 458203 w 540885"/>
                <a:gd name="connsiteY60" fmla="*/ 129165 h 496091"/>
                <a:gd name="connsiteX61" fmla="*/ 468767 w 540885"/>
                <a:gd name="connsiteY61" fmla="*/ 103670 h 496091"/>
                <a:gd name="connsiteX62" fmla="*/ 458063 w 540885"/>
                <a:gd name="connsiteY62" fmla="*/ 78316 h 496091"/>
                <a:gd name="connsiteX63" fmla="*/ 432708 w 540885"/>
                <a:gd name="connsiteY63" fmla="*/ 67611 h 496091"/>
                <a:gd name="connsiteX64" fmla="*/ 154096 w 540885"/>
                <a:gd name="connsiteY64" fmla="*/ 67611 h 496091"/>
                <a:gd name="connsiteX65" fmla="*/ 206494 w 540885"/>
                <a:gd name="connsiteY65" fmla="*/ 67611 h 496091"/>
                <a:gd name="connsiteX66" fmla="*/ 212128 w 540885"/>
                <a:gd name="connsiteY66" fmla="*/ 69724 h 496091"/>
                <a:gd name="connsiteX67" fmla="*/ 214945 w 540885"/>
                <a:gd name="connsiteY67" fmla="*/ 74654 h 496091"/>
                <a:gd name="connsiteX68" fmla="*/ 221425 w 540885"/>
                <a:gd name="connsiteY68" fmla="*/ 117755 h 496091"/>
                <a:gd name="connsiteX69" fmla="*/ 242553 w 540885"/>
                <a:gd name="connsiteY69" fmla="*/ 126488 h 496091"/>
                <a:gd name="connsiteX70" fmla="*/ 275795 w 540885"/>
                <a:gd name="connsiteY70" fmla="*/ 101416 h 496091"/>
                <a:gd name="connsiteX71" fmla="*/ 281429 w 540885"/>
                <a:gd name="connsiteY71" fmla="*/ 99444 h 496091"/>
                <a:gd name="connsiteX72" fmla="*/ 287345 w 540885"/>
                <a:gd name="connsiteY72" fmla="*/ 101698 h 496091"/>
                <a:gd name="connsiteX73" fmla="*/ 327911 w 540885"/>
                <a:gd name="connsiteY73" fmla="*/ 146772 h 496091"/>
                <a:gd name="connsiteX74" fmla="*/ 325939 w 540885"/>
                <a:gd name="connsiteY74" fmla="*/ 152124 h 496091"/>
                <a:gd name="connsiteX75" fmla="*/ 314108 w 540885"/>
                <a:gd name="connsiteY75" fmla="*/ 167337 h 496091"/>
                <a:gd name="connsiteX76" fmla="*/ 301430 w 540885"/>
                <a:gd name="connsiteY76" fmla="*/ 184239 h 496091"/>
                <a:gd name="connsiteX77" fmla="*/ 311008 w 540885"/>
                <a:gd name="connsiteY77" fmla="*/ 207339 h 496091"/>
                <a:gd name="connsiteX78" fmla="*/ 353828 w 540885"/>
                <a:gd name="connsiteY78" fmla="*/ 213819 h 496091"/>
                <a:gd name="connsiteX79" fmla="*/ 358618 w 540885"/>
                <a:gd name="connsiteY79" fmla="*/ 216777 h 496091"/>
                <a:gd name="connsiteX80" fmla="*/ 360590 w 540885"/>
                <a:gd name="connsiteY80" fmla="*/ 222270 h 496091"/>
                <a:gd name="connsiteX81" fmla="*/ 360590 w 540885"/>
                <a:gd name="connsiteY81" fmla="*/ 274386 h 496091"/>
                <a:gd name="connsiteX82" fmla="*/ 358618 w 540885"/>
                <a:gd name="connsiteY82" fmla="*/ 279880 h 496091"/>
                <a:gd name="connsiteX83" fmla="*/ 354110 w 540885"/>
                <a:gd name="connsiteY83" fmla="*/ 282838 h 496091"/>
                <a:gd name="connsiteX84" fmla="*/ 310445 w 540885"/>
                <a:gd name="connsiteY84" fmla="*/ 289599 h 496091"/>
                <a:gd name="connsiteX85" fmla="*/ 301430 w 540885"/>
                <a:gd name="connsiteY85" fmla="*/ 311009 h 496091"/>
                <a:gd name="connsiteX86" fmla="*/ 326784 w 540885"/>
                <a:gd name="connsiteY86" fmla="*/ 343405 h 496091"/>
                <a:gd name="connsiteX87" fmla="*/ 328756 w 540885"/>
                <a:gd name="connsiteY87" fmla="*/ 349040 h 496091"/>
                <a:gd name="connsiteX88" fmla="*/ 326784 w 540885"/>
                <a:gd name="connsiteY88" fmla="*/ 354392 h 496091"/>
                <a:gd name="connsiteX89" fmla="*/ 303543 w 540885"/>
                <a:gd name="connsiteY89" fmla="*/ 379605 h 496091"/>
                <a:gd name="connsiteX90" fmla="*/ 281429 w 540885"/>
                <a:gd name="connsiteY90" fmla="*/ 396367 h 496091"/>
                <a:gd name="connsiteX91" fmla="*/ 275513 w 540885"/>
                <a:gd name="connsiteY91" fmla="*/ 394395 h 496091"/>
                <a:gd name="connsiteX92" fmla="*/ 243117 w 540885"/>
                <a:gd name="connsiteY92" fmla="*/ 369041 h 496091"/>
                <a:gd name="connsiteX93" fmla="*/ 221425 w 540885"/>
                <a:gd name="connsiteY93" fmla="*/ 377774 h 496091"/>
                <a:gd name="connsiteX94" fmla="*/ 214945 w 540885"/>
                <a:gd name="connsiteY94" fmla="*/ 421439 h 496091"/>
                <a:gd name="connsiteX95" fmla="*/ 206494 w 540885"/>
                <a:gd name="connsiteY95" fmla="*/ 428200 h 496091"/>
                <a:gd name="connsiteX96" fmla="*/ 154096 w 540885"/>
                <a:gd name="connsiteY96" fmla="*/ 428200 h 496091"/>
                <a:gd name="connsiteX97" fmla="*/ 148462 w 540885"/>
                <a:gd name="connsiteY97" fmla="*/ 426087 h 496091"/>
                <a:gd name="connsiteX98" fmla="*/ 145645 w 540885"/>
                <a:gd name="connsiteY98" fmla="*/ 421158 h 496091"/>
                <a:gd name="connsiteX99" fmla="*/ 139165 w 540885"/>
                <a:gd name="connsiteY99" fmla="*/ 378056 h 496091"/>
                <a:gd name="connsiteX100" fmla="*/ 118037 w 540885"/>
                <a:gd name="connsiteY100" fmla="*/ 369323 h 496091"/>
                <a:gd name="connsiteX101" fmla="*/ 84795 w 540885"/>
                <a:gd name="connsiteY101" fmla="*/ 394395 h 496091"/>
                <a:gd name="connsiteX102" fmla="*/ 79161 w 540885"/>
                <a:gd name="connsiteY102" fmla="*/ 396367 h 496091"/>
                <a:gd name="connsiteX103" fmla="*/ 73245 w 540885"/>
                <a:gd name="connsiteY103" fmla="*/ 394113 h 496091"/>
                <a:gd name="connsiteX104" fmla="*/ 32679 w 540885"/>
                <a:gd name="connsiteY104" fmla="*/ 349040 h 496091"/>
                <a:gd name="connsiteX105" fmla="*/ 34651 w 540885"/>
                <a:gd name="connsiteY105" fmla="*/ 343687 h 496091"/>
                <a:gd name="connsiteX106" fmla="*/ 46201 w 540885"/>
                <a:gd name="connsiteY106" fmla="*/ 328756 h 496091"/>
                <a:gd name="connsiteX107" fmla="*/ 59441 w 540885"/>
                <a:gd name="connsiteY107" fmla="*/ 311572 h 496091"/>
                <a:gd name="connsiteX108" fmla="*/ 49581 w 540885"/>
                <a:gd name="connsiteY108" fmla="*/ 288472 h 496091"/>
                <a:gd name="connsiteX109" fmla="*/ 6761 w 540885"/>
                <a:gd name="connsiteY109" fmla="*/ 281711 h 496091"/>
                <a:gd name="connsiteX110" fmla="*/ 1972 w 540885"/>
                <a:gd name="connsiteY110" fmla="*/ 279034 h 496091"/>
                <a:gd name="connsiteX111" fmla="*/ 0 w 540885"/>
                <a:gd name="connsiteY111" fmla="*/ 273541 h 496091"/>
                <a:gd name="connsiteX112" fmla="*/ 0 w 540885"/>
                <a:gd name="connsiteY112" fmla="*/ 221425 h 496091"/>
                <a:gd name="connsiteX113" fmla="*/ 1972 w 540885"/>
                <a:gd name="connsiteY113" fmla="*/ 215932 h 496091"/>
                <a:gd name="connsiteX114" fmla="*/ 6480 w 540885"/>
                <a:gd name="connsiteY114" fmla="*/ 212973 h 496091"/>
                <a:gd name="connsiteX115" fmla="*/ 50145 w 540885"/>
                <a:gd name="connsiteY115" fmla="*/ 206213 h 496091"/>
                <a:gd name="connsiteX116" fmla="*/ 59159 w 540885"/>
                <a:gd name="connsiteY116" fmla="*/ 184802 h 496091"/>
                <a:gd name="connsiteX117" fmla="*/ 33806 w 540885"/>
                <a:gd name="connsiteY117" fmla="*/ 152406 h 496091"/>
                <a:gd name="connsiteX118" fmla="*/ 31834 w 540885"/>
                <a:gd name="connsiteY118" fmla="*/ 146772 h 496091"/>
                <a:gd name="connsiteX119" fmla="*/ 33806 w 540885"/>
                <a:gd name="connsiteY119" fmla="*/ 141137 h 496091"/>
                <a:gd name="connsiteX120" fmla="*/ 56906 w 540885"/>
                <a:gd name="connsiteY120" fmla="*/ 116065 h 496091"/>
                <a:gd name="connsiteX121" fmla="*/ 79161 w 540885"/>
                <a:gd name="connsiteY121" fmla="*/ 99444 h 496091"/>
                <a:gd name="connsiteX122" fmla="*/ 85077 w 540885"/>
                <a:gd name="connsiteY122" fmla="*/ 101416 h 496091"/>
                <a:gd name="connsiteX123" fmla="*/ 117474 w 540885"/>
                <a:gd name="connsiteY123" fmla="*/ 126770 h 496091"/>
                <a:gd name="connsiteX124" fmla="*/ 139165 w 540885"/>
                <a:gd name="connsiteY124" fmla="*/ 117755 h 496091"/>
                <a:gd name="connsiteX125" fmla="*/ 145645 w 540885"/>
                <a:gd name="connsiteY125" fmla="*/ 74372 h 496091"/>
                <a:gd name="connsiteX126" fmla="*/ 154096 w 540885"/>
                <a:gd name="connsiteY126" fmla="*/ 67611 h 496091"/>
                <a:gd name="connsiteX127" fmla="*/ 396649 w 540885"/>
                <a:gd name="connsiteY127" fmla="*/ 0 h 496091"/>
                <a:gd name="connsiteX128" fmla="*/ 409608 w 540885"/>
                <a:gd name="connsiteY128" fmla="*/ 13100 h 496091"/>
                <a:gd name="connsiteX129" fmla="*/ 424257 w 540885"/>
                <a:gd name="connsiteY129" fmla="*/ 32116 h 496091"/>
                <a:gd name="connsiteX130" fmla="*/ 432708 w 540885"/>
                <a:gd name="connsiteY130" fmla="*/ 31552 h 496091"/>
                <a:gd name="connsiteX131" fmla="*/ 441160 w 540885"/>
                <a:gd name="connsiteY131" fmla="*/ 32116 h 496091"/>
                <a:gd name="connsiteX132" fmla="*/ 467077 w 540885"/>
                <a:gd name="connsiteY132" fmla="*/ 564 h 496091"/>
                <a:gd name="connsiteX133" fmla="*/ 468767 w 540885"/>
                <a:gd name="connsiteY133" fmla="*/ 0 h 496091"/>
                <a:gd name="connsiteX134" fmla="*/ 503699 w 540885"/>
                <a:gd name="connsiteY134" fmla="*/ 19720 h 496091"/>
                <a:gd name="connsiteX135" fmla="*/ 504826 w 540885"/>
                <a:gd name="connsiteY135" fmla="*/ 21692 h 496091"/>
                <a:gd name="connsiteX136" fmla="*/ 490459 w 540885"/>
                <a:gd name="connsiteY136" fmla="*/ 60568 h 496091"/>
                <a:gd name="connsiteX137" fmla="*/ 498910 w 540885"/>
                <a:gd name="connsiteY137" fmla="*/ 75217 h 496091"/>
                <a:gd name="connsiteX138" fmla="*/ 540885 w 540885"/>
                <a:gd name="connsiteY138" fmla="*/ 83950 h 496091"/>
                <a:gd name="connsiteX139" fmla="*/ 540885 w 540885"/>
                <a:gd name="connsiteY139" fmla="*/ 123390 h 496091"/>
                <a:gd name="connsiteX140" fmla="*/ 498910 w 540885"/>
                <a:gd name="connsiteY140" fmla="*/ 132123 h 496091"/>
                <a:gd name="connsiteX141" fmla="*/ 490459 w 540885"/>
                <a:gd name="connsiteY141" fmla="*/ 146772 h 496091"/>
                <a:gd name="connsiteX142" fmla="*/ 504826 w 540885"/>
                <a:gd name="connsiteY142" fmla="*/ 185648 h 496091"/>
                <a:gd name="connsiteX143" fmla="*/ 503699 w 540885"/>
                <a:gd name="connsiteY143" fmla="*/ 187619 h 496091"/>
                <a:gd name="connsiteX144" fmla="*/ 468767 w 540885"/>
                <a:gd name="connsiteY144" fmla="*/ 207621 h 496091"/>
                <a:gd name="connsiteX145" fmla="*/ 455809 w 540885"/>
                <a:gd name="connsiteY145" fmla="*/ 194381 h 496091"/>
                <a:gd name="connsiteX146" fmla="*/ 441160 w 540885"/>
                <a:gd name="connsiteY146" fmla="*/ 175224 h 496091"/>
                <a:gd name="connsiteX147" fmla="*/ 432708 w 540885"/>
                <a:gd name="connsiteY147" fmla="*/ 175788 h 496091"/>
                <a:gd name="connsiteX148" fmla="*/ 424257 w 540885"/>
                <a:gd name="connsiteY148" fmla="*/ 175224 h 496091"/>
                <a:gd name="connsiteX149" fmla="*/ 409608 w 540885"/>
                <a:gd name="connsiteY149" fmla="*/ 194381 h 496091"/>
                <a:gd name="connsiteX150" fmla="*/ 396649 w 540885"/>
                <a:gd name="connsiteY150" fmla="*/ 207621 h 496091"/>
                <a:gd name="connsiteX151" fmla="*/ 361717 w 540885"/>
                <a:gd name="connsiteY151" fmla="*/ 187619 h 496091"/>
                <a:gd name="connsiteX152" fmla="*/ 360591 w 540885"/>
                <a:gd name="connsiteY152" fmla="*/ 185648 h 496091"/>
                <a:gd name="connsiteX153" fmla="*/ 374958 w 540885"/>
                <a:gd name="connsiteY153" fmla="*/ 146772 h 496091"/>
                <a:gd name="connsiteX154" fmla="*/ 366507 w 540885"/>
                <a:gd name="connsiteY154" fmla="*/ 132123 h 496091"/>
                <a:gd name="connsiteX155" fmla="*/ 324532 w 540885"/>
                <a:gd name="connsiteY155" fmla="*/ 123390 h 496091"/>
                <a:gd name="connsiteX156" fmla="*/ 324532 w 540885"/>
                <a:gd name="connsiteY156" fmla="*/ 83950 h 496091"/>
                <a:gd name="connsiteX157" fmla="*/ 366507 w 540885"/>
                <a:gd name="connsiteY157" fmla="*/ 75217 h 496091"/>
                <a:gd name="connsiteX158" fmla="*/ 374958 w 540885"/>
                <a:gd name="connsiteY158" fmla="*/ 60568 h 496091"/>
                <a:gd name="connsiteX159" fmla="*/ 360591 w 540885"/>
                <a:gd name="connsiteY159" fmla="*/ 21692 h 496091"/>
                <a:gd name="connsiteX160" fmla="*/ 361717 w 540885"/>
                <a:gd name="connsiteY160" fmla="*/ 19720 h 496091"/>
                <a:gd name="connsiteX161" fmla="*/ 371577 w 540885"/>
                <a:gd name="connsiteY161" fmla="*/ 14086 h 496091"/>
                <a:gd name="connsiteX162" fmla="*/ 388198 w 540885"/>
                <a:gd name="connsiteY162" fmla="*/ 4508 h 496091"/>
                <a:gd name="connsiteX163" fmla="*/ 396649 w 540885"/>
                <a:gd name="connsiteY163" fmla="*/ 0 h 49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40885" h="496091">
                  <a:moveTo>
                    <a:pt x="432708" y="356081"/>
                  </a:moveTo>
                  <a:cubicBezTo>
                    <a:pt x="422942" y="356081"/>
                    <a:pt x="414491" y="359650"/>
                    <a:pt x="407355" y="366786"/>
                  </a:cubicBezTo>
                  <a:cubicBezTo>
                    <a:pt x="400218" y="373923"/>
                    <a:pt x="396649" y="382375"/>
                    <a:pt x="396649" y="392140"/>
                  </a:cubicBezTo>
                  <a:cubicBezTo>
                    <a:pt x="396649" y="402094"/>
                    <a:pt x="400171" y="410592"/>
                    <a:pt x="407213" y="417635"/>
                  </a:cubicBezTo>
                  <a:cubicBezTo>
                    <a:pt x="414257" y="424678"/>
                    <a:pt x="422754" y="428199"/>
                    <a:pt x="432708" y="428199"/>
                  </a:cubicBezTo>
                  <a:cubicBezTo>
                    <a:pt x="442662" y="428199"/>
                    <a:pt x="451161" y="424678"/>
                    <a:pt x="458203" y="417635"/>
                  </a:cubicBezTo>
                  <a:cubicBezTo>
                    <a:pt x="465246" y="410592"/>
                    <a:pt x="468767" y="402094"/>
                    <a:pt x="468767" y="392140"/>
                  </a:cubicBezTo>
                  <a:cubicBezTo>
                    <a:pt x="468767" y="382375"/>
                    <a:pt x="465199" y="373923"/>
                    <a:pt x="458063" y="366786"/>
                  </a:cubicBezTo>
                  <a:cubicBezTo>
                    <a:pt x="450925" y="359650"/>
                    <a:pt x="442474" y="356081"/>
                    <a:pt x="432708" y="356081"/>
                  </a:cubicBezTo>
                  <a:close/>
                  <a:moveTo>
                    <a:pt x="396649" y="288471"/>
                  </a:moveTo>
                  <a:cubicBezTo>
                    <a:pt x="398152" y="288471"/>
                    <a:pt x="402471" y="292838"/>
                    <a:pt x="409608" y="301570"/>
                  </a:cubicBezTo>
                  <a:cubicBezTo>
                    <a:pt x="416744" y="310303"/>
                    <a:pt x="421628" y="316642"/>
                    <a:pt x="424257" y="320586"/>
                  </a:cubicBezTo>
                  <a:cubicBezTo>
                    <a:pt x="428013" y="320210"/>
                    <a:pt x="430830" y="320023"/>
                    <a:pt x="432708" y="320023"/>
                  </a:cubicBezTo>
                  <a:cubicBezTo>
                    <a:pt x="434586" y="320023"/>
                    <a:pt x="437403" y="320210"/>
                    <a:pt x="441160" y="320586"/>
                  </a:cubicBezTo>
                  <a:cubicBezTo>
                    <a:pt x="450738" y="307251"/>
                    <a:pt x="459377" y="296734"/>
                    <a:pt x="467077" y="289034"/>
                  </a:cubicBezTo>
                  <a:lnTo>
                    <a:pt x="468767" y="288471"/>
                  </a:lnTo>
                  <a:cubicBezTo>
                    <a:pt x="469518" y="288471"/>
                    <a:pt x="481162" y="295044"/>
                    <a:pt x="503699" y="308190"/>
                  </a:cubicBezTo>
                  <a:cubicBezTo>
                    <a:pt x="504450" y="308754"/>
                    <a:pt x="504826" y="309412"/>
                    <a:pt x="504826" y="310163"/>
                  </a:cubicBezTo>
                  <a:cubicBezTo>
                    <a:pt x="504826" y="314858"/>
                    <a:pt x="500037" y="327816"/>
                    <a:pt x="490459" y="349039"/>
                  </a:cubicBezTo>
                  <a:cubicBezTo>
                    <a:pt x="493651" y="353358"/>
                    <a:pt x="496468" y="358241"/>
                    <a:pt x="498910" y="363688"/>
                  </a:cubicBezTo>
                  <a:cubicBezTo>
                    <a:pt x="526893" y="366505"/>
                    <a:pt x="540885" y="369416"/>
                    <a:pt x="540885" y="372421"/>
                  </a:cubicBezTo>
                  <a:lnTo>
                    <a:pt x="540885" y="411860"/>
                  </a:lnTo>
                  <a:cubicBezTo>
                    <a:pt x="540885" y="414865"/>
                    <a:pt x="526893" y="417776"/>
                    <a:pt x="498910" y="420593"/>
                  </a:cubicBezTo>
                  <a:cubicBezTo>
                    <a:pt x="496657" y="425664"/>
                    <a:pt x="493839" y="430547"/>
                    <a:pt x="490459" y="435242"/>
                  </a:cubicBezTo>
                  <a:cubicBezTo>
                    <a:pt x="500037" y="456464"/>
                    <a:pt x="504826" y="469423"/>
                    <a:pt x="504826" y="474118"/>
                  </a:cubicBezTo>
                  <a:cubicBezTo>
                    <a:pt x="504826" y="474869"/>
                    <a:pt x="504450" y="475527"/>
                    <a:pt x="503699" y="476090"/>
                  </a:cubicBezTo>
                  <a:cubicBezTo>
                    <a:pt x="480787" y="489424"/>
                    <a:pt x="469143" y="496091"/>
                    <a:pt x="468767" y="496091"/>
                  </a:cubicBezTo>
                  <a:cubicBezTo>
                    <a:pt x="467265" y="496091"/>
                    <a:pt x="462945" y="491678"/>
                    <a:pt x="455809" y="482851"/>
                  </a:cubicBezTo>
                  <a:cubicBezTo>
                    <a:pt x="448672" y="474024"/>
                    <a:pt x="443788" y="467639"/>
                    <a:pt x="441160" y="463695"/>
                  </a:cubicBezTo>
                  <a:cubicBezTo>
                    <a:pt x="437403" y="464070"/>
                    <a:pt x="434586" y="464258"/>
                    <a:pt x="432708" y="464258"/>
                  </a:cubicBezTo>
                  <a:cubicBezTo>
                    <a:pt x="430830" y="464258"/>
                    <a:pt x="428013" y="464070"/>
                    <a:pt x="424257" y="463695"/>
                  </a:cubicBezTo>
                  <a:cubicBezTo>
                    <a:pt x="421628" y="467639"/>
                    <a:pt x="416744" y="474024"/>
                    <a:pt x="409608" y="482851"/>
                  </a:cubicBezTo>
                  <a:cubicBezTo>
                    <a:pt x="402471" y="491678"/>
                    <a:pt x="398152" y="496091"/>
                    <a:pt x="396649" y="496091"/>
                  </a:cubicBezTo>
                  <a:cubicBezTo>
                    <a:pt x="396274" y="496091"/>
                    <a:pt x="384629" y="489424"/>
                    <a:pt x="361717" y="476090"/>
                  </a:cubicBezTo>
                  <a:cubicBezTo>
                    <a:pt x="360966" y="475527"/>
                    <a:pt x="360591" y="474869"/>
                    <a:pt x="360591" y="474118"/>
                  </a:cubicBezTo>
                  <a:cubicBezTo>
                    <a:pt x="360591" y="469423"/>
                    <a:pt x="365380" y="456464"/>
                    <a:pt x="374958" y="435242"/>
                  </a:cubicBezTo>
                  <a:cubicBezTo>
                    <a:pt x="371577" y="430547"/>
                    <a:pt x="368760" y="425664"/>
                    <a:pt x="366507" y="420593"/>
                  </a:cubicBezTo>
                  <a:cubicBezTo>
                    <a:pt x="338523" y="417776"/>
                    <a:pt x="324532" y="414865"/>
                    <a:pt x="324532" y="411860"/>
                  </a:cubicBezTo>
                  <a:lnTo>
                    <a:pt x="324532" y="372421"/>
                  </a:lnTo>
                  <a:cubicBezTo>
                    <a:pt x="324532" y="369416"/>
                    <a:pt x="338523" y="366505"/>
                    <a:pt x="366507" y="363688"/>
                  </a:cubicBezTo>
                  <a:cubicBezTo>
                    <a:pt x="368948" y="358241"/>
                    <a:pt x="371765" y="353358"/>
                    <a:pt x="374958" y="349039"/>
                  </a:cubicBezTo>
                  <a:cubicBezTo>
                    <a:pt x="365380" y="327816"/>
                    <a:pt x="360591" y="314858"/>
                    <a:pt x="360591" y="310163"/>
                  </a:cubicBezTo>
                  <a:cubicBezTo>
                    <a:pt x="360591" y="309412"/>
                    <a:pt x="360966" y="308754"/>
                    <a:pt x="361717" y="308190"/>
                  </a:cubicBezTo>
                  <a:cubicBezTo>
                    <a:pt x="362468" y="307815"/>
                    <a:pt x="365755" y="305937"/>
                    <a:pt x="371577" y="302557"/>
                  </a:cubicBezTo>
                  <a:cubicBezTo>
                    <a:pt x="377399" y="299176"/>
                    <a:pt x="382939" y="295983"/>
                    <a:pt x="388198" y="292978"/>
                  </a:cubicBezTo>
                  <a:cubicBezTo>
                    <a:pt x="393457" y="289974"/>
                    <a:pt x="396274" y="288471"/>
                    <a:pt x="396649" y="288471"/>
                  </a:cubicBezTo>
                  <a:close/>
                  <a:moveTo>
                    <a:pt x="180295" y="175788"/>
                  </a:moveTo>
                  <a:cubicBezTo>
                    <a:pt x="160387" y="175788"/>
                    <a:pt x="143391" y="182830"/>
                    <a:pt x="129305" y="196916"/>
                  </a:cubicBezTo>
                  <a:cubicBezTo>
                    <a:pt x="115220" y="211002"/>
                    <a:pt x="108177" y="227998"/>
                    <a:pt x="108177" y="247906"/>
                  </a:cubicBezTo>
                  <a:cubicBezTo>
                    <a:pt x="108177" y="267813"/>
                    <a:pt x="115220" y="284810"/>
                    <a:pt x="129305" y="298895"/>
                  </a:cubicBezTo>
                  <a:cubicBezTo>
                    <a:pt x="143391" y="312981"/>
                    <a:pt x="160387" y="320024"/>
                    <a:pt x="180295" y="320024"/>
                  </a:cubicBezTo>
                  <a:cubicBezTo>
                    <a:pt x="200202" y="320024"/>
                    <a:pt x="217199" y="312981"/>
                    <a:pt x="231285" y="298895"/>
                  </a:cubicBezTo>
                  <a:cubicBezTo>
                    <a:pt x="245370" y="284810"/>
                    <a:pt x="252413" y="267813"/>
                    <a:pt x="252413" y="247906"/>
                  </a:cubicBezTo>
                  <a:cubicBezTo>
                    <a:pt x="252413" y="227998"/>
                    <a:pt x="245370" y="211002"/>
                    <a:pt x="231285" y="196916"/>
                  </a:cubicBezTo>
                  <a:cubicBezTo>
                    <a:pt x="217199" y="182830"/>
                    <a:pt x="200202" y="175788"/>
                    <a:pt x="180295" y="175788"/>
                  </a:cubicBezTo>
                  <a:close/>
                  <a:moveTo>
                    <a:pt x="432708" y="67611"/>
                  </a:moveTo>
                  <a:cubicBezTo>
                    <a:pt x="422942" y="67611"/>
                    <a:pt x="414491" y="71179"/>
                    <a:pt x="407355" y="78316"/>
                  </a:cubicBezTo>
                  <a:cubicBezTo>
                    <a:pt x="400218" y="85453"/>
                    <a:pt x="396649" y="93904"/>
                    <a:pt x="396649" y="103670"/>
                  </a:cubicBezTo>
                  <a:cubicBezTo>
                    <a:pt x="396649" y="113624"/>
                    <a:pt x="400171" y="122122"/>
                    <a:pt x="407213" y="129165"/>
                  </a:cubicBezTo>
                  <a:cubicBezTo>
                    <a:pt x="414257" y="136207"/>
                    <a:pt x="422754" y="139729"/>
                    <a:pt x="432708" y="139729"/>
                  </a:cubicBezTo>
                  <a:cubicBezTo>
                    <a:pt x="442662" y="139729"/>
                    <a:pt x="451161" y="136207"/>
                    <a:pt x="458203" y="129165"/>
                  </a:cubicBezTo>
                  <a:cubicBezTo>
                    <a:pt x="465246" y="122122"/>
                    <a:pt x="468767" y="113624"/>
                    <a:pt x="468767" y="103670"/>
                  </a:cubicBezTo>
                  <a:cubicBezTo>
                    <a:pt x="468767" y="93904"/>
                    <a:pt x="465199" y="85453"/>
                    <a:pt x="458063" y="78316"/>
                  </a:cubicBezTo>
                  <a:cubicBezTo>
                    <a:pt x="450925" y="71179"/>
                    <a:pt x="442474" y="67611"/>
                    <a:pt x="432708" y="67611"/>
                  </a:cubicBezTo>
                  <a:close/>
                  <a:moveTo>
                    <a:pt x="154096" y="67611"/>
                  </a:moveTo>
                  <a:lnTo>
                    <a:pt x="206494" y="67611"/>
                  </a:lnTo>
                  <a:cubicBezTo>
                    <a:pt x="208559" y="67611"/>
                    <a:pt x="210438" y="68315"/>
                    <a:pt x="212128" y="69724"/>
                  </a:cubicBezTo>
                  <a:cubicBezTo>
                    <a:pt x="213818" y="71132"/>
                    <a:pt x="214757" y="72775"/>
                    <a:pt x="214945" y="74654"/>
                  </a:cubicBezTo>
                  <a:lnTo>
                    <a:pt x="221425" y="117755"/>
                  </a:lnTo>
                  <a:cubicBezTo>
                    <a:pt x="227810" y="119633"/>
                    <a:pt x="234853" y="122545"/>
                    <a:pt x="242553" y="126488"/>
                  </a:cubicBezTo>
                  <a:lnTo>
                    <a:pt x="275795" y="101416"/>
                  </a:lnTo>
                  <a:cubicBezTo>
                    <a:pt x="277297" y="100102"/>
                    <a:pt x="279175" y="99444"/>
                    <a:pt x="281429" y="99444"/>
                  </a:cubicBezTo>
                  <a:cubicBezTo>
                    <a:pt x="283494" y="99444"/>
                    <a:pt x="285466" y="100195"/>
                    <a:pt x="287345" y="101698"/>
                  </a:cubicBezTo>
                  <a:cubicBezTo>
                    <a:pt x="314389" y="126676"/>
                    <a:pt x="327911" y="141701"/>
                    <a:pt x="327911" y="146772"/>
                  </a:cubicBezTo>
                  <a:cubicBezTo>
                    <a:pt x="327911" y="148462"/>
                    <a:pt x="327254" y="150246"/>
                    <a:pt x="325939" y="152124"/>
                  </a:cubicBezTo>
                  <a:cubicBezTo>
                    <a:pt x="323685" y="155129"/>
                    <a:pt x="319742" y="160200"/>
                    <a:pt x="314108" y="167337"/>
                  </a:cubicBezTo>
                  <a:cubicBezTo>
                    <a:pt x="308473" y="174473"/>
                    <a:pt x="304248" y="180107"/>
                    <a:pt x="301430" y="184239"/>
                  </a:cubicBezTo>
                  <a:cubicBezTo>
                    <a:pt x="305749" y="193254"/>
                    <a:pt x="308942" y="200954"/>
                    <a:pt x="311008" y="207339"/>
                  </a:cubicBezTo>
                  <a:lnTo>
                    <a:pt x="353828" y="213819"/>
                  </a:lnTo>
                  <a:cubicBezTo>
                    <a:pt x="355706" y="214194"/>
                    <a:pt x="357303" y="215180"/>
                    <a:pt x="358618" y="216777"/>
                  </a:cubicBezTo>
                  <a:cubicBezTo>
                    <a:pt x="359932" y="218373"/>
                    <a:pt x="360590" y="220204"/>
                    <a:pt x="360590" y="222270"/>
                  </a:cubicBezTo>
                  <a:lnTo>
                    <a:pt x="360590" y="274386"/>
                  </a:lnTo>
                  <a:cubicBezTo>
                    <a:pt x="360590" y="276265"/>
                    <a:pt x="359932" y="278095"/>
                    <a:pt x="358618" y="279880"/>
                  </a:cubicBezTo>
                  <a:cubicBezTo>
                    <a:pt x="357303" y="281664"/>
                    <a:pt x="355800" y="282650"/>
                    <a:pt x="354110" y="282838"/>
                  </a:cubicBezTo>
                  <a:lnTo>
                    <a:pt x="310445" y="289599"/>
                  </a:lnTo>
                  <a:cubicBezTo>
                    <a:pt x="308379" y="296172"/>
                    <a:pt x="305374" y="303309"/>
                    <a:pt x="301430" y="311009"/>
                  </a:cubicBezTo>
                  <a:cubicBezTo>
                    <a:pt x="307816" y="320024"/>
                    <a:pt x="316267" y="330822"/>
                    <a:pt x="326784" y="343405"/>
                  </a:cubicBezTo>
                  <a:cubicBezTo>
                    <a:pt x="328099" y="345283"/>
                    <a:pt x="328756" y="347161"/>
                    <a:pt x="328756" y="349040"/>
                  </a:cubicBezTo>
                  <a:cubicBezTo>
                    <a:pt x="328756" y="351293"/>
                    <a:pt x="328099" y="353077"/>
                    <a:pt x="326784" y="354392"/>
                  </a:cubicBezTo>
                  <a:cubicBezTo>
                    <a:pt x="322465" y="360026"/>
                    <a:pt x="314717" y="368431"/>
                    <a:pt x="303543" y="379605"/>
                  </a:cubicBezTo>
                  <a:cubicBezTo>
                    <a:pt x="292368" y="390780"/>
                    <a:pt x="284997" y="396367"/>
                    <a:pt x="281429" y="396367"/>
                  </a:cubicBezTo>
                  <a:cubicBezTo>
                    <a:pt x="279363" y="396367"/>
                    <a:pt x="277391" y="395710"/>
                    <a:pt x="275513" y="394395"/>
                  </a:cubicBezTo>
                  <a:lnTo>
                    <a:pt x="243117" y="369041"/>
                  </a:lnTo>
                  <a:cubicBezTo>
                    <a:pt x="236167" y="372609"/>
                    <a:pt x="228937" y="375520"/>
                    <a:pt x="221425" y="377774"/>
                  </a:cubicBezTo>
                  <a:cubicBezTo>
                    <a:pt x="219359" y="398057"/>
                    <a:pt x="217199" y="412612"/>
                    <a:pt x="214945" y="421439"/>
                  </a:cubicBezTo>
                  <a:cubicBezTo>
                    <a:pt x="213630" y="425947"/>
                    <a:pt x="210813" y="428200"/>
                    <a:pt x="206494" y="428200"/>
                  </a:cubicBezTo>
                  <a:lnTo>
                    <a:pt x="154096" y="428200"/>
                  </a:lnTo>
                  <a:cubicBezTo>
                    <a:pt x="152030" y="428200"/>
                    <a:pt x="150152" y="427496"/>
                    <a:pt x="148462" y="426087"/>
                  </a:cubicBezTo>
                  <a:cubicBezTo>
                    <a:pt x="146771" y="424679"/>
                    <a:pt x="145832" y="423035"/>
                    <a:pt x="145645" y="421158"/>
                  </a:cubicBezTo>
                  <a:lnTo>
                    <a:pt x="139165" y="378056"/>
                  </a:lnTo>
                  <a:cubicBezTo>
                    <a:pt x="132779" y="376178"/>
                    <a:pt x="125737" y="373267"/>
                    <a:pt x="118037" y="369323"/>
                  </a:cubicBezTo>
                  <a:lnTo>
                    <a:pt x="84795" y="394395"/>
                  </a:lnTo>
                  <a:cubicBezTo>
                    <a:pt x="83480" y="395710"/>
                    <a:pt x="81602" y="396367"/>
                    <a:pt x="79161" y="396367"/>
                  </a:cubicBezTo>
                  <a:cubicBezTo>
                    <a:pt x="77095" y="396367"/>
                    <a:pt x="75123" y="395616"/>
                    <a:pt x="73245" y="394113"/>
                  </a:cubicBezTo>
                  <a:cubicBezTo>
                    <a:pt x="46201" y="369135"/>
                    <a:pt x="32679" y="354110"/>
                    <a:pt x="32679" y="349040"/>
                  </a:cubicBezTo>
                  <a:cubicBezTo>
                    <a:pt x="32679" y="347349"/>
                    <a:pt x="33336" y="345565"/>
                    <a:pt x="34651" y="343687"/>
                  </a:cubicBezTo>
                  <a:cubicBezTo>
                    <a:pt x="36529" y="341058"/>
                    <a:pt x="40378" y="336081"/>
                    <a:pt x="46201" y="328756"/>
                  </a:cubicBezTo>
                  <a:cubicBezTo>
                    <a:pt x="52022" y="321432"/>
                    <a:pt x="56436" y="315704"/>
                    <a:pt x="59441" y="311572"/>
                  </a:cubicBezTo>
                  <a:cubicBezTo>
                    <a:pt x="55122" y="303309"/>
                    <a:pt x="51835" y="295608"/>
                    <a:pt x="49581" y="288472"/>
                  </a:cubicBezTo>
                  <a:lnTo>
                    <a:pt x="6761" y="281711"/>
                  </a:lnTo>
                  <a:cubicBezTo>
                    <a:pt x="4883" y="281523"/>
                    <a:pt x="3286" y="280631"/>
                    <a:pt x="1972" y="279034"/>
                  </a:cubicBezTo>
                  <a:cubicBezTo>
                    <a:pt x="657" y="277438"/>
                    <a:pt x="0" y="275607"/>
                    <a:pt x="0" y="273541"/>
                  </a:cubicBezTo>
                  <a:lnTo>
                    <a:pt x="0" y="221425"/>
                  </a:lnTo>
                  <a:cubicBezTo>
                    <a:pt x="0" y="219547"/>
                    <a:pt x="657" y="217715"/>
                    <a:pt x="1972" y="215932"/>
                  </a:cubicBezTo>
                  <a:cubicBezTo>
                    <a:pt x="3286" y="214147"/>
                    <a:pt x="4789" y="213161"/>
                    <a:pt x="6480" y="212973"/>
                  </a:cubicBezTo>
                  <a:lnTo>
                    <a:pt x="50145" y="206213"/>
                  </a:lnTo>
                  <a:cubicBezTo>
                    <a:pt x="52210" y="199639"/>
                    <a:pt x="55215" y="192503"/>
                    <a:pt x="59159" y="184802"/>
                  </a:cubicBezTo>
                  <a:cubicBezTo>
                    <a:pt x="52774" y="175788"/>
                    <a:pt x="44322" y="164989"/>
                    <a:pt x="33806" y="152406"/>
                  </a:cubicBezTo>
                  <a:cubicBezTo>
                    <a:pt x="32490" y="150340"/>
                    <a:pt x="31834" y="148462"/>
                    <a:pt x="31834" y="146772"/>
                  </a:cubicBezTo>
                  <a:cubicBezTo>
                    <a:pt x="31834" y="144518"/>
                    <a:pt x="32490" y="142640"/>
                    <a:pt x="33806" y="141137"/>
                  </a:cubicBezTo>
                  <a:cubicBezTo>
                    <a:pt x="37937" y="135503"/>
                    <a:pt x="45637" y="127146"/>
                    <a:pt x="56906" y="116065"/>
                  </a:cubicBezTo>
                  <a:cubicBezTo>
                    <a:pt x="68174" y="104984"/>
                    <a:pt x="75592" y="99444"/>
                    <a:pt x="79161" y="99444"/>
                  </a:cubicBezTo>
                  <a:cubicBezTo>
                    <a:pt x="81226" y="99444"/>
                    <a:pt x="83198" y="100102"/>
                    <a:pt x="85077" y="101416"/>
                  </a:cubicBezTo>
                  <a:lnTo>
                    <a:pt x="117474" y="126770"/>
                  </a:lnTo>
                  <a:cubicBezTo>
                    <a:pt x="123859" y="123390"/>
                    <a:pt x="131089" y="120385"/>
                    <a:pt x="139165" y="117755"/>
                  </a:cubicBezTo>
                  <a:cubicBezTo>
                    <a:pt x="141231" y="97472"/>
                    <a:pt x="143391" y="83011"/>
                    <a:pt x="145645" y="74372"/>
                  </a:cubicBezTo>
                  <a:cubicBezTo>
                    <a:pt x="146959" y="69865"/>
                    <a:pt x="149776" y="67611"/>
                    <a:pt x="154096" y="67611"/>
                  </a:cubicBezTo>
                  <a:close/>
                  <a:moveTo>
                    <a:pt x="396649" y="0"/>
                  </a:moveTo>
                  <a:cubicBezTo>
                    <a:pt x="398152" y="0"/>
                    <a:pt x="402471" y="4367"/>
                    <a:pt x="409608" y="13100"/>
                  </a:cubicBezTo>
                  <a:cubicBezTo>
                    <a:pt x="416744" y="21833"/>
                    <a:pt x="421628" y="28171"/>
                    <a:pt x="424257" y="32116"/>
                  </a:cubicBezTo>
                  <a:cubicBezTo>
                    <a:pt x="428013" y="31740"/>
                    <a:pt x="430830" y="31552"/>
                    <a:pt x="432708" y="31552"/>
                  </a:cubicBezTo>
                  <a:cubicBezTo>
                    <a:pt x="434586" y="31552"/>
                    <a:pt x="437403" y="31740"/>
                    <a:pt x="441160" y="32116"/>
                  </a:cubicBezTo>
                  <a:cubicBezTo>
                    <a:pt x="450738" y="18781"/>
                    <a:pt x="459377" y="8264"/>
                    <a:pt x="467077" y="564"/>
                  </a:cubicBezTo>
                  <a:lnTo>
                    <a:pt x="468767" y="0"/>
                  </a:lnTo>
                  <a:cubicBezTo>
                    <a:pt x="469518" y="0"/>
                    <a:pt x="481162" y="6574"/>
                    <a:pt x="503699" y="19720"/>
                  </a:cubicBezTo>
                  <a:cubicBezTo>
                    <a:pt x="504450" y="20284"/>
                    <a:pt x="504826" y="20941"/>
                    <a:pt x="504826" y="21692"/>
                  </a:cubicBezTo>
                  <a:cubicBezTo>
                    <a:pt x="504826" y="26387"/>
                    <a:pt x="500037" y="39346"/>
                    <a:pt x="490459" y="60568"/>
                  </a:cubicBezTo>
                  <a:cubicBezTo>
                    <a:pt x="493651" y="64888"/>
                    <a:pt x="496468" y="69771"/>
                    <a:pt x="498910" y="75217"/>
                  </a:cubicBezTo>
                  <a:cubicBezTo>
                    <a:pt x="526893" y="78034"/>
                    <a:pt x="540885" y="80945"/>
                    <a:pt x="540885" y="83950"/>
                  </a:cubicBezTo>
                  <a:lnTo>
                    <a:pt x="540885" y="123390"/>
                  </a:lnTo>
                  <a:cubicBezTo>
                    <a:pt x="540885" y="126395"/>
                    <a:pt x="526893" y="129305"/>
                    <a:pt x="498910" y="132123"/>
                  </a:cubicBezTo>
                  <a:cubicBezTo>
                    <a:pt x="496657" y="137194"/>
                    <a:pt x="493839" y="142076"/>
                    <a:pt x="490459" y="146772"/>
                  </a:cubicBezTo>
                  <a:cubicBezTo>
                    <a:pt x="500037" y="167994"/>
                    <a:pt x="504826" y="180952"/>
                    <a:pt x="504826" y="185648"/>
                  </a:cubicBezTo>
                  <a:cubicBezTo>
                    <a:pt x="504826" y="186399"/>
                    <a:pt x="504450" y="187056"/>
                    <a:pt x="503699" y="187619"/>
                  </a:cubicBezTo>
                  <a:cubicBezTo>
                    <a:pt x="480787" y="200954"/>
                    <a:pt x="469143" y="207621"/>
                    <a:pt x="468767" y="207621"/>
                  </a:cubicBezTo>
                  <a:cubicBezTo>
                    <a:pt x="467265" y="207621"/>
                    <a:pt x="462945" y="203207"/>
                    <a:pt x="455809" y="194381"/>
                  </a:cubicBezTo>
                  <a:cubicBezTo>
                    <a:pt x="448672" y="185554"/>
                    <a:pt x="443788" y="179168"/>
                    <a:pt x="441160" y="175224"/>
                  </a:cubicBezTo>
                  <a:cubicBezTo>
                    <a:pt x="437403" y="175600"/>
                    <a:pt x="434586" y="175788"/>
                    <a:pt x="432708" y="175788"/>
                  </a:cubicBezTo>
                  <a:cubicBezTo>
                    <a:pt x="430830" y="175788"/>
                    <a:pt x="428013" y="175600"/>
                    <a:pt x="424257" y="175224"/>
                  </a:cubicBezTo>
                  <a:cubicBezTo>
                    <a:pt x="421628" y="179168"/>
                    <a:pt x="416744" y="185554"/>
                    <a:pt x="409608" y="194381"/>
                  </a:cubicBezTo>
                  <a:cubicBezTo>
                    <a:pt x="402471" y="203207"/>
                    <a:pt x="398152" y="207621"/>
                    <a:pt x="396649" y="207621"/>
                  </a:cubicBezTo>
                  <a:cubicBezTo>
                    <a:pt x="396274" y="207621"/>
                    <a:pt x="384629" y="200954"/>
                    <a:pt x="361717" y="187619"/>
                  </a:cubicBezTo>
                  <a:cubicBezTo>
                    <a:pt x="360966" y="187056"/>
                    <a:pt x="360591" y="186399"/>
                    <a:pt x="360591" y="185648"/>
                  </a:cubicBezTo>
                  <a:cubicBezTo>
                    <a:pt x="360591" y="180952"/>
                    <a:pt x="365380" y="167994"/>
                    <a:pt x="374958" y="146772"/>
                  </a:cubicBezTo>
                  <a:cubicBezTo>
                    <a:pt x="371577" y="142076"/>
                    <a:pt x="368760" y="137194"/>
                    <a:pt x="366507" y="132123"/>
                  </a:cubicBezTo>
                  <a:cubicBezTo>
                    <a:pt x="338523" y="129305"/>
                    <a:pt x="324532" y="126395"/>
                    <a:pt x="324532" y="123390"/>
                  </a:cubicBezTo>
                  <a:lnTo>
                    <a:pt x="324532" y="83950"/>
                  </a:lnTo>
                  <a:cubicBezTo>
                    <a:pt x="324532" y="80945"/>
                    <a:pt x="338523" y="78034"/>
                    <a:pt x="366507" y="75217"/>
                  </a:cubicBezTo>
                  <a:cubicBezTo>
                    <a:pt x="368948" y="69771"/>
                    <a:pt x="371765" y="64888"/>
                    <a:pt x="374958" y="60568"/>
                  </a:cubicBezTo>
                  <a:cubicBezTo>
                    <a:pt x="365380" y="39346"/>
                    <a:pt x="360591" y="26387"/>
                    <a:pt x="360591" y="21692"/>
                  </a:cubicBezTo>
                  <a:cubicBezTo>
                    <a:pt x="360591" y="20941"/>
                    <a:pt x="360966" y="20284"/>
                    <a:pt x="361717" y="19720"/>
                  </a:cubicBezTo>
                  <a:cubicBezTo>
                    <a:pt x="362468" y="19345"/>
                    <a:pt x="365755" y="17467"/>
                    <a:pt x="371577" y="14086"/>
                  </a:cubicBezTo>
                  <a:cubicBezTo>
                    <a:pt x="377399" y="10705"/>
                    <a:pt x="382939" y="7513"/>
                    <a:pt x="388198" y="4508"/>
                  </a:cubicBezTo>
                  <a:cubicBezTo>
                    <a:pt x="393457" y="1503"/>
                    <a:pt x="396274" y="0"/>
                    <a:pt x="396649" y="0"/>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7" name="CuadroTexto 156">
              <a:extLst>
                <a:ext uri="{FF2B5EF4-FFF2-40B4-BE49-F238E27FC236}">
                  <a16:creationId xmlns:a16="http://schemas.microsoft.com/office/drawing/2014/main" id="{89AC4E8A-C689-8976-CDCC-763AAED5FED3}"/>
                </a:ext>
              </a:extLst>
            </p:cNvPr>
            <p:cNvSpPr txBox="1"/>
            <p:nvPr/>
          </p:nvSpPr>
          <p:spPr>
            <a:xfrm>
              <a:off x="9908025" y="4293850"/>
              <a:ext cx="1179209"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Automatización de ejecuciones</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58" name="Freeform 345">
              <a:extLst>
                <a:ext uri="{FF2B5EF4-FFF2-40B4-BE49-F238E27FC236}">
                  <a16:creationId xmlns:a16="http://schemas.microsoft.com/office/drawing/2014/main" id="{D449783E-B608-1411-3500-D7DDCFCA9D94}"/>
                </a:ext>
              </a:extLst>
            </p:cNvPr>
            <p:cNvSpPr/>
            <p:nvPr/>
          </p:nvSpPr>
          <p:spPr>
            <a:xfrm>
              <a:off x="9403038" y="4954368"/>
              <a:ext cx="360000" cy="360000"/>
            </a:xfrm>
            <a:custGeom>
              <a:avLst/>
              <a:gdLst/>
              <a:ahLst/>
              <a:cxnLst/>
              <a:rect l="l" t="t" r="r" b="b"/>
              <a:pathLst>
                <a:path w="432707" h="432707">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216072" y="70991"/>
                  </a:moveTo>
                  <a:cubicBezTo>
                    <a:pt x="211001" y="70991"/>
                    <a:pt x="206776" y="72681"/>
                    <a:pt x="203395" y="76062"/>
                  </a:cubicBezTo>
                  <a:lnTo>
                    <a:pt x="101416" y="178041"/>
                  </a:lnTo>
                  <a:lnTo>
                    <a:pt x="75780" y="203677"/>
                  </a:lnTo>
                  <a:cubicBezTo>
                    <a:pt x="72400" y="207057"/>
                    <a:pt x="70710" y="211283"/>
                    <a:pt x="70710" y="216354"/>
                  </a:cubicBezTo>
                  <a:cubicBezTo>
                    <a:pt x="70710" y="221424"/>
                    <a:pt x="72400" y="225650"/>
                    <a:pt x="75780" y="229031"/>
                  </a:cubicBezTo>
                  <a:lnTo>
                    <a:pt x="101416" y="254666"/>
                  </a:lnTo>
                  <a:lnTo>
                    <a:pt x="203395" y="356645"/>
                  </a:lnTo>
                  <a:cubicBezTo>
                    <a:pt x="206776" y="360026"/>
                    <a:pt x="211001" y="361716"/>
                    <a:pt x="216072" y="361716"/>
                  </a:cubicBezTo>
                  <a:cubicBezTo>
                    <a:pt x="221143" y="361716"/>
                    <a:pt x="225368" y="360026"/>
                    <a:pt x="228749" y="356645"/>
                  </a:cubicBezTo>
                  <a:lnTo>
                    <a:pt x="254384" y="331010"/>
                  </a:lnTo>
                  <a:cubicBezTo>
                    <a:pt x="257765" y="327629"/>
                    <a:pt x="259455" y="323404"/>
                    <a:pt x="259455" y="318333"/>
                  </a:cubicBezTo>
                  <a:cubicBezTo>
                    <a:pt x="259455" y="313262"/>
                    <a:pt x="257765" y="309036"/>
                    <a:pt x="254384" y="305656"/>
                  </a:cubicBezTo>
                  <a:lnTo>
                    <a:pt x="201141" y="252412"/>
                  </a:lnTo>
                  <a:lnTo>
                    <a:pt x="342560" y="252412"/>
                  </a:lnTo>
                  <a:cubicBezTo>
                    <a:pt x="347443" y="252412"/>
                    <a:pt x="351668" y="250628"/>
                    <a:pt x="355237" y="247060"/>
                  </a:cubicBezTo>
                  <a:cubicBezTo>
                    <a:pt x="358805" y="243492"/>
                    <a:pt x="360590" y="239266"/>
                    <a:pt x="360590" y="234383"/>
                  </a:cubicBezTo>
                  <a:lnTo>
                    <a:pt x="360590" y="198324"/>
                  </a:lnTo>
                  <a:cubicBezTo>
                    <a:pt x="360590" y="193441"/>
                    <a:pt x="358805" y="189215"/>
                    <a:pt x="355237" y="185647"/>
                  </a:cubicBezTo>
                  <a:cubicBezTo>
                    <a:pt x="351668" y="182079"/>
                    <a:pt x="347443" y="180295"/>
                    <a:pt x="342560" y="180295"/>
                  </a:cubicBezTo>
                  <a:lnTo>
                    <a:pt x="201141" y="180295"/>
                  </a:lnTo>
                  <a:lnTo>
                    <a:pt x="254384" y="127051"/>
                  </a:lnTo>
                  <a:cubicBezTo>
                    <a:pt x="257953" y="123483"/>
                    <a:pt x="259737" y="119257"/>
                    <a:pt x="259737" y="114374"/>
                  </a:cubicBezTo>
                  <a:cubicBezTo>
                    <a:pt x="259737" y="109491"/>
                    <a:pt x="257953" y="105266"/>
                    <a:pt x="254384" y="101697"/>
                  </a:cubicBezTo>
                  <a:lnTo>
                    <a:pt x="228749" y="76062"/>
                  </a:lnTo>
                  <a:cubicBezTo>
                    <a:pt x="225368" y="72681"/>
                    <a:pt x="221143" y="70991"/>
                    <a:pt x="216072" y="70991"/>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9" name="CuadroTexto 158">
              <a:extLst>
                <a:ext uri="{FF2B5EF4-FFF2-40B4-BE49-F238E27FC236}">
                  <a16:creationId xmlns:a16="http://schemas.microsoft.com/office/drawing/2014/main" id="{B123A996-91BB-66EA-4871-950A97992E9C}"/>
                </a:ext>
              </a:extLst>
            </p:cNvPr>
            <p:cNvSpPr txBox="1"/>
            <p:nvPr/>
          </p:nvSpPr>
          <p:spPr>
            <a:xfrm>
              <a:off x="9908762" y="4935161"/>
              <a:ext cx="975655"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Regresión</a:t>
              </a:r>
            </a:p>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Continua</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60" name="CuadroTexto 159">
              <a:extLst>
                <a:ext uri="{FF2B5EF4-FFF2-40B4-BE49-F238E27FC236}">
                  <a16:creationId xmlns:a16="http://schemas.microsoft.com/office/drawing/2014/main" id="{654A8B00-8DFC-ABEC-EA08-99B5DD5A00A5}"/>
                </a:ext>
              </a:extLst>
            </p:cNvPr>
            <p:cNvSpPr txBox="1"/>
            <p:nvPr/>
          </p:nvSpPr>
          <p:spPr>
            <a:xfrm>
              <a:off x="3213552" y="3560936"/>
              <a:ext cx="1816716"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a:ln>
                    <a:noFill/>
                  </a:ln>
                  <a:solidFill>
                    <a:schemeClr val="accent5"/>
                  </a:solidFill>
                  <a:effectLst/>
                  <a:uLnTx/>
                  <a:uFillTx/>
                  <a:latin typeface="Calibri" panose="020F0502020204030204"/>
                </a:rPr>
                <a:t>Marco de Trabajo Híbrido</a:t>
              </a:r>
              <a:endParaRPr kumimoji="0" lang="es-ES" sz="1200" b="0" i="0" u="none" strike="noStrike" kern="0" cap="none" spc="0" normalizeH="0" baseline="0" noProof="0">
                <a:ln>
                  <a:noFill/>
                </a:ln>
                <a:solidFill>
                  <a:schemeClr val="accent5"/>
                </a:solidFill>
                <a:effectLst/>
                <a:uLnTx/>
                <a:uFillTx/>
                <a:latin typeface="Calibri" panose="020F0502020204030204"/>
              </a:endParaRPr>
            </a:p>
          </p:txBody>
        </p:sp>
        <p:sp>
          <p:nvSpPr>
            <p:cNvPr id="161" name="CuadroTexto 160">
              <a:extLst>
                <a:ext uri="{FF2B5EF4-FFF2-40B4-BE49-F238E27FC236}">
                  <a16:creationId xmlns:a16="http://schemas.microsoft.com/office/drawing/2014/main" id="{193AC16B-C20D-6799-8DD3-390B6808895D}"/>
                </a:ext>
              </a:extLst>
            </p:cNvPr>
            <p:cNvSpPr txBox="1"/>
            <p:nvPr/>
          </p:nvSpPr>
          <p:spPr>
            <a:xfrm>
              <a:off x="3241710" y="2720298"/>
              <a:ext cx="843244"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a:ln>
                    <a:noFill/>
                  </a:ln>
                  <a:solidFill>
                    <a:schemeClr val="accent5"/>
                  </a:solidFill>
                  <a:effectLst/>
                  <a:uLnTx/>
                  <a:uFillTx/>
                  <a:latin typeface="Calibri" panose="020F0502020204030204"/>
                </a:rPr>
                <a:t>Capa de </a:t>
              </a:r>
            </a:p>
            <a:p>
              <a:pPr marL="0" marR="0" lvl="0" indent="0"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a:ln>
                    <a:noFill/>
                  </a:ln>
                  <a:solidFill>
                    <a:schemeClr val="accent5"/>
                  </a:solidFill>
                  <a:effectLst/>
                  <a:uLnTx/>
                  <a:uFillTx/>
                  <a:latin typeface="Calibri" panose="020F0502020204030204"/>
                </a:rPr>
                <a:t>Soporte TI</a:t>
              </a:r>
            </a:p>
          </p:txBody>
        </p:sp>
        <p:sp>
          <p:nvSpPr>
            <p:cNvPr id="162" name="Rectángulo 161">
              <a:extLst>
                <a:ext uri="{FF2B5EF4-FFF2-40B4-BE49-F238E27FC236}">
                  <a16:creationId xmlns:a16="http://schemas.microsoft.com/office/drawing/2014/main" id="{CBD45D66-A2A8-0B1E-B354-033A90BC203C}"/>
                </a:ext>
              </a:extLst>
            </p:cNvPr>
            <p:cNvSpPr/>
            <p:nvPr/>
          </p:nvSpPr>
          <p:spPr>
            <a:xfrm>
              <a:off x="4130226" y="2731704"/>
              <a:ext cx="1390581" cy="518990"/>
            </a:xfrm>
            <a:prstGeom prst="rect">
              <a:avLst/>
            </a:prstGeom>
            <a:solidFill>
              <a:srgbClr val="4472C4">
                <a:lumMod val="50000"/>
              </a:srgbClr>
            </a:solidFill>
            <a:ln w="12700" cap="flat" cmpd="sng" algn="ctr">
              <a:solidFill>
                <a:srgbClr val="4472C4">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63" name="CuadroTexto 162">
              <a:extLst>
                <a:ext uri="{FF2B5EF4-FFF2-40B4-BE49-F238E27FC236}">
                  <a16:creationId xmlns:a16="http://schemas.microsoft.com/office/drawing/2014/main" id="{73558BCA-564A-F06E-B11F-001C2752AB3F}"/>
                </a:ext>
              </a:extLst>
            </p:cNvPr>
            <p:cNvSpPr txBox="1"/>
            <p:nvPr/>
          </p:nvSpPr>
          <p:spPr>
            <a:xfrm>
              <a:off x="4792338" y="2878285"/>
              <a:ext cx="717805" cy="246221"/>
            </a:xfrm>
            <a:prstGeom prst="rect">
              <a:avLst/>
            </a:prstGeom>
            <a:solidFill>
              <a:srgbClr val="4472C4">
                <a:lumMod val="50000"/>
              </a:srgbClr>
            </a:solidFill>
            <a:ln>
              <a:solidFill>
                <a:srgbClr val="4472C4">
                  <a:lumMod val="50000"/>
                </a:srgbClr>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Gestión</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64" name="Rectángulo 163">
              <a:extLst>
                <a:ext uri="{FF2B5EF4-FFF2-40B4-BE49-F238E27FC236}">
                  <a16:creationId xmlns:a16="http://schemas.microsoft.com/office/drawing/2014/main" id="{BD132FCF-44B2-6DD1-3BB2-BE768F4905E8}"/>
                </a:ext>
              </a:extLst>
            </p:cNvPr>
            <p:cNvSpPr/>
            <p:nvPr/>
          </p:nvSpPr>
          <p:spPr>
            <a:xfrm>
              <a:off x="5638629" y="2720298"/>
              <a:ext cx="1508403" cy="518990"/>
            </a:xfrm>
            <a:prstGeom prst="rect">
              <a:avLst/>
            </a:prstGeom>
            <a:solidFill>
              <a:srgbClr val="4472C4">
                <a:lumMod val="50000"/>
              </a:srgbClr>
            </a:solidFill>
            <a:ln w="12700" cap="flat" cmpd="sng" algn="ctr">
              <a:solidFill>
                <a:srgbClr val="4472C4">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65" name="CuadroTexto 164">
              <a:extLst>
                <a:ext uri="{FF2B5EF4-FFF2-40B4-BE49-F238E27FC236}">
                  <a16:creationId xmlns:a16="http://schemas.microsoft.com/office/drawing/2014/main" id="{7BE9809D-1570-0998-8794-BC2D06C79570}"/>
                </a:ext>
              </a:extLst>
            </p:cNvPr>
            <p:cNvSpPr txBox="1"/>
            <p:nvPr/>
          </p:nvSpPr>
          <p:spPr>
            <a:xfrm>
              <a:off x="6096000" y="2850519"/>
              <a:ext cx="1051032" cy="246221"/>
            </a:xfrm>
            <a:prstGeom prst="rect">
              <a:avLst/>
            </a:prstGeom>
            <a:solidFill>
              <a:srgbClr val="4472C4">
                <a:lumMod val="50000"/>
              </a:srgbClr>
            </a:solidFill>
            <a:ln>
              <a:solidFill>
                <a:srgbClr val="4472C4">
                  <a:lumMod val="50000"/>
                </a:srgbClr>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Automatización</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66" name="Rectángulo 165">
              <a:extLst>
                <a:ext uri="{FF2B5EF4-FFF2-40B4-BE49-F238E27FC236}">
                  <a16:creationId xmlns:a16="http://schemas.microsoft.com/office/drawing/2014/main" id="{7597CB43-2D92-ECDC-2440-0C8651FAACF3}"/>
                </a:ext>
              </a:extLst>
            </p:cNvPr>
            <p:cNvSpPr/>
            <p:nvPr/>
          </p:nvSpPr>
          <p:spPr>
            <a:xfrm>
              <a:off x="7264854" y="2720298"/>
              <a:ext cx="1390581" cy="518990"/>
            </a:xfrm>
            <a:prstGeom prst="rect">
              <a:avLst/>
            </a:prstGeom>
            <a:solidFill>
              <a:srgbClr val="4472C4">
                <a:lumMod val="50000"/>
              </a:srgbClr>
            </a:solidFill>
            <a:ln w="12700" cap="flat" cmpd="sng" algn="ctr">
              <a:solidFill>
                <a:srgbClr val="4472C4">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67" name="CuadroTexto 166">
              <a:extLst>
                <a:ext uri="{FF2B5EF4-FFF2-40B4-BE49-F238E27FC236}">
                  <a16:creationId xmlns:a16="http://schemas.microsoft.com/office/drawing/2014/main" id="{1034EDE4-6B56-E1A8-1404-54844E0FD8E9}"/>
                </a:ext>
              </a:extLst>
            </p:cNvPr>
            <p:cNvSpPr txBox="1"/>
            <p:nvPr/>
          </p:nvSpPr>
          <p:spPr>
            <a:xfrm>
              <a:off x="7926966" y="2866879"/>
              <a:ext cx="717805" cy="246221"/>
            </a:xfrm>
            <a:prstGeom prst="rect">
              <a:avLst/>
            </a:prstGeom>
            <a:solidFill>
              <a:srgbClr val="4472C4">
                <a:lumMod val="50000"/>
              </a:srgbClr>
            </a:solidFill>
            <a:ln>
              <a:solidFill>
                <a:srgbClr val="4472C4">
                  <a:lumMod val="50000"/>
                </a:srgbClr>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Reporte</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68" name="Freeform 423">
              <a:extLst>
                <a:ext uri="{FF2B5EF4-FFF2-40B4-BE49-F238E27FC236}">
                  <a16:creationId xmlns:a16="http://schemas.microsoft.com/office/drawing/2014/main" id="{5C800FEF-5987-B98B-5DE0-2DD66B0ECA45}"/>
                </a:ext>
              </a:extLst>
            </p:cNvPr>
            <p:cNvSpPr/>
            <p:nvPr/>
          </p:nvSpPr>
          <p:spPr>
            <a:xfrm>
              <a:off x="4275970" y="2806778"/>
              <a:ext cx="398546" cy="360000"/>
            </a:xfrm>
            <a:custGeom>
              <a:avLst/>
              <a:gdLst>
                <a:gd name="connsiteX0" fmla="*/ 216352 w 504825"/>
                <a:gd name="connsiteY0" fmla="*/ 252413 h 432708"/>
                <a:gd name="connsiteX1" fmla="*/ 288470 w 504825"/>
                <a:gd name="connsiteY1" fmla="*/ 252413 h 432708"/>
                <a:gd name="connsiteX2" fmla="*/ 288470 w 504825"/>
                <a:gd name="connsiteY2" fmla="*/ 288472 h 432708"/>
                <a:gd name="connsiteX3" fmla="*/ 216352 w 504825"/>
                <a:gd name="connsiteY3" fmla="*/ 288472 h 432708"/>
                <a:gd name="connsiteX4" fmla="*/ 0 w 504825"/>
                <a:gd name="connsiteY4" fmla="*/ 252413 h 432708"/>
                <a:gd name="connsiteX5" fmla="*/ 189309 w 504825"/>
                <a:gd name="connsiteY5" fmla="*/ 252413 h 432708"/>
                <a:gd name="connsiteX6" fmla="*/ 189309 w 504825"/>
                <a:gd name="connsiteY6" fmla="*/ 297487 h 432708"/>
                <a:gd name="connsiteX7" fmla="*/ 194661 w 504825"/>
                <a:gd name="connsiteY7" fmla="*/ 310164 h 432708"/>
                <a:gd name="connsiteX8" fmla="*/ 207339 w 504825"/>
                <a:gd name="connsiteY8" fmla="*/ 315517 h 432708"/>
                <a:gd name="connsiteX9" fmla="*/ 297486 w 504825"/>
                <a:gd name="connsiteY9" fmla="*/ 315517 h 432708"/>
                <a:gd name="connsiteX10" fmla="*/ 310163 w 504825"/>
                <a:gd name="connsiteY10" fmla="*/ 310164 h 432708"/>
                <a:gd name="connsiteX11" fmla="*/ 315515 w 504825"/>
                <a:gd name="connsiteY11" fmla="*/ 297487 h 432708"/>
                <a:gd name="connsiteX12" fmla="*/ 315515 w 504825"/>
                <a:gd name="connsiteY12" fmla="*/ 252413 h 432708"/>
                <a:gd name="connsiteX13" fmla="*/ 504825 w 504825"/>
                <a:gd name="connsiteY13" fmla="*/ 252413 h 432708"/>
                <a:gd name="connsiteX14" fmla="*/ 504825 w 504825"/>
                <a:gd name="connsiteY14" fmla="*/ 387634 h 432708"/>
                <a:gd name="connsiteX15" fmla="*/ 491585 w 504825"/>
                <a:gd name="connsiteY15" fmla="*/ 419468 h 432708"/>
                <a:gd name="connsiteX16" fmla="*/ 459751 w 504825"/>
                <a:gd name="connsiteY16" fmla="*/ 432708 h 432708"/>
                <a:gd name="connsiteX17" fmla="*/ 45074 w 504825"/>
                <a:gd name="connsiteY17" fmla="*/ 432708 h 432708"/>
                <a:gd name="connsiteX18" fmla="*/ 13240 w 504825"/>
                <a:gd name="connsiteY18" fmla="*/ 419468 h 432708"/>
                <a:gd name="connsiteX19" fmla="*/ 0 w 504825"/>
                <a:gd name="connsiteY19" fmla="*/ 387634 h 432708"/>
                <a:gd name="connsiteX20" fmla="*/ 180295 w 504825"/>
                <a:gd name="connsiteY20" fmla="*/ 36059 h 432708"/>
                <a:gd name="connsiteX21" fmla="*/ 180295 w 504825"/>
                <a:gd name="connsiteY21" fmla="*/ 72118 h 432708"/>
                <a:gd name="connsiteX22" fmla="*/ 324530 w 504825"/>
                <a:gd name="connsiteY22" fmla="*/ 72118 h 432708"/>
                <a:gd name="connsiteX23" fmla="*/ 324530 w 504825"/>
                <a:gd name="connsiteY23" fmla="*/ 36059 h 432708"/>
                <a:gd name="connsiteX24" fmla="*/ 171280 w 504825"/>
                <a:gd name="connsiteY24" fmla="*/ 0 h 432708"/>
                <a:gd name="connsiteX25" fmla="*/ 333545 w 504825"/>
                <a:gd name="connsiteY25" fmla="*/ 0 h 432708"/>
                <a:gd name="connsiteX26" fmla="*/ 352701 w 504825"/>
                <a:gd name="connsiteY26" fmla="*/ 7888 h 432708"/>
                <a:gd name="connsiteX27" fmla="*/ 360589 w 504825"/>
                <a:gd name="connsiteY27" fmla="*/ 27044 h 432708"/>
                <a:gd name="connsiteX28" fmla="*/ 360589 w 504825"/>
                <a:gd name="connsiteY28" fmla="*/ 72118 h 432708"/>
                <a:gd name="connsiteX29" fmla="*/ 459751 w 504825"/>
                <a:gd name="connsiteY29" fmla="*/ 72118 h 432708"/>
                <a:gd name="connsiteX30" fmla="*/ 491585 w 504825"/>
                <a:gd name="connsiteY30" fmla="*/ 85358 h 432708"/>
                <a:gd name="connsiteX31" fmla="*/ 504825 w 504825"/>
                <a:gd name="connsiteY31" fmla="*/ 117192 h 432708"/>
                <a:gd name="connsiteX32" fmla="*/ 504825 w 504825"/>
                <a:gd name="connsiteY32" fmla="*/ 225368 h 432708"/>
                <a:gd name="connsiteX33" fmla="*/ 0 w 504825"/>
                <a:gd name="connsiteY33" fmla="*/ 225368 h 432708"/>
                <a:gd name="connsiteX34" fmla="*/ 0 w 504825"/>
                <a:gd name="connsiteY34" fmla="*/ 117192 h 432708"/>
                <a:gd name="connsiteX35" fmla="*/ 13240 w 504825"/>
                <a:gd name="connsiteY35" fmla="*/ 85358 h 432708"/>
                <a:gd name="connsiteX36" fmla="*/ 45074 w 504825"/>
                <a:gd name="connsiteY36" fmla="*/ 72118 h 432708"/>
                <a:gd name="connsiteX37" fmla="*/ 144236 w 504825"/>
                <a:gd name="connsiteY37" fmla="*/ 72118 h 432708"/>
                <a:gd name="connsiteX38" fmla="*/ 144236 w 504825"/>
                <a:gd name="connsiteY38" fmla="*/ 27044 h 432708"/>
                <a:gd name="connsiteX39" fmla="*/ 152123 w 504825"/>
                <a:gd name="connsiteY39" fmla="*/ 7888 h 432708"/>
                <a:gd name="connsiteX40" fmla="*/ 171280 w 504825"/>
                <a:gd name="connsiteY40" fmla="*/ 0 h 43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04825" h="432708">
                  <a:moveTo>
                    <a:pt x="216352" y="252413"/>
                  </a:moveTo>
                  <a:lnTo>
                    <a:pt x="288470" y="252413"/>
                  </a:lnTo>
                  <a:lnTo>
                    <a:pt x="288470" y="288472"/>
                  </a:lnTo>
                  <a:lnTo>
                    <a:pt x="216352" y="288472"/>
                  </a:lnTo>
                  <a:close/>
                  <a:moveTo>
                    <a:pt x="0" y="252413"/>
                  </a:moveTo>
                  <a:lnTo>
                    <a:pt x="189309" y="252413"/>
                  </a:lnTo>
                  <a:lnTo>
                    <a:pt x="189309" y="297487"/>
                  </a:lnTo>
                  <a:cubicBezTo>
                    <a:pt x="189309" y="302370"/>
                    <a:pt x="191093" y="306596"/>
                    <a:pt x="194661" y="310164"/>
                  </a:cubicBezTo>
                  <a:cubicBezTo>
                    <a:pt x="198230" y="313732"/>
                    <a:pt x="202455" y="315517"/>
                    <a:pt x="207339" y="315517"/>
                  </a:cubicBezTo>
                  <a:lnTo>
                    <a:pt x="297486" y="315517"/>
                  </a:lnTo>
                  <a:cubicBezTo>
                    <a:pt x="302370" y="315517"/>
                    <a:pt x="306595" y="313732"/>
                    <a:pt x="310163" y="310164"/>
                  </a:cubicBezTo>
                  <a:cubicBezTo>
                    <a:pt x="313731" y="306596"/>
                    <a:pt x="315515" y="302370"/>
                    <a:pt x="315515" y="297487"/>
                  </a:cubicBezTo>
                  <a:lnTo>
                    <a:pt x="315515" y="252413"/>
                  </a:lnTo>
                  <a:lnTo>
                    <a:pt x="504825" y="252413"/>
                  </a:lnTo>
                  <a:lnTo>
                    <a:pt x="504825" y="387634"/>
                  </a:lnTo>
                  <a:cubicBezTo>
                    <a:pt x="504825" y="400030"/>
                    <a:pt x="500411" y="410641"/>
                    <a:pt x="491585" y="419468"/>
                  </a:cubicBezTo>
                  <a:cubicBezTo>
                    <a:pt x="482757" y="428295"/>
                    <a:pt x="472147" y="432708"/>
                    <a:pt x="459751" y="432708"/>
                  </a:cubicBezTo>
                  <a:lnTo>
                    <a:pt x="45074" y="432708"/>
                  </a:lnTo>
                  <a:cubicBezTo>
                    <a:pt x="32678" y="432708"/>
                    <a:pt x="22068" y="428295"/>
                    <a:pt x="13240" y="419468"/>
                  </a:cubicBezTo>
                  <a:cubicBezTo>
                    <a:pt x="4414" y="410641"/>
                    <a:pt x="0" y="400030"/>
                    <a:pt x="0" y="387634"/>
                  </a:cubicBezTo>
                  <a:close/>
                  <a:moveTo>
                    <a:pt x="180295" y="36059"/>
                  </a:moveTo>
                  <a:lnTo>
                    <a:pt x="180295" y="72118"/>
                  </a:lnTo>
                  <a:lnTo>
                    <a:pt x="324530" y="72118"/>
                  </a:lnTo>
                  <a:lnTo>
                    <a:pt x="324530" y="36059"/>
                  </a:lnTo>
                  <a:close/>
                  <a:moveTo>
                    <a:pt x="171280" y="0"/>
                  </a:moveTo>
                  <a:lnTo>
                    <a:pt x="333545" y="0"/>
                  </a:lnTo>
                  <a:cubicBezTo>
                    <a:pt x="341057" y="0"/>
                    <a:pt x="347443" y="2629"/>
                    <a:pt x="352701" y="7888"/>
                  </a:cubicBezTo>
                  <a:cubicBezTo>
                    <a:pt x="357959" y="13146"/>
                    <a:pt x="360589" y="19532"/>
                    <a:pt x="360589" y="27044"/>
                  </a:cubicBezTo>
                  <a:lnTo>
                    <a:pt x="360589" y="72118"/>
                  </a:lnTo>
                  <a:lnTo>
                    <a:pt x="459751" y="72118"/>
                  </a:lnTo>
                  <a:cubicBezTo>
                    <a:pt x="472147" y="72118"/>
                    <a:pt x="482757" y="76531"/>
                    <a:pt x="491585" y="85358"/>
                  </a:cubicBezTo>
                  <a:cubicBezTo>
                    <a:pt x="500411" y="94185"/>
                    <a:pt x="504825" y="104796"/>
                    <a:pt x="504825" y="117192"/>
                  </a:cubicBezTo>
                  <a:lnTo>
                    <a:pt x="504825" y="225368"/>
                  </a:lnTo>
                  <a:lnTo>
                    <a:pt x="0" y="225368"/>
                  </a:lnTo>
                  <a:lnTo>
                    <a:pt x="0" y="117192"/>
                  </a:lnTo>
                  <a:cubicBezTo>
                    <a:pt x="0" y="104796"/>
                    <a:pt x="4414" y="94185"/>
                    <a:pt x="13240" y="85358"/>
                  </a:cubicBezTo>
                  <a:cubicBezTo>
                    <a:pt x="22068" y="76531"/>
                    <a:pt x="32678" y="72118"/>
                    <a:pt x="45074" y="72118"/>
                  </a:cubicBezTo>
                  <a:lnTo>
                    <a:pt x="144236" y="72118"/>
                  </a:lnTo>
                  <a:lnTo>
                    <a:pt x="144236" y="27044"/>
                  </a:lnTo>
                  <a:cubicBezTo>
                    <a:pt x="144236" y="19532"/>
                    <a:pt x="146865" y="13146"/>
                    <a:pt x="152123" y="7888"/>
                  </a:cubicBezTo>
                  <a:cubicBezTo>
                    <a:pt x="157382" y="2629"/>
                    <a:pt x="163767" y="0"/>
                    <a:pt x="171280" y="0"/>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9" name="Freeform 304">
              <a:extLst>
                <a:ext uri="{FF2B5EF4-FFF2-40B4-BE49-F238E27FC236}">
                  <a16:creationId xmlns:a16="http://schemas.microsoft.com/office/drawing/2014/main" id="{93011E10-B790-B6BB-0D5B-B2442BF63BEA}"/>
                </a:ext>
              </a:extLst>
            </p:cNvPr>
            <p:cNvSpPr/>
            <p:nvPr/>
          </p:nvSpPr>
          <p:spPr>
            <a:xfrm>
              <a:off x="5759237" y="2806958"/>
              <a:ext cx="360000" cy="360000"/>
            </a:xfrm>
            <a:custGeom>
              <a:avLst/>
              <a:gdLst/>
              <a:ahLst/>
              <a:cxnLst/>
              <a:rect l="l" t="t" r="r" b="b"/>
              <a:pathLst>
                <a:path w="432707" h="432707">
                  <a:moveTo>
                    <a:pt x="185084" y="0"/>
                  </a:moveTo>
                  <a:lnTo>
                    <a:pt x="247624" y="0"/>
                  </a:lnTo>
                  <a:cubicBezTo>
                    <a:pt x="250253" y="0"/>
                    <a:pt x="252554" y="798"/>
                    <a:pt x="254525" y="2394"/>
                  </a:cubicBezTo>
                  <a:cubicBezTo>
                    <a:pt x="256498" y="3991"/>
                    <a:pt x="257578" y="6010"/>
                    <a:pt x="257765" y="8451"/>
                  </a:cubicBezTo>
                  <a:lnTo>
                    <a:pt x="265653" y="60286"/>
                  </a:lnTo>
                  <a:cubicBezTo>
                    <a:pt x="274855" y="63291"/>
                    <a:pt x="283306" y="66765"/>
                    <a:pt x="291006" y="70709"/>
                  </a:cubicBezTo>
                  <a:lnTo>
                    <a:pt x="331010" y="40566"/>
                  </a:lnTo>
                  <a:cubicBezTo>
                    <a:pt x="332700" y="38876"/>
                    <a:pt x="334953" y="38031"/>
                    <a:pt x="337771" y="38031"/>
                  </a:cubicBezTo>
                  <a:cubicBezTo>
                    <a:pt x="340212" y="38031"/>
                    <a:pt x="342560" y="38970"/>
                    <a:pt x="344814" y="40848"/>
                  </a:cubicBezTo>
                  <a:cubicBezTo>
                    <a:pt x="369041" y="63197"/>
                    <a:pt x="384535" y="79161"/>
                    <a:pt x="391295" y="88739"/>
                  </a:cubicBezTo>
                  <a:cubicBezTo>
                    <a:pt x="392610" y="90241"/>
                    <a:pt x="393268" y="92307"/>
                    <a:pt x="393268" y="94936"/>
                  </a:cubicBezTo>
                  <a:cubicBezTo>
                    <a:pt x="393268" y="97190"/>
                    <a:pt x="392516" y="99350"/>
                    <a:pt x="391014" y="101416"/>
                  </a:cubicBezTo>
                  <a:cubicBezTo>
                    <a:pt x="388197" y="105360"/>
                    <a:pt x="383408" y="111604"/>
                    <a:pt x="376647" y="120149"/>
                  </a:cubicBezTo>
                  <a:cubicBezTo>
                    <a:pt x="369885" y="128695"/>
                    <a:pt x="364815" y="135315"/>
                    <a:pt x="361434" y="140010"/>
                  </a:cubicBezTo>
                  <a:cubicBezTo>
                    <a:pt x="366317" y="149400"/>
                    <a:pt x="370168" y="158603"/>
                    <a:pt x="372985" y="167618"/>
                  </a:cubicBezTo>
                  <a:lnTo>
                    <a:pt x="424537" y="175506"/>
                  </a:lnTo>
                  <a:cubicBezTo>
                    <a:pt x="426979" y="175881"/>
                    <a:pt x="428951" y="177055"/>
                    <a:pt x="430453" y="179027"/>
                  </a:cubicBezTo>
                  <a:cubicBezTo>
                    <a:pt x="431956" y="180999"/>
                    <a:pt x="432707" y="183206"/>
                    <a:pt x="432707" y="185647"/>
                  </a:cubicBezTo>
                  <a:lnTo>
                    <a:pt x="432707" y="248187"/>
                  </a:lnTo>
                  <a:cubicBezTo>
                    <a:pt x="432707" y="250440"/>
                    <a:pt x="431956" y="252600"/>
                    <a:pt x="430453" y="254666"/>
                  </a:cubicBezTo>
                  <a:cubicBezTo>
                    <a:pt x="428951" y="256732"/>
                    <a:pt x="427072" y="257953"/>
                    <a:pt x="424819" y="258328"/>
                  </a:cubicBezTo>
                  <a:lnTo>
                    <a:pt x="372703" y="266216"/>
                  </a:lnTo>
                  <a:cubicBezTo>
                    <a:pt x="369134" y="276358"/>
                    <a:pt x="365472" y="284903"/>
                    <a:pt x="361716" y="291852"/>
                  </a:cubicBezTo>
                  <a:cubicBezTo>
                    <a:pt x="368289" y="301242"/>
                    <a:pt x="378337" y="314201"/>
                    <a:pt x="391859" y="330728"/>
                  </a:cubicBezTo>
                  <a:cubicBezTo>
                    <a:pt x="393737" y="332982"/>
                    <a:pt x="394676" y="335329"/>
                    <a:pt x="394676" y="337771"/>
                  </a:cubicBezTo>
                  <a:cubicBezTo>
                    <a:pt x="394676" y="340212"/>
                    <a:pt x="393832" y="342372"/>
                    <a:pt x="392140" y="344250"/>
                  </a:cubicBezTo>
                  <a:cubicBezTo>
                    <a:pt x="387070" y="351199"/>
                    <a:pt x="377773" y="361340"/>
                    <a:pt x="364251" y="374675"/>
                  </a:cubicBezTo>
                  <a:cubicBezTo>
                    <a:pt x="350729" y="388009"/>
                    <a:pt x="341903" y="394676"/>
                    <a:pt x="337771" y="394676"/>
                  </a:cubicBezTo>
                  <a:cubicBezTo>
                    <a:pt x="335517" y="394676"/>
                    <a:pt x="333075" y="393831"/>
                    <a:pt x="330446" y="392141"/>
                  </a:cubicBezTo>
                  <a:lnTo>
                    <a:pt x="291570" y="361716"/>
                  </a:lnTo>
                  <a:cubicBezTo>
                    <a:pt x="283306" y="366036"/>
                    <a:pt x="274762" y="369604"/>
                    <a:pt x="265934" y="372421"/>
                  </a:cubicBezTo>
                  <a:cubicBezTo>
                    <a:pt x="262929" y="397963"/>
                    <a:pt x="260206" y="415429"/>
                    <a:pt x="257765" y="424819"/>
                  </a:cubicBezTo>
                  <a:cubicBezTo>
                    <a:pt x="256450" y="430078"/>
                    <a:pt x="253070" y="432707"/>
                    <a:pt x="247624" y="432707"/>
                  </a:cubicBezTo>
                  <a:lnTo>
                    <a:pt x="185084" y="432707"/>
                  </a:lnTo>
                  <a:cubicBezTo>
                    <a:pt x="182454" y="432707"/>
                    <a:pt x="180153" y="431909"/>
                    <a:pt x="178182" y="430313"/>
                  </a:cubicBezTo>
                  <a:cubicBezTo>
                    <a:pt x="176210" y="428716"/>
                    <a:pt x="175130" y="426697"/>
                    <a:pt x="174942" y="424256"/>
                  </a:cubicBezTo>
                  <a:lnTo>
                    <a:pt x="167054" y="372421"/>
                  </a:lnTo>
                  <a:cubicBezTo>
                    <a:pt x="157852" y="369416"/>
                    <a:pt x="149401" y="365942"/>
                    <a:pt x="141700" y="361998"/>
                  </a:cubicBezTo>
                  <a:lnTo>
                    <a:pt x="101979" y="392141"/>
                  </a:lnTo>
                  <a:cubicBezTo>
                    <a:pt x="100101" y="393831"/>
                    <a:pt x="97753" y="394676"/>
                    <a:pt x="94936" y="394676"/>
                  </a:cubicBezTo>
                  <a:cubicBezTo>
                    <a:pt x="92307" y="394676"/>
                    <a:pt x="89959" y="393643"/>
                    <a:pt x="87893" y="391577"/>
                  </a:cubicBezTo>
                  <a:cubicBezTo>
                    <a:pt x="64230" y="370167"/>
                    <a:pt x="48735" y="354392"/>
                    <a:pt x="41411" y="344250"/>
                  </a:cubicBezTo>
                  <a:cubicBezTo>
                    <a:pt x="40097" y="342372"/>
                    <a:pt x="39439" y="340212"/>
                    <a:pt x="39439" y="337771"/>
                  </a:cubicBezTo>
                  <a:cubicBezTo>
                    <a:pt x="39439" y="335517"/>
                    <a:pt x="40191" y="333357"/>
                    <a:pt x="41694" y="331291"/>
                  </a:cubicBezTo>
                  <a:cubicBezTo>
                    <a:pt x="44510" y="327347"/>
                    <a:pt x="49299" y="321103"/>
                    <a:pt x="56060" y="312558"/>
                  </a:cubicBezTo>
                  <a:cubicBezTo>
                    <a:pt x="62821" y="304012"/>
                    <a:pt x="67892" y="297392"/>
                    <a:pt x="71273" y="292697"/>
                  </a:cubicBezTo>
                  <a:cubicBezTo>
                    <a:pt x="66202" y="283307"/>
                    <a:pt x="62352" y="274010"/>
                    <a:pt x="59723" y="264808"/>
                  </a:cubicBezTo>
                  <a:lnTo>
                    <a:pt x="8169" y="257202"/>
                  </a:lnTo>
                  <a:cubicBezTo>
                    <a:pt x="5728" y="256826"/>
                    <a:pt x="3756" y="255652"/>
                    <a:pt x="2254" y="253680"/>
                  </a:cubicBezTo>
                  <a:cubicBezTo>
                    <a:pt x="751" y="251708"/>
                    <a:pt x="0" y="249501"/>
                    <a:pt x="0" y="247060"/>
                  </a:cubicBezTo>
                  <a:lnTo>
                    <a:pt x="0" y="184520"/>
                  </a:lnTo>
                  <a:cubicBezTo>
                    <a:pt x="0" y="182267"/>
                    <a:pt x="751" y="180107"/>
                    <a:pt x="2254" y="178041"/>
                  </a:cubicBezTo>
                  <a:cubicBezTo>
                    <a:pt x="3756" y="175975"/>
                    <a:pt x="5540" y="174754"/>
                    <a:pt x="7606" y="174379"/>
                  </a:cubicBezTo>
                  <a:lnTo>
                    <a:pt x="60004" y="166491"/>
                  </a:lnTo>
                  <a:cubicBezTo>
                    <a:pt x="62633" y="157852"/>
                    <a:pt x="66295" y="149213"/>
                    <a:pt x="70991" y="140573"/>
                  </a:cubicBezTo>
                  <a:cubicBezTo>
                    <a:pt x="63478" y="129868"/>
                    <a:pt x="53431" y="116910"/>
                    <a:pt x="40848" y="101697"/>
                  </a:cubicBezTo>
                  <a:cubicBezTo>
                    <a:pt x="38970" y="99444"/>
                    <a:pt x="38030" y="97190"/>
                    <a:pt x="38030" y="94936"/>
                  </a:cubicBezTo>
                  <a:cubicBezTo>
                    <a:pt x="38030" y="93058"/>
                    <a:pt x="38876" y="90898"/>
                    <a:pt x="40567" y="88457"/>
                  </a:cubicBezTo>
                  <a:cubicBezTo>
                    <a:pt x="45449" y="81696"/>
                    <a:pt x="54699" y="71601"/>
                    <a:pt x="68314" y="58173"/>
                  </a:cubicBezTo>
                  <a:cubicBezTo>
                    <a:pt x="81931" y="44745"/>
                    <a:pt x="90805" y="38031"/>
                    <a:pt x="94936" y="38031"/>
                  </a:cubicBezTo>
                  <a:cubicBezTo>
                    <a:pt x="97377" y="38031"/>
                    <a:pt x="99819" y="38970"/>
                    <a:pt x="102260" y="40848"/>
                  </a:cubicBezTo>
                  <a:lnTo>
                    <a:pt x="141137" y="70991"/>
                  </a:lnTo>
                  <a:cubicBezTo>
                    <a:pt x="149401" y="66671"/>
                    <a:pt x="157945" y="63103"/>
                    <a:pt x="166773" y="60286"/>
                  </a:cubicBezTo>
                  <a:cubicBezTo>
                    <a:pt x="169777" y="34744"/>
                    <a:pt x="172501" y="17278"/>
                    <a:pt x="174942" y="7888"/>
                  </a:cubicBezTo>
                  <a:cubicBezTo>
                    <a:pt x="176257" y="2629"/>
                    <a:pt x="179637" y="0"/>
                    <a:pt x="185084" y="0"/>
                  </a:cubicBezTo>
                  <a:close/>
                  <a:moveTo>
                    <a:pt x="216354" y="144236"/>
                  </a:moveTo>
                  <a:cubicBezTo>
                    <a:pt x="196446" y="144236"/>
                    <a:pt x="179449" y="151278"/>
                    <a:pt x="165364" y="165364"/>
                  </a:cubicBezTo>
                  <a:cubicBezTo>
                    <a:pt x="151278" y="179449"/>
                    <a:pt x="144235" y="196446"/>
                    <a:pt x="144235" y="216354"/>
                  </a:cubicBezTo>
                  <a:cubicBezTo>
                    <a:pt x="144235" y="236261"/>
                    <a:pt x="151278" y="253258"/>
                    <a:pt x="165364" y="267343"/>
                  </a:cubicBezTo>
                  <a:cubicBezTo>
                    <a:pt x="179449" y="281429"/>
                    <a:pt x="196446" y="288471"/>
                    <a:pt x="216354" y="288471"/>
                  </a:cubicBezTo>
                  <a:cubicBezTo>
                    <a:pt x="236261" y="288471"/>
                    <a:pt x="253258" y="281429"/>
                    <a:pt x="267343" y="267343"/>
                  </a:cubicBezTo>
                  <a:cubicBezTo>
                    <a:pt x="281429" y="253258"/>
                    <a:pt x="288471" y="236261"/>
                    <a:pt x="288471" y="216354"/>
                  </a:cubicBezTo>
                  <a:cubicBezTo>
                    <a:pt x="288471" y="196446"/>
                    <a:pt x="281429" y="179449"/>
                    <a:pt x="267343" y="165364"/>
                  </a:cubicBezTo>
                  <a:cubicBezTo>
                    <a:pt x="253258" y="151278"/>
                    <a:pt x="236261" y="144236"/>
                    <a:pt x="216354" y="144236"/>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0" name="Rectángulo 169">
              <a:extLst>
                <a:ext uri="{FF2B5EF4-FFF2-40B4-BE49-F238E27FC236}">
                  <a16:creationId xmlns:a16="http://schemas.microsoft.com/office/drawing/2014/main" id="{152802BF-8EE1-415A-947E-C40617DBBA67}"/>
                </a:ext>
              </a:extLst>
            </p:cNvPr>
            <p:cNvSpPr/>
            <p:nvPr/>
          </p:nvSpPr>
          <p:spPr>
            <a:xfrm>
              <a:off x="6517241" y="1256245"/>
              <a:ext cx="2250000" cy="518990"/>
            </a:xfrm>
            <a:prstGeom prst="rect">
              <a:avLst/>
            </a:prstGeom>
            <a:solidFill>
              <a:srgbClr val="002060"/>
            </a:solidFill>
            <a:ln w="1270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71" name="CuadroTexto 170">
              <a:extLst>
                <a:ext uri="{FF2B5EF4-FFF2-40B4-BE49-F238E27FC236}">
                  <a16:creationId xmlns:a16="http://schemas.microsoft.com/office/drawing/2014/main" id="{0C4216A9-8B12-9484-5E6B-15F19FF93D6E}"/>
                </a:ext>
              </a:extLst>
            </p:cNvPr>
            <p:cNvSpPr txBox="1"/>
            <p:nvPr/>
          </p:nvSpPr>
          <p:spPr>
            <a:xfrm>
              <a:off x="7165996" y="1383441"/>
              <a:ext cx="1601245" cy="24622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Aplicaciones</a:t>
              </a:r>
              <a:r>
                <a:rPr kumimoji="0" lang="es-ES" sz="1000" b="0" i="0" u="none" strike="noStrike" kern="0" cap="none" spc="0" normalizeH="0" baseline="0" noProof="0">
                  <a:ln>
                    <a:noFill/>
                  </a:ln>
                  <a:solidFill>
                    <a:prstClr val="white"/>
                  </a:solidFill>
                  <a:effectLst/>
                  <a:uLnTx/>
                  <a:uFillTx/>
                  <a:latin typeface="Calibri" panose="020F0502020204030204"/>
                </a:rPr>
                <a:t> </a:t>
              </a:r>
              <a:r>
                <a:rPr lang="es-ES" sz="1000" b="1" kern="0">
                  <a:solidFill>
                    <a:prstClr val="white"/>
                  </a:solidFill>
                  <a:latin typeface="Calibri" panose="020F0502020204030204"/>
                </a:rPr>
                <a:t>SAAS</a:t>
              </a:r>
              <a:endParaRPr kumimoji="0" lang="es-ES" sz="1000" b="1" i="0" u="none" strike="noStrike" kern="0" cap="none" spc="0" normalizeH="0" baseline="0" noProof="0">
                <a:ln>
                  <a:noFill/>
                </a:ln>
                <a:solidFill>
                  <a:prstClr val="white"/>
                </a:solidFill>
                <a:effectLst/>
                <a:uLnTx/>
                <a:uFillTx/>
                <a:latin typeface="Calibri" panose="020F0502020204030204"/>
              </a:endParaRPr>
            </a:p>
          </p:txBody>
        </p:sp>
        <p:sp>
          <p:nvSpPr>
            <p:cNvPr id="172" name="Rectángulo 171">
              <a:extLst>
                <a:ext uri="{FF2B5EF4-FFF2-40B4-BE49-F238E27FC236}">
                  <a16:creationId xmlns:a16="http://schemas.microsoft.com/office/drawing/2014/main" id="{37D722F2-982F-B7EC-5B3E-C70BFC67A539}"/>
                </a:ext>
              </a:extLst>
            </p:cNvPr>
            <p:cNvSpPr/>
            <p:nvPr/>
          </p:nvSpPr>
          <p:spPr>
            <a:xfrm>
              <a:off x="4123110" y="1277789"/>
              <a:ext cx="2251122" cy="518990"/>
            </a:xfrm>
            <a:prstGeom prst="rect">
              <a:avLst/>
            </a:prstGeom>
            <a:solidFill>
              <a:srgbClr val="002060"/>
            </a:solidFill>
            <a:ln w="1270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73" name="CuadroTexto 172">
              <a:extLst>
                <a:ext uri="{FF2B5EF4-FFF2-40B4-BE49-F238E27FC236}">
                  <a16:creationId xmlns:a16="http://schemas.microsoft.com/office/drawing/2014/main" id="{AA15BFDE-005E-7834-D4EF-CFA47A106AF6}"/>
                </a:ext>
              </a:extLst>
            </p:cNvPr>
            <p:cNvSpPr txBox="1"/>
            <p:nvPr/>
          </p:nvSpPr>
          <p:spPr>
            <a:xfrm>
              <a:off x="4812731" y="1408263"/>
              <a:ext cx="1525878" cy="24622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Aplicaciones móviles</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74" name="Rectángulo 173">
              <a:extLst>
                <a:ext uri="{FF2B5EF4-FFF2-40B4-BE49-F238E27FC236}">
                  <a16:creationId xmlns:a16="http://schemas.microsoft.com/office/drawing/2014/main" id="{AF4701BA-1E18-D8EC-805F-9CE84ADC27E7}"/>
                </a:ext>
              </a:extLst>
            </p:cNvPr>
            <p:cNvSpPr/>
            <p:nvPr/>
          </p:nvSpPr>
          <p:spPr>
            <a:xfrm>
              <a:off x="6520799" y="1822324"/>
              <a:ext cx="2250000" cy="518990"/>
            </a:xfrm>
            <a:prstGeom prst="rect">
              <a:avLst/>
            </a:prstGeom>
            <a:solidFill>
              <a:srgbClr val="002060"/>
            </a:solidFill>
            <a:ln w="1270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75" name="CuadroTexto 174">
              <a:extLst>
                <a:ext uri="{FF2B5EF4-FFF2-40B4-BE49-F238E27FC236}">
                  <a16:creationId xmlns:a16="http://schemas.microsoft.com/office/drawing/2014/main" id="{16B2F813-C1EE-A7A8-7232-A16A25911A3C}"/>
                </a:ext>
              </a:extLst>
            </p:cNvPr>
            <p:cNvSpPr txBox="1"/>
            <p:nvPr/>
          </p:nvSpPr>
          <p:spPr>
            <a:xfrm>
              <a:off x="7169554" y="1949520"/>
              <a:ext cx="1601245" cy="24622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Servicios / Apis / MS</a:t>
              </a:r>
            </a:p>
          </p:txBody>
        </p:sp>
        <p:sp>
          <p:nvSpPr>
            <p:cNvPr id="176" name="Rectángulo 175">
              <a:extLst>
                <a:ext uri="{FF2B5EF4-FFF2-40B4-BE49-F238E27FC236}">
                  <a16:creationId xmlns:a16="http://schemas.microsoft.com/office/drawing/2014/main" id="{F8C9ED8A-AB9A-CAB1-E7FF-999648712341}"/>
                </a:ext>
              </a:extLst>
            </p:cNvPr>
            <p:cNvSpPr/>
            <p:nvPr/>
          </p:nvSpPr>
          <p:spPr>
            <a:xfrm>
              <a:off x="4126668" y="1843868"/>
              <a:ext cx="2251122" cy="518990"/>
            </a:xfrm>
            <a:prstGeom prst="rect">
              <a:avLst/>
            </a:prstGeom>
            <a:solidFill>
              <a:srgbClr val="002060"/>
            </a:solidFill>
            <a:ln w="1270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77" name="CuadroTexto 176">
              <a:extLst>
                <a:ext uri="{FF2B5EF4-FFF2-40B4-BE49-F238E27FC236}">
                  <a16:creationId xmlns:a16="http://schemas.microsoft.com/office/drawing/2014/main" id="{8BFD9893-55E7-CA23-4137-B48ABFAB50F3}"/>
                </a:ext>
              </a:extLst>
            </p:cNvPr>
            <p:cNvSpPr txBox="1"/>
            <p:nvPr/>
          </p:nvSpPr>
          <p:spPr>
            <a:xfrm>
              <a:off x="4816289" y="1974342"/>
              <a:ext cx="1525878" cy="24622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Aplicaciones web</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78" name="CuadroTexto 177">
              <a:extLst>
                <a:ext uri="{FF2B5EF4-FFF2-40B4-BE49-F238E27FC236}">
                  <a16:creationId xmlns:a16="http://schemas.microsoft.com/office/drawing/2014/main" id="{8B2942BC-13FD-91F5-6737-F839B7C13572}"/>
                </a:ext>
              </a:extLst>
            </p:cNvPr>
            <p:cNvSpPr txBox="1"/>
            <p:nvPr/>
          </p:nvSpPr>
          <p:spPr>
            <a:xfrm>
              <a:off x="3230848" y="1524837"/>
              <a:ext cx="827278"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a:ln>
                    <a:noFill/>
                  </a:ln>
                  <a:solidFill>
                    <a:schemeClr val="accent5"/>
                  </a:solidFill>
                  <a:effectLst/>
                  <a:uLnTx/>
                  <a:uFillTx/>
                  <a:latin typeface="Calibri" panose="020F0502020204030204"/>
                </a:rPr>
                <a:t>Cobertura</a:t>
              </a:r>
            </a:p>
            <a:p>
              <a:pPr marL="0" marR="0" lvl="0" indent="0"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a:ln>
                    <a:noFill/>
                  </a:ln>
                  <a:solidFill>
                    <a:schemeClr val="accent5"/>
                  </a:solidFill>
                  <a:effectLst/>
                  <a:uLnTx/>
                  <a:uFillTx/>
                  <a:latin typeface="Calibri" panose="020F0502020204030204"/>
                </a:rPr>
                <a:t>de</a:t>
              </a:r>
            </a:p>
            <a:p>
              <a:pPr marL="0" marR="0" lvl="0" indent="0"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a:ln>
                    <a:noFill/>
                  </a:ln>
                  <a:solidFill>
                    <a:schemeClr val="accent5"/>
                  </a:solidFill>
                  <a:effectLst/>
                  <a:uLnTx/>
                  <a:uFillTx/>
                  <a:latin typeface="Calibri" panose="020F0502020204030204"/>
                </a:rPr>
                <a:t>ejecución</a:t>
              </a:r>
            </a:p>
          </p:txBody>
        </p:sp>
        <p:sp>
          <p:nvSpPr>
            <p:cNvPr id="179" name="Freeform 320">
              <a:extLst>
                <a:ext uri="{FF2B5EF4-FFF2-40B4-BE49-F238E27FC236}">
                  <a16:creationId xmlns:a16="http://schemas.microsoft.com/office/drawing/2014/main" id="{0FB9B239-06CA-F1E9-0980-B47B463ECAE9}"/>
                </a:ext>
              </a:extLst>
            </p:cNvPr>
            <p:cNvSpPr/>
            <p:nvPr/>
          </p:nvSpPr>
          <p:spPr>
            <a:xfrm>
              <a:off x="4359763" y="1349483"/>
              <a:ext cx="216316" cy="360423"/>
            </a:xfrm>
            <a:custGeom>
              <a:avLst/>
              <a:gdLst/>
              <a:ahLst/>
              <a:cxnLst/>
              <a:rect l="l" t="t" r="r" b="b"/>
              <a:pathLst>
                <a:path w="216353" h="360589">
                  <a:moveTo>
                    <a:pt x="36058" y="0"/>
                  </a:moveTo>
                  <a:lnTo>
                    <a:pt x="180294" y="0"/>
                  </a:lnTo>
                  <a:cubicBezTo>
                    <a:pt x="190060" y="0"/>
                    <a:pt x="198512" y="3568"/>
                    <a:pt x="205648" y="10705"/>
                  </a:cubicBezTo>
                  <a:cubicBezTo>
                    <a:pt x="212785" y="17841"/>
                    <a:pt x="216353" y="26293"/>
                    <a:pt x="216353" y="36059"/>
                  </a:cubicBezTo>
                  <a:lnTo>
                    <a:pt x="216353" y="324530"/>
                  </a:lnTo>
                  <a:cubicBezTo>
                    <a:pt x="216353" y="334296"/>
                    <a:pt x="212785" y="342748"/>
                    <a:pt x="205648" y="349884"/>
                  </a:cubicBezTo>
                  <a:cubicBezTo>
                    <a:pt x="198512" y="357021"/>
                    <a:pt x="190060" y="360589"/>
                    <a:pt x="180294" y="360589"/>
                  </a:cubicBezTo>
                  <a:lnTo>
                    <a:pt x="36058" y="360589"/>
                  </a:lnTo>
                  <a:cubicBezTo>
                    <a:pt x="26292" y="360589"/>
                    <a:pt x="17841" y="357021"/>
                    <a:pt x="10704" y="349884"/>
                  </a:cubicBezTo>
                  <a:cubicBezTo>
                    <a:pt x="3568" y="342748"/>
                    <a:pt x="0" y="334296"/>
                    <a:pt x="0" y="324530"/>
                  </a:cubicBezTo>
                  <a:lnTo>
                    <a:pt x="0" y="36059"/>
                  </a:lnTo>
                  <a:cubicBezTo>
                    <a:pt x="0" y="26293"/>
                    <a:pt x="3568" y="17841"/>
                    <a:pt x="10704" y="10705"/>
                  </a:cubicBezTo>
                  <a:cubicBezTo>
                    <a:pt x="17841" y="3568"/>
                    <a:pt x="26292" y="0"/>
                    <a:pt x="36058" y="0"/>
                  </a:cubicBezTo>
                  <a:close/>
                  <a:moveTo>
                    <a:pt x="85639" y="36059"/>
                  </a:moveTo>
                  <a:cubicBezTo>
                    <a:pt x="82635" y="36059"/>
                    <a:pt x="81132" y="37561"/>
                    <a:pt x="81132" y="40566"/>
                  </a:cubicBezTo>
                  <a:cubicBezTo>
                    <a:pt x="81132" y="43571"/>
                    <a:pt x="82635" y="45073"/>
                    <a:pt x="85639" y="45073"/>
                  </a:cubicBezTo>
                  <a:lnTo>
                    <a:pt x="130713" y="45073"/>
                  </a:lnTo>
                  <a:cubicBezTo>
                    <a:pt x="133718" y="45073"/>
                    <a:pt x="135220" y="43571"/>
                    <a:pt x="135220" y="40566"/>
                  </a:cubicBezTo>
                  <a:cubicBezTo>
                    <a:pt x="135220" y="37561"/>
                    <a:pt x="133718" y="36059"/>
                    <a:pt x="130713" y="36059"/>
                  </a:cubicBezTo>
                  <a:lnTo>
                    <a:pt x="85639" y="36059"/>
                  </a:lnTo>
                  <a:close/>
                  <a:moveTo>
                    <a:pt x="36058" y="72118"/>
                  </a:moveTo>
                  <a:cubicBezTo>
                    <a:pt x="33617" y="72118"/>
                    <a:pt x="31504" y="73010"/>
                    <a:pt x="29720" y="74794"/>
                  </a:cubicBezTo>
                  <a:cubicBezTo>
                    <a:pt x="27936" y="76578"/>
                    <a:pt x="27044" y="78691"/>
                    <a:pt x="27044" y="81132"/>
                  </a:cubicBezTo>
                  <a:lnTo>
                    <a:pt x="27044" y="279457"/>
                  </a:lnTo>
                  <a:cubicBezTo>
                    <a:pt x="27044" y="281898"/>
                    <a:pt x="27936" y="284011"/>
                    <a:pt x="29720" y="285795"/>
                  </a:cubicBezTo>
                  <a:cubicBezTo>
                    <a:pt x="31504" y="287579"/>
                    <a:pt x="33617" y="288471"/>
                    <a:pt x="36058" y="288471"/>
                  </a:cubicBezTo>
                  <a:lnTo>
                    <a:pt x="180294" y="288471"/>
                  </a:lnTo>
                  <a:cubicBezTo>
                    <a:pt x="182736" y="288471"/>
                    <a:pt x="184848" y="287579"/>
                    <a:pt x="186632" y="285795"/>
                  </a:cubicBezTo>
                  <a:cubicBezTo>
                    <a:pt x="188417" y="284011"/>
                    <a:pt x="189309" y="281898"/>
                    <a:pt x="189309" y="279457"/>
                  </a:cubicBezTo>
                  <a:lnTo>
                    <a:pt x="189309" y="81132"/>
                  </a:lnTo>
                  <a:cubicBezTo>
                    <a:pt x="189309" y="78691"/>
                    <a:pt x="188417" y="76578"/>
                    <a:pt x="186632" y="74794"/>
                  </a:cubicBezTo>
                  <a:cubicBezTo>
                    <a:pt x="184848" y="73010"/>
                    <a:pt x="182736" y="72118"/>
                    <a:pt x="180294" y="72118"/>
                  </a:cubicBezTo>
                  <a:lnTo>
                    <a:pt x="36058" y="72118"/>
                  </a:lnTo>
                  <a:close/>
                  <a:moveTo>
                    <a:pt x="108176" y="301994"/>
                  </a:moveTo>
                  <a:cubicBezTo>
                    <a:pt x="101979" y="301994"/>
                    <a:pt x="96673" y="304200"/>
                    <a:pt x="92260" y="308614"/>
                  </a:cubicBezTo>
                  <a:cubicBezTo>
                    <a:pt x="87846" y="313027"/>
                    <a:pt x="85639" y="318333"/>
                    <a:pt x="85639" y="324530"/>
                  </a:cubicBezTo>
                  <a:cubicBezTo>
                    <a:pt x="85639" y="330728"/>
                    <a:pt x="87846" y="336033"/>
                    <a:pt x="92260" y="340447"/>
                  </a:cubicBezTo>
                  <a:cubicBezTo>
                    <a:pt x="96673" y="344860"/>
                    <a:pt x="101979" y="347067"/>
                    <a:pt x="108176" y="347067"/>
                  </a:cubicBezTo>
                  <a:cubicBezTo>
                    <a:pt x="114374" y="347067"/>
                    <a:pt x="119679" y="344860"/>
                    <a:pt x="124093" y="340447"/>
                  </a:cubicBezTo>
                  <a:cubicBezTo>
                    <a:pt x="128507" y="336033"/>
                    <a:pt x="130713" y="330728"/>
                    <a:pt x="130713" y="324530"/>
                  </a:cubicBezTo>
                  <a:cubicBezTo>
                    <a:pt x="130713" y="318333"/>
                    <a:pt x="128507" y="313027"/>
                    <a:pt x="124093" y="308614"/>
                  </a:cubicBezTo>
                  <a:cubicBezTo>
                    <a:pt x="119679" y="304200"/>
                    <a:pt x="114374" y="301994"/>
                    <a:pt x="108176" y="301994"/>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0" name="Freeform 327">
              <a:extLst>
                <a:ext uri="{FF2B5EF4-FFF2-40B4-BE49-F238E27FC236}">
                  <a16:creationId xmlns:a16="http://schemas.microsoft.com/office/drawing/2014/main" id="{525934CF-B147-184A-9045-D3A9ACAC4660}"/>
                </a:ext>
              </a:extLst>
            </p:cNvPr>
            <p:cNvSpPr/>
            <p:nvPr/>
          </p:nvSpPr>
          <p:spPr>
            <a:xfrm>
              <a:off x="6606242" y="1335202"/>
              <a:ext cx="540790" cy="360423"/>
            </a:xfrm>
            <a:custGeom>
              <a:avLst/>
              <a:gdLst>
                <a:gd name="connsiteX0" fmla="*/ 247905 w 540882"/>
                <a:gd name="connsiteY0" fmla="*/ 324530 h 360589"/>
                <a:gd name="connsiteX1" fmla="*/ 243397 w 540882"/>
                <a:gd name="connsiteY1" fmla="*/ 329038 h 360589"/>
                <a:gd name="connsiteX2" fmla="*/ 247905 w 540882"/>
                <a:gd name="connsiteY2" fmla="*/ 333545 h 360589"/>
                <a:gd name="connsiteX3" fmla="*/ 292978 w 540882"/>
                <a:gd name="connsiteY3" fmla="*/ 333545 h 360589"/>
                <a:gd name="connsiteX4" fmla="*/ 297486 w 540882"/>
                <a:gd name="connsiteY4" fmla="*/ 329038 h 360589"/>
                <a:gd name="connsiteX5" fmla="*/ 292978 w 540882"/>
                <a:gd name="connsiteY5" fmla="*/ 324530 h 360589"/>
                <a:gd name="connsiteX6" fmla="*/ 0 w 540882"/>
                <a:gd name="connsiteY6" fmla="*/ 306501 h 360589"/>
                <a:gd name="connsiteX7" fmla="*/ 45074 w 540882"/>
                <a:gd name="connsiteY7" fmla="*/ 306501 h 360589"/>
                <a:gd name="connsiteX8" fmla="*/ 495808 w 540882"/>
                <a:gd name="connsiteY8" fmla="*/ 306501 h 360589"/>
                <a:gd name="connsiteX9" fmla="*/ 540882 w 540882"/>
                <a:gd name="connsiteY9" fmla="*/ 306501 h 360589"/>
                <a:gd name="connsiteX10" fmla="*/ 540882 w 540882"/>
                <a:gd name="connsiteY10" fmla="*/ 333545 h 360589"/>
                <a:gd name="connsiteX11" fmla="*/ 527642 w 540882"/>
                <a:gd name="connsiteY11" fmla="*/ 352701 h 360589"/>
                <a:gd name="connsiteX12" fmla="*/ 495808 w 540882"/>
                <a:gd name="connsiteY12" fmla="*/ 360589 h 360589"/>
                <a:gd name="connsiteX13" fmla="*/ 45074 w 540882"/>
                <a:gd name="connsiteY13" fmla="*/ 360589 h 360589"/>
                <a:gd name="connsiteX14" fmla="*/ 13240 w 540882"/>
                <a:gd name="connsiteY14" fmla="*/ 352701 h 360589"/>
                <a:gd name="connsiteX15" fmla="*/ 0 w 540882"/>
                <a:gd name="connsiteY15" fmla="*/ 333545 h 360589"/>
                <a:gd name="connsiteX16" fmla="*/ 117191 w 540882"/>
                <a:gd name="connsiteY16" fmla="*/ 36059 h 360589"/>
                <a:gd name="connsiteX17" fmla="*/ 110853 w 540882"/>
                <a:gd name="connsiteY17" fmla="*/ 38735 h 360589"/>
                <a:gd name="connsiteX18" fmla="*/ 108177 w 540882"/>
                <a:gd name="connsiteY18" fmla="*/ 45073 h 360589"/>
                <a:gd name="connsiteX19" fmla="*/ 108177 w 540882"/>
                <a:gd name="connsiteY19" fmla="*/ 243398 h 360589"/>
                <a:gd name="connsiteX20" fmla="*/ 110853 w 540882"/>
                <a:gd name="connsiteY20" fmla="*/ 249736 h 360589"/>
                <a:gd name="connsiteX21" fmla="*/ 117191 w 540882"/>
                <a:gd name="connsiteY21" fmla="*/ 252412 h 360589"/>
                <a:gd name="connsiteX22" fmla="*/ 423691 w 540882"/>
                <a:gd name="connsiteY22" fmla="*/ 252412 h 360589"/>
                <a:gd name="connsiteX23" fmla="*/ 430029 w 540882"/>
                <a:gd name="connsiteY23" fmla="*/ 249736 h 360589"/>
                <a:gd name="connsiteX24" fmla="*/ 432705 w 540882"/>
                <a:gd name="connsiteY24" fmla="*/ 243398 h 360589"/>
                <a:gd name="connsiteX25" fmla="*/ 432705 w 540882"/>
                <a:gd name="connsiteY25" fmla="*/ 45073 h 360589"/>
                <a:gd name="connsiteX26" fmla="*/ 430029 w 540882"/>
                <a:gd name="connsiteY26" fmla="*/ 38735 h 360589"/>
                <a:gd name="connsiteX27" fmla="*/ 423691 w 540882"/>
                <a:gd name="connsiteY27" fmla="*/ 36059 h 360589"/>
                <a:gd name="connsiteX28" fmla="*/ 117191 w 540882"/>
                <a:gd name="connsiteY28" fmla="*/ 0 h 360589"/>
                <a:gd name="connsiteX29" fmla="*/ 423691 w 540882"/>
                <a:gd name="connsiteY29" fmla="*/ 0 h 360589"/>
                <a:gd name="connsiteX30" fmla="*/ 455524 w 540882"/>
                <a:gd name="connsiteY30" fmla="*/ 13240 h 360589"/>
                <a:gd name="connsiteX31" fmla="*/ 468765 w 540882"/>
                <a:gd name="connsiteY31" fmla="*/ 45073 h 360589"/>
                <a:gd name="connsiteX32" fmla="*/ 468765 w 540882"/>
                <a:gd name="connsiteY32" fmla="*/ 243398 h 360589"/>
                <a:gd name="connsiteX33" fmla="*/ 455524 w 540882"/>
                <a:gd name="connsiteY33" fmla="*/ 275231 h 360589"/>
                <a:gd name="connsiteX34" fmla="*/ 423691 w 540882"/>
                <a:gd name="connsiteY34" fmla="*/ 288471 h 360589"/>
                <a:gd name="connsiteX35" fmla="*/ 117191 w 540882"/>
                <a:gd name="connsiteY35" fmla="*/ 288471 h 360589"/>
                <a:gd name="connsiteX36" fmla="*/ 85357 w 540882"/>
                <a:gd name="connsiteY36" fmla="*/ 275231 h 360589"/>
                <a:gd name="connsiteX37" fmla="*/ 72117 w 540882"/>
                <a:gd name="connsiteY37" fmla="*/ 243398 h 360589"/>
                <a:gd name="connsiteX38" fmla="*/ 72117 w 540882"/>
                <a:gd name="connsiteY38" fmla="*/ 45073 h 360589"/>
                <a:gd name="connsiteX39" fmla="*/ 85357 w 540882"/>
                <a:gd name="connsiteY39" fmla="*/ 13240 h 360589"/>
                <a:gd name="connsiteX40" fmla="*/ 117191 w 540882"/>
                <a:gd name="connsiteY40" fmla="*/ 0 h 36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40882" h="360589">
                  <a:moveTo>
                    <a:pt x="247905" y="324530"/>
                  </a:moveTo>
                  <a:cubicBezTo>
                    <a:pt x="244900" y="324530"/>
                    <a:pt x="243397" y="326033"/>
                    <a:pt x="243397" y="329038"/>
                  </a:cubicBezTo>
                  <a:cubicBezTo>
                    <a:pt x="243397" y="332042"/>
                    <a:pt x="244900" y="333545"/>
                    <a:pt x="247905" y="333545"/>
                  </a:cubicBezTo>
                  <a:lnTo>
                    <a:pt x="292978" y="333545"/>
                  </a:lnTo>
                  <a:cubicBezTo>
                    <a:pt x="295983" y="333545"/>
                    <a:pt x="297486" y="332042"/>
                    <a:pt x="297486" y="329038"/>
                  </a:cubicBezTo>
                  <a:cubicBezTo>
                    <a:pt x="297486" y="326033"/>
                    <a:pt x="295983" y="324530"/>
                    <a:pt x="292978" y="324530"/>
                  </a:cubicBezTo>
                  <a:close/>
                  <a:moveTo>
                    <a:pt x="0" y="306501"/>
                  </a:moveTo>
                  <a:lnTo>
                    <a:pt x="45074" y="306501"/>
                  </a:lnTo>
                  <a:lnTo>
                    <a:pt x="495808" y="306501"/>
                  </a:lnTo>
                  <a:lnTo>
                    <a:pt x="540882" y="306501"/>
                  </a:lnTo>
                  <a:lnTo>
                    <a:pt x="540882" y="333545"/>
                  </a:lnTo>
                  <a:cubicBezTo>
                    <a:pt x="540882" y="341057"/>
                    <a:pt x="536469" y="347443"/>
                    <a:pt x="527642" y="352701"/>
                  </a:cubicBezTo>
                  <a:cubicBezTo>
                    <a:pt x="518815" y="357960"/>
                    <a:pt x="508204" y="360589"/>
                    <a:pt x="495808" y="360589"/>
                  </a:cubicBezTo>
                  <a:lnTo>
                    <a:pt x="45074" y="360589"/>
                  </a:lnTo>
                  <a:cubicBezTo>
                    <a:pt x="32678" y="360589"/>
                    <a:pt x="22067" y="357960"/>
                    <a:pt x="13240" y="352701"/>
                  </a:cubicBezTo>
                  <a:cubicBezTo>
                    <a:pt x="4413" y="347443"/>
                    <a:pt x="0" y="341057"/>
                    <a:pt x="0" y="333545"/>
                  </a:cubicBezTo>
                  <a:close/>
                  <a:moveTo>
                    <a:pt x="117191" y="36059"/>
                  </a:moveTo>
                  <a:cubicBezTo>
                    <a:pt x="114750" y="36059"/>
                    <a:pt x="112637" y="36951"/>
                    <a:pt x="110853" y="38735"/>
                  </a:cubicBezTo>
                  <a:cubicBezTo>
                    <a:pt x="109068" y="40519"/>
                    <a:pt x="108177" y="42632"/>
                    <a:pt x="108177" y="45073"/>
                  </a:cubicBezTo>
                  <a:lnTo>
                    <a:pt x="108177" y="243398"/>
                  </a:lnTo>
                  <a:cubicBezTo>
                    <a:pt x="108177" y="245839"/>
                    <a:pt x="109068" y="247952"/>
                    <a:pt x="110853" y="249736"/>
                  </a:cubicBezTo>
                  <a:cubicBezTo>
                    <a:pt x="112637" y="251520"/>
                    <a:pt x="114750" y="252412"/>
                    <a:pt x="117191" y="252412"/>
                  </a:cubicBezTo>
                  <a:lnTo>
                    <a:pt x="423691" y="252412"/>
                  </a:lnTo>
                  <a:cubicBezTo>
                    <a:pt x="426132" y="252412"/>
                    <a:pt x="428245" y="251520"/>
                    <a:pt x="430029" y="249736"/>
                  </a:cubicBezTo>
                  <a:cubicBezTo>
                    <a:pt x="431814" y="247952"/>
                    <a:pt x="432705" y="245839"/>
                    <a:pt x="432705" y="243398"/>
                  </a:cubicBezTo>
                  <a:lnTo>
                    <a:pt x="432705" y="45073"/>
                  </a:lnTo>
                  <a:cubicBezTo>
                    <a:pt x="432705" y="42632"/>
                    <a:pt x="431814" y="40519"/>
                    <a:pt x="430029" y="38735"/>
                  </a:cubicBezTo>
                  <a:cubicBezTo>
                    <a:pt x="428245" y="36951"/>
                    <a:pt x="426132" y="36059"/>
                    <a:pt x="423691" y="36059"/>
                  </a:cubicBezTo>
                  <a:close/>
                  <a:moveTo>
                    <a:pt x="117191" y="0"/>
                  </a:moveTo>
                  <a:lnTo>
                    <a:pt x="423691" y="0"/>
                  </a:lnTo>
                  <a:cubicBezTo>
                    <a:pt x="436086" y="0"/>
                    <a:pt x="446697" y="4413"/>
                    <a:pt x="455524" y="13240"/>
                  </a:cubicBezTo>
                  <a:cubicBezTo>
                    <a:pt x="464351" y="22067"/>
                    <a:pt x="468765" y="32678"/>
                    <a:pt x="468765" y="45073"/>
                  </a:cubicBezTo>
                  <a:lnTo>
                    <a:pt x="468765" y="243398"/>
                  </a:lnTo>
                  <a:cubicBezTo>
                    <a:pt x="468765" y="255793"/>
                    <a:pt x="464351" y="266404"/>
                    <a:pt x="455524" y="275231"/>
                  </a:cubicBezTo>
                  <a:cubicBezTo>
                    <a:pt x="446697" y="284058"/>
                    <a:pt x="436086" y="288471"/>
                    <a:pt x="423691" y="288471"/>
                  </a:cubicBezTo>
                  <a:lnTo>
                    <a:pt x="117191" y="288471"/>
                  </a:lnTo>
                  <a:cubicBezTo>
                    <a:pt x="104796" y="288471"/>
                    <a:pt x="94185" y="284058"/>
                    <a:pt x="85357" y="275231"/>
                  </a:cubicBezTo>
                  <a:cubicBezTo>
                    <a:pt x="76531" y="266404"/>
                    <a:pt x="72117" y="255793"/>
                    <a:pt x="72117" y="243398"/>
                  </a:cubicBezTo>
                  <a:lnTo>
                    <a:pt x="72117" y="45073"/>
                  </a:lnTo>
                  <a:cubicBezTo>
                    <a:pt x="72117" y="32678"/>
                    <a:pt x="76531" y="22067"/>
                    <a:pt x="85357" y="13240"/>
                  </a:cubicBezTo>
                  <a:cubicBezTo>
                    <a:pt x="94185" y="4413"/>
                    <a:pt x="104796" y="0"/>
                    <a:pt x="117191" y="0"/>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1" name="Freeform 356">
              <a:extLst>
                <a:ext uri="{FF2B5EF4-FFF2-40B4-BE49-F238E27FC236}">
                  <a16:creationId xmlns:a16="http://schemas.microsoft.com/office/drawing/2014/main" id="{EFA607DC-7574-30D4-1541-12D33FF78A68}"/>
                </a:ext>
              </a:extLst>
            </p:cNvPr>
            <p:cNvSpPr/>
            <p:nvPr/>
          </p:nvSpPr>
          <p:spPr>
            <a:xfrm>
              <a:off x="4308254" y="1895695"/>
              <a:ext cx="360000" cy="360000"/>
            </a:xfrm>
            <a:custGeom>
              <a:avLst/>
              <a:gdLst/>
              <a:ahLst/>
              <a:cxnLst/>
              <a:rect l="l" t="t" r="r" b="b"/>
              <a:pathLst>
                <a:path w="432706" h="432707">
                  <a:moveTo>
                    <a:pt x="216353" y="0"/>
                  </a:moveTo>
                  <a:cubicBezTo>
                    <a:pt x="255605" y="0"/>
                    <a:pt x="291805" y="9672"/>
                    <a:pt x="324953" y="29016"/>
                  </a:cubicBezTo>
                  <a:cubicBezTo>
                    <a:pt x="358101" y="48360"/>
                    <a:pt x="384347" y="74606"/>
                    <a:pt x="403690" y="107754"/>
                  </a:cubicBezTo>
                  <a:cubicBezTo>
                    <a:pt x="423035" y="140902"/>
                    <a:pt x="432706" y="177102"/>
                    <a:pt x="432706" y="216354"/>
                  </a:cubicBezTo>
                  <a:cubicBezTo>
                    <a:pt x="432706" y="255605"/>
                    <a:pt x="423035" y="291805"/>
                    <a:pt x="403690" y="324953"/>
                  </a:cubicBezTo>
                  <a:cubicBezTo>
                    <a:pt x="384347" y="358101"/>
                    <a:pt x="358101" y="384347"/>
                    <a:pt x="324953" y="403691"/>
                  </a:cubicBezTo>
                  <a:cubicBezTo>
                    <a:pt x="291805" y="423035"/>
                    <a:pt x="255605" y="432707"/>
                    <a:pt x="216353"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3" y="0"/>
                  </a:cubicBezTo>
                  <a:close/>
                  <a:moveTo>
                    <a:pt x="194520" y="41130"/>
                  </a:moveTo>
                  <a:cubicBezTo>
                    <a:pt x="191985" y="40942"/>
                    <a:pt x="190154" y="41317"/>
                    <a:pt x="189027" y="42256"/>
                  </a:cubicBezTo>
                  <a:cubicBezTo>
                    <a:pt x="188088" y="43571"/>
                    <a:pt x="187572" y="44651"/>
                    <a:pt x="187478" y="45496"/>
                  </a:cubicBezTo>
                  <a:cubicBezTo>
                    <a:pt x="187384" y="46341"/>
                    <a:pt x="187854" y="47093"/>
                    <a:pt x="188886" y="47750"/>
                  </a:cubicBezTo>
                  <a:cubicBezTo>
                    <a:pt x="189920" y="48407"/>
                    <a:pt x="190906" y="48924"/>
                    <a:pt x="191844" y="49299"/>
                  </a:cubicBezTo>
                  <a:cubicBezTo>
                    <a:pt x="192784" y="49675"/>
                    <a:pt x="193864" y="50050"/>
                    <a:pt x="195084" y="50426"/>
                  </a:cubicBezTo>
                  <a:cubicBezTo>
                    <a:pt x="196305" y="50802"/>
                    <a:pt x="197103" y="51083"/>
                    <a:pt x="197478" y="51271"/>
                  </a:cubicBezTo>
                  <a:cubicBezTo>
                    <a:pt x="200108" y="53149"/>
                    <a:pt x="200859" y="54464"/>
                    <a:pt x="199732" y="55215"/>
                  </a:cubicBezTo>
                  <a:cubicBezTo>
                    <a:pt x="199357" y="55403"/>
                    <a:pt x="198559" y="55732"/>
                    <a:pt x="197338" y="56201"/>
                  </a:cubicBezTo>
                  <a:cubicBezTo>
                    <a:pt x="196117" y="56671"/>
                    <a:pt x="195038" y="57093"/>
                    <a:pt x="194098" y="57469"/>
                  </a:cubicBezTo>
                  <a:cubicBezTo>
                    <a:pt x="193159" y="57844"/>
                    <a:pt x="192596" y="58220"/>
                    <a:pt x="192408" y="58596"/>
                  </a:cubicBezTo>
                  <a:cubicBezTo>
                    <a:pt x="191844" y="59347"/>
                    <a:pt x="191844" y="60662"/>
                    <a:pt x="192408" y="62540"/>
                  </a:cubicBezTo>
                  <a:cubicBezTo>
                    <a:pt x="192971" y="64418"/>
                    <a:pt x="192784" y="65732"/>
                    <a:pt x="191844" y="66484"/>
                  </a:cubicBezTo>
                  <a:cubicBezTo>
                    <a:pt x="190906" y="65545"/>
                    <a:pt x="190060" y="63901"/>
                    <a:pt x="189309" y="61554"/>
                  </a:cubicBezTo>
                  <a:cubicBezTo>
                    <a:pt x="188558" y="59206"/>
                    <a:pt x="187901" y="57657"/>
                    <a:pt x="187337" y="56905"/>
                  </a:cubicBezTo>
                  <a:cubicBezTo>
                    <a:pt x="188652" y="58596"/>
                    <a:pt x="186305" y="59159"/>
                    <a:pt x="180294" y="58596"/>
                  </a:cubicBezTo>
                  <a:lnTo>
                    <a:pt x="177477" y="58314"/>
                  </a:lnTo>
                  <a:cubicBezTo>
                    <a:pt x="176726" y="58314"/>
                    <a:pt x="175223" y="58502"/>
                    <a:pt x="172969" y="58877"/>
                  </a:cubicBezTo>
                  <a:cubicBezTo>
                    <a:pt x="170716" y="59253"/>
                    <a:pt x="168791" y="59347"/>
                    <a:pt x="167195" y="59159"/>
                  </a:cubicBezTo>
                  <a:cubicBezTo>
                    <a:pt x="165599" y="58971"/>
                    <a:pt x="164331" y="58220"/>
                    <a:pt x="163392" y="56905"/>
                  </a:cubicBezTo>
                  <a:cubicBezTo>
                    <a:pt x="162641" y="55403"/>
                    <a:pt x="162641" y="53525"/>
                    <a:pt x="163392" y="51271"/>
                  </a:cubicBezTo>
                  <a:cubicBezTo>
                    <a:pt x="163580" y="50520"/>
                    <a:pt x="163955" y="50332"/>
                    <a:pt x="164518" y="50708"/>
                  </a:cubicBezTo>
                  <a:cubicBezTo>
                    <a:pt x="163768" y="50144"/>
                    <a:pt x="162735" y="49252"/>
                    <a:pt x="161420" y="48032"/>
                  </a:cubicBezTo>
                  <a:cubicBezTo>
                    <a:pt x="160106" y="46811"/>
                    <a:pt x="159166" y="46013"/>
                    <a:pt x="158602" y="45637"/>
                  </a:cubicBezTo>
                  <a:cubicBezTo>
                    <a:pt x="149963" y="48454"/>
                    <a:pt x="141137" y="52304"/>
                    <a:pt x="132122" y="57187"/>
                  </a:cubicBezTo>
                  <a:cubicBezTo>
                    <a:pt x="133249" y="57375"/>
                    <a:pt x="134376" y="57281"/>
                    <a:pt x="135503" y="56905"/>
                  </a:cubicBezTo>
                  <a:cubicBezTo>
                    <a:pt x="136441" y="56530"/>
                    <a:pt x="137662" y="55919"/>
                    <a:pt x="139165" y="55074"/>
                  </a:cubicBezTo>
                  <a:cubicBezTo>
                    <a:pt x="140667" y="54229"/>
                    <a:pt x="141606" y="53713"/>
                    <a:pt x="141982" y="53525"/>
                  </a:cubicBezTo>
                  <a:cubicBezTo>
                    <a:pt x="148367" y="50896"/>
                    <a:pt x="152311" y="50238"/>
                    <a:pt x="153813" y="51553"/>
                  </a:cubicBezTo>
                  <a:lnTo>
                    <a:pt x="155222" y="50144"/>
                  </a:lnTo>
                  <a:cubicBezTo>
                    <a:pt x="157852" y="53149"/>
                    <a:pt x="159729" y="55497"/>
                    <a:pt x="160856" y="57187"/>
                  </a:cubicBezTo>
                  <a:cubicBezTo>
                    <a:pt x="159542" y="56436"/>
                    <a:pt x="156725" y="56342"/>
                    <a:pt x="152406" y="56905"/>
                  </a:cubicBezTo>
                  <a:cubicBezTo>
                    <a:pt x="148649" y="58032"/>
                    <a:pt x="146583" y="59159"/>
                    <a:pt x="146208" y="60286"/>
                  </a:cubicBezTo>
                  <a:cubicBezTo>
                    <a:pt x="147522" y="62540"/>
                    <a:pt x="147991" y="64230"/>
                    <a:pt x="147616" y="65357"/>
                  </a:cubicBezTo>
                  <a:cubicBezTo>
                    <a:pt x="146865" y="64793"/>
                    <a:pt x="145785" y="63854"/>
                    <a:pt x="144376" y="62540"/>
                  </a:cubicBezTo>
                  <a:cubicBezTo>
                    <a:pt x="142968" y="61225"/>
                    <a:pt x="141606" y="60192"/>
                    <a:pt x="140292" y="59441"/>
                  </a:cubicBezTo>
                  <a:cubicBezTo>
                    <a:pt x="138977" y="58690"/>
                    <a:pt x="137568" y="58220"/>
                    <a:pt x="136066" y="58032"/>
                  </a:cubicBezTo>
                  <a:cubicBezTo>
                    <a:pt x="133061" y="58032"/>
                    <a:pt x="130995" y="58126"/>
                    <a:pt x="129869" y="58314"/>
                  </a:cubicBezTo>
                  <a:cubicBezTo>
                    <a:pt x="102449" y="73339"/>
                    <a:pt x="80381" y="94185"/>
                    <a:pt x="63667" y="120854"/>
                  </a:cubicBezTo>
                  <a:cubicBezTo>
                    <a:pt x="64981" y="122168"/>
                    <a:pt x="66108" y="122920"/>
                    <a:pt x="67047" y="123107"/>
                  </a:cubicBezTo>
                  <a:cubicBezTo>
                    <a:pt x="67798" y="123295"/>
                    <a:pt x="68268" y="124140"/>
                    <a:pt x="68455" y="125643"/>
                  </a:cubicBezTo>
                  <a:cubicBezTo>
                    <a:pt x="68643" y="127145"/>
                    <a:pt x="68878" y="128178"/>
                    <a:pt x="69160" y="128742"/>
                  </a:cubicBezTo>
                  <a:cubicBezTo>
                    <a:pt x="69441" y="129305"/>
                    <a:pt x="70521" y="129023"/>
                    <a:pt x="72399" y="127896"/>
                  </a:cubicBezTo>
                  <a:cubicBezTo>
                    <a:pt x="74090" y="129399"/>
                    <a:pt x="74371" y="131183"/>
                    <a:pt x="73245" y="133249"/>
                  </a:cubicBezTo>
                  <a:cubicBezTo>
                    <a:pt x="73432" y="133061"/>
                    <a:pt x="77564" y="135597"/>
                    <a:pt x="85640" y="140855"/>
                  </a:cubicBezTo>
                  <a:cubicBezTo>
                    <a:pt x="89208" y="144048"/>
                    <a:pt x="91180" y="146020"/>
                    <a:pt x="91556" y="146771"/>
                  </a:cubicBezTo>
                  <a:cubicBezTo>
                    <a:pt x="92119" y="148837"/>
                    <a:pt x="91180" y="150527"/>
                    <a:pt x="88739" y="151842"/>
                  </a:cubicBezTo>
                  <a:cubicBezTo>
                    <a:pt x="88551" y="151466"/>
                    <a:pt x="87705" y="150621"/>
                    <a:pt x="86203" y="149306"/>
                  </a:cubicBezTo>
                  <a:cubicBezTo>
                    <a:pt x="84701" y="147992"/>
                    <a:pt x="83856" y="147616"/>
                    <a:pt x="83668" y="148180"/>
                  </a:cubicBezTo>
                  <a:cubicBezTo>
                    <a:pt x="83105" y="149119"/>
                    <a:pt x="83151" y="150856"/>
                    <a:pt x="83809" y="153391"/>
                  </a:cubicBezTo>
                  <a:cubicBezTo>
                    <a:pt x="84466" y="155927"/>
                    <a:pt x="85452" y="157100"/>
                    <a:pt x="86767" y="156913"/>
                  </a:cubicBezTo>
                  <a:cubicBezTo>
                    <a:pt x="85452" y="156913"/>
                    <a:pt x="84560" y="158415"/>
                    <a:pt x="84091" y="161420"/>
                  </a:cubicBezTo>
                  <a:cubicBezTo>
                    <a:pt x="83621" y="164425"/>
                    <a:pt x="83387" y="167759"/>
                    <a:pt x="83387" y="171421"/>
                  </a:cubicBezTo>
                  <a:cubicBezTo>
                    <a:pt x="83387" y="175083"/>
                    <a:pt x="83292" y="177290"/>
                    <a:pt x="83105" y="178041"/>
                  </a:cubicBezTo>
                  <a:lnTo>
                    <a:pt x="83668" y="178323"/>
                  </a:lnTo>
                  <a:cubicBezTo>
                    <a:pt x="83105" y="180576"/>
                    <a:pt x="83621" y="183816"/>
                    <a:pt x="85217" y="188042"/>
                  </a:cubicBezTo>
                  <a:cubicBezTo>
                    <a:pt x="86814" y="192267"/>
                    <a:pt x="88832" y="194099"/>
                    <a:pt x="91274" y="193535"/>
                  </a:cubicBezTo>
                  <a:cubicBezTo>
                    <a:pt x="88832" y="194099"/>
                    <a:pt x="90711" y="198136"/>
                    <a:pt x="96908" y="205649"/>
                  </a:cubicBezTo>
                  <a:cubicBezTo>
                    <a:pt x="98035" y="207151"/>
                    <a:pt x="98786" y="207996"/>
                    <a:pt x="99162" y="208184"/>
                  </a:cubicBezTo>
                  <a:cubicBezTo>
                    <a:pt x="99726" y="208560"/>
                    <a:pt x="100852" y="209264"/>
                    <a:pt x="102542" y="210297"/>
                  </a:cubicBezTo>
                  <a:cubicBezTo>
                    <a:pt x="104233" y="211330"/>
                    <a:pt x="105642" y="212269"/>
                    <a:pt x="106768" y="213114"/>
                  </a:cubicBezTo>
                  <a:cubicBezTo>
                    <a:pt x="107895" y="213959"/>
                    <a:pt x="108834" y="214945"/>
                    <a:pt x="109586" y="216072"/>
                  </a:cubicBezTo>
                  <a:cubicBezTo>
                    <a:pt x="110337" y="217011"/>
                    <a:pt x="111276" y="219124"/>
                    <a:pt x="112402" y="222410"/>
                  </a:cubicBezTo>
                  <a:cubicBezTo>
                    <a:pt x="113529" y="225697"/>
                    <a:pt x="114844" y="227904"/>
                    <a:pt x="116346" y="229031"/>
                  </a:cubicBezTo>
                  <a:cubicBezTo>
                    <a:pt x="115971" y="230157"/>
                    <a:pt x="116862" y="232035"/>
                    <a:pt x="119023" y="234665"/>
                  </a:cubicBezTo>
                  <a:cubicBezTo>
                    <a:pt x="121182" y="237294"/>
                    <a:pt x="122168" y="239454"/>
                    <a:pt x="121981" y="241144"/>
                  </a:cubicBezTo>
                  <a:cubicBezTo>
                    <a:pt x="121792" y="241144"/>
                    <a:pt x="121558" y="241238"/>
                    <a:pt x="121276" y="241426"/>
                  </a:cubicBezTo>
                  <a:cubicBezTo>
                    <a:pt x="120995" y="241614"/>
                    <a:pt x="120760" y="241708"/>
                    <a:pt x="120572" y="241708"/>
                  </a:cubicBezTo>
                  <a:cubicBezTo>
                    <a:pt x="121135" y="243022"/>
                    <a:pt x="122591" y="244337"/>
                    <a:pt x="124939" y="245651"/>
                  </a:cubicBezTo>
                  <a:cubicBezTo>
                    <a:pt x="127286" y="246966"/>
                    <a:pt x="128742" y="248187"/>
                    <a:pt x="129305" y="249314"/>
                  </a:cubicBezTo>
                  <a:cubicBezTo>
                    <a:pt x="129492" y="249877"/>
                    <a:pt x="129680" y="250816"/>
                    <a:pt x="129869" y="252131"/>
                  </a:cubicBezTo>
                  <a:cubicBezTo>
                    <a:pt x="130056" y="253445"/>
                    <a:pt x="130338" y="254478"/>
                    <a:pt x="130714" y="255230"/>
                  </a:cubicBezTo>
                  <a:cubicBezTo>
                    <a:pt x="131089" y="255981"/>
                    <a:pt x="131841" y="256169"/>
                    <a:pt x="132967" y="255793"/>
                  </a:cubicBezTo>
                  <a:cubicBezTo>
                    <a:pt x="133343" y="252037"/>
                    <a:pt x="131089" y="246215"/>
                    <a:pt x="126206" y="238327"/>
                  </a:cubicBezTo>
                  <a:cubicBezTo>
                    <a:pt x="123389" y="233632"/>
                    <a:pt x="121792" y="230909"/>
                    <a:pt x="121417" y="230157"/>
                  </a:cubicBezTo>
                  <a:cubicBezTo>
                    <a:pt x="120854" y="229218"/>
                    <a:pt x="120337" y="227763"/>
                    <a:pt x="119868" y="225791"/>
                  </a:cubicBezTo>
                  <a:cubicBezTo>
                    <a:pt x="119398" y="223819"/>
                    <a:pt x="118975" y="222457"/>
                    <a:pt x="118600" y="221706"/>
                  </a:cubicBezTo>
                  <a:cubicBezTo>
                    <a:pt x="118975" y="221706"/>
                    <a:pt x="119539" y="221847"/>
                    <a:pt x="120290" y="222129"/>
                  </a:cubicBezTo>
                  <a:cubicBezTo>
                    <a:pt x="121041" y="222410"/>
                    <a:pt x="121840" y="222739"/>
                    <a:pt x="122685" y="223115"/>
                  </a:cubicBezTo>
                  <a:cubicBezTo>
                    <a:pt x="123530" y="223490"/>
                    <a:pt x="124234" y="223866"/>
                    <a:pt x="124798" y="224241"/>
                  </a:cubicBezTo>
                  <a:cubicBezTo>
                    <a:pt x="125361" y="224617"/>
                    <a:pt x="125548" y="224899"/>
                    <a:pt x="125361" y="225087"/>
                  </a:cubicBezTo>
                  <a:cubicBezTo>
                    <a:pt x="124798" y="226401"/>
                    <a:pt x="124985" y="228045"/>
                    <a:pt x="125925" y="230017"/>
                  </a:cubicBezTo>
                  <a:cubicBezTo>
                    <a:pt x="126863" y="231988"/>
                    <a:pt x="127990" y="233726"/>
                    <a:pt x="129305" y="235228"/>
                  </a:cubicBezTo>
                  <a:cubicBezTo>
                    <a:pt x="130620" y="236731"/>
                    <a:pt x="132216" y="238515"/>
                    <a:pt x="134094" y="240581"/>
                  </a:cubicBezTo>
                  <a:cubicBezTo>
                    <a:pt x="135972" y="242647"/>
                    <a:pt x="137099" y="243867"/>
                    <a:pt x="137475" y="244243"/>
                  </a:cubicBezTo>
                  <a:cubicBezTo>
                    <a:pt x="138602" y="245370"/>
                    <a:pt x="139916" y="247201"/>
                    <a:pt x="141418" y="249736"/>
                  </a:cubicBezTo>
                  <a:cubicBezTo>
                    <a:pt x="142921" y="252272"/>
                    <a:pt x="142921" y="253539"/>
                    <a:pt x="141418" y="253539"/>
                  </a:cubicBezTo>
                  <a:cubicBezTo>
                    <a:pt x="143109" y="253539"/>
                    <a:pt x="144987" y="254478"/>
                    <a:pt x="147053" y="256356"/>
                  </a:cubicBezTo>
                  <a:cubicBezTo>
                    <a:pt x="149119" y="258234"/>
                    <a:pt x="150715" y="260113"/>
                    <a:pt x="151842" y="261991"/>
                  </a:cubicBezTo>
                  <a:cubicBezTo>
                    <a:pt x="152781" y="263493"/>
                    <a:pt x="153532" y="265935"/>
                    <a:pt x="154095" y="269315"/>
                  </a:cubicBezTo>
                  <a:cubicBezTo>
                    <a:pt x="154658" y="272696"/>
                    <a:pt x="155128" y="274949"/>
                    <a:pt x="155504" y="276076"/>
                  </a:cubicBezTo>
                  <a:cubicBezTo>
                    <a:pt x="155880" y="277391"/>
                    <a:pt x="156678" y="278658"/>
                    <a:pt x="157898" y="279879"/>
                  </a:cubicBezTo>
                  <a:cubicBezTo>
                    <a:pt x="159120" y="281100"/>
                    <a:pt x="160293" y="281992"/>
                    <a:pt x="161420" y="282555"/>
                  </a:cubicBezTo>
                  <a:cubicBezTo>
                    <a:pt x="162546" y="283119"/>
                    <a:pt x="164050" y="283870"/>
                    <a:pt x="165927" y="284809"/>
                  </a:cubicBezTo>
                  <a:cubicBezTo>
                    <a:pt x="167805" y="285748"/>
                    <a:pt x="169025" y="286406"/>
                    <a:pt x="169589" y="286781"/>
                  </a:cubicBezTo>
                  <a:cubicBezTo>
                    <a:pt x="170529" y="287157"/>
                    <a:pt x="172265" y="288143"/>
                    <a:pt x="174801" y="289739"/>
                  </a:cubicBezTo>
                  <a:cubicBezTo>
                    <a:pt x="177336" y="291335"/>
                    <a:pt x="179356" y="292415"/>
                    <a:pt x="180857" y="292979"/>
                  </a:cubicBezTo>
                  <a:cubicBezTo>
                    <a:pt x="182736" y="293730"/>
                    <a:pt x="184238" y="294106"/>
                    <a:pt x="185365" y="294106"/>
                  </a:cubicBezTo>
                  <a:cubicBezTo>
                    <a:pt x="186492" y="294106"/>
                    <a:pt x="187854" y="293871"/>
                    <a:pt x="189450" y="293401"/>
                  </a:cubicBezTo>
                  <a:cubicBezTo>
                    <a:pt x="191046" y="292932"/>
                    <a:pt x="192314" y="292603"/>
                    <a:pt x="193253" y="292415"/>
                  </a:cubicBezTo>
                  <a:cubicBezTo>
                    <a:pt x="196070" y="292040"/>
                    <a:pt x="198793" y="293448"/>
                    <a:pt x="201422" y="296641"/>
                  </a:cubicBezTo>
                  <a:cubicBezTo>
                    <a:pt x="204052" y="299834"/>
                    <a:pt x="206024" y="301806"/>
                    <a:pt x="207338" y="302557"/>
                  </a:cubicBezTo>
                  <a:cubicBezTo>
                    <a:pt x="214099" y="306125"/>
                    <a:pt x="219265" y="307158"/>
                    <a:pt x="222832" y="305656"/>
                  </a:cubicBezTo>
                  <a:cubicBezTo>
                    <a:pt x="222457" y="305844"/>
                    <a:pt x="222504" y="306548"/>
                    <a:pt x="222973" y="307769"/>
                  </a:cubicBezTo>
                  <a:cubicBezTo>
                    <a:pt x="223443" y="308989"/>
                    <a:pt x="224195" y="310445"/>
                    <a:pt x="225227" y="312135"/>
                  </a:cubicBezTo>
                  <a:cubicBezTo>
                    <a:pt x="226260" y="313825"/>
                    <a:pt x="227105" y="315187"/>
                    <a:pt x="227762" y="316220"/>
                  </a:cubicBezTo>
                  <a:cubicBezTo>
                    <a:pt x="228420" y="317253"/>
                    <a:pt x="228936" y="318051"/>
                    <a:pt x="229312" y="318614"/>
                  </a:cubicBezTo>
                  <a:cubicBezTo>
                    <a:pt x="230251" y="319741"/>
                    <a:pt x="231941" y="321150"/>
                    <a:pt x="234383" y="322840"/>
                  </a:cubicBezTo>
                  <a:cubicBezTo>
                    <a:pt x="236824" y="324530"/>
                    <a:pt x="238515" y="325939"/>
                    <a:pt x="239453" y="327066"/>
                  </a:cubicBezTo>
                  <a:cubicBezTo>
                    <a:pt x="240580" y="326314"/>
                    <a:pt x="241238" y="325469"/>
                    <a:pt x="241425" y="324530"/>
                  </a:cubicBezTo>
                  <a:cubicBezTo>
                    <a:pt x="240862" y="326033"/>
                    <a:pt x="241520" y="327911"/>
                    <a:pt x="243397" y="330164"/>
                  </a:cubicBezTo>
                  <a:cubicBezTo>
                    <a:pt x="245275" y="332418"/>
                    <a:pt x="246966" y="333357"/>
                    <a:pt x="248468" y="332982"/>
                  </a:cubicBezTo>
                  <a:cubicBezTo>
                    <a:pt x="251098" y="332418"/>
                    <a:pt x="252412" y="329413"/>
                    <a:pt x="252412" y="323967"/>
                  </a:cubicBezTo>
                  <a:cubicBezTo>
                    <a:pt x="246591" y="326784"/>
                    <a:pt x="241988" y="325094"/>
                    <a:pt x="238608" y="318896"/>
                  </a:cubicBezTo>
                  <a:cubicBezTo>
                    <a:pt x="238608" y="318708"/>
                    <a:pt x="238374" y="318192"/>
                    <a:pt x="237904" y="317347"/>
                  </a:cubicBezTo>
                  <a:cubicBezTo>
                    <a:pt x="237435" y="316502"/>
                    <a:pt x="237059" y="315703"/>
                    <a:pt x="236777" y="314952"/>
                  </a:cubicBezTo>
                  <a:cubicBezTo>
                    <a:pt x="236495" y="314201"/>
                    <a:pt x="236261" y="313403"/>
                    <a:pt x="236073" y="312558"/>
                  </a:cubicBezTo>
                  <a:cubicBezTo>
                    <a:pt x="235885" y="311713"/>
                    <a:pt x="235885" y="311008"/>
                    <a:pt x="236073" y="310445"/>
                  </a:cubicBezTo>
                  <a:cubicBezTo>
                    <a:pt x="236261" y="309881"/>
                    <a:pt x="236731" y="309600"/>
                    <a:pt x="237481" y="309600"/>
                  </a:cubicBezTo>
                  <a:cubicBezTo>
                    <a:pt x="239172" y="309600"/>
                    <a:pt x="240111" y="309271"/>
                    <a:pt x="240298" y="308614"/>
                  </a:cubicBezTo>
                  <a:cubicBezTo>
                    <a:pt x="240487" y="307956"/>
                    <a:pt x="240298" y="306783"/>
                    <a:pt x="239735" y="305092"/>
                  </a:cubicBezTo>
                  <a:cubicBezTo>
                    <a:pt x="239172" y="303402"/>
                    <a:pt x="238796" y="302181"/>
                    <a:pt x="238608" y="301430"/>
                  </a:cubicBezTo>
                  <a:cubicBezTo>
                    <a:pt x="238421" y="299928"/>
                    <a:pt x="237388" y="298050"/>
                    <a:pt x="235509" y="295796"/>
                  </a:cubicBezTo>
                  <a:cubicBezTo>
                    <a:pt x="233632" y="293542"/>
                    <a:pt x="232505" y="292134"/>
                    <a:pt x="232129" y="291570"/>
                  </a:cubicBezTo>
                  <a:cubicBezTo>
                    <a:pt x="231190" y="293260"/>
                    <a:pt x="229688" y="294012"/>
                    <a:pt x="227621" y="293824"/>
                  </a:cubicBezTo>
                  <a:cubicBezTo>
                    <a:pt x="225556" y="293636"/>
                    <a:pt x="224054" y="292791"/>
                    <a:pt x="223114" y="291289"/>
                  </a:cubicBezTo>
                  <a:cubicBezTo>
                    <a:pt x="223114" y="291476"/>
                    <a:pt x="222973" y="291993"/>
                    <a:pt x="222691" y="292838"/>
                  </a:cubicBezTo>
                  <a:cubicBezTo>
                    <a:pt x="222410" y="293683"/>
                    <a:pt x="222269" y="294293"/>
                    <a:pt x="222269" y="294669"/>
                  </a:cubicBezTo>
                  <a:cubicBezTo>
                    <a:pt x="219828" y="294669"/>
                    <a:pt x="218420" y="294575"/>
                    <a:pt x="218043" y="294387"/>
                  </a:cubicBezTo>
                  <a:cubicBezTo>
                    <a:pt x="218231" y="293824"/>
                    <a:pt x="218466" y="292181"/>
                    <a:pt x="218747" y="289457"/>
                  </a:cubicBezTo>
                  <a:cubicBezTo>
                    <a:pt x="219029" y="286734"/>
                    <a:pt x="219358" y="284621"/>
                    <a:pt x="219733" y="283119"/>
                  </a:cubicBezTo>
                  <a:cubicBezTo>
                    <a:pt x="219922" y="282368"/>
                    <a:pt x="220438" y="281241"/>
                    <a:pt x="221283" y="279738"/>
                  </a:cubicBezTo>
                  <a:cubicBezTo>
                    <a:pt x="222128" y="278236"/>
                    <a:pt x="222832" y="276874"/>
                    <a:pt x="223396" y="275654"/>
                  </a:cubicBezTo>
                  <a:cubicBezTo>
                    <a:pt x="223959" y="274433"/>
                    <a:pt x="224335" y="273259"/>
                    <a:pt x="224523" y="272132"/>
                  </a:cubicBezTo>
                  <a:cubicBezTo>
                    <a:pt x="224711" y="271005"/>
                    <a:pt x="224288" y="270113"/>
                    <a:pt x="223255" y="269456"/>
                  </a:cubicBezTo>
                  <a:cubicBezTo>
                    <a:pt x="222223" y="268799"/>
                    <a:pt x="220579" y="268564"/>
                    <a:pt x="218325" y="268752"/>
                  </a:cubicBezTo>
                  <a:cubicBezTo>
                    <a:pt x="214758" y="268939"/>
                    <a:pt x="212315" y="270818"/>
                    <a:pt x="211000" y="274386"/>
                  </a:cubicBezTo>
                  <a:cubicBezTo>
                    <a:pt x="210814" y="274949"/>
                    <a:pt x="210532" y="275935"/>
                    <a:pt x="210156" y="277344"/>
                  </a:cubicBezTo>
                  <a:cubicBezTo>
                    <a:pt x="209780" y="278752"/>
                    <a:pt x="209310" y="279832"/>
                    <a:pt x="208747" y="280583"/>
                  </a:cubicBezTo>
                  <a:cubicBezTo>
                    <a:pt x="208184" y="281335"/>
                    <a:pt x="207338" y="281992"/>
                    <a:pt x="206212" y="282555"/>
                  </a:cubicBezTo>
                  <a:cubicBezTo>
                    <a:pt x="204898" y="283119"/>
                    <a:pt x="202644" y="283307"/>
                    <a:pt x="199450" y="283119"/>
                  </a:cubicBezTo>
                  <a:cubicBezTo>
                    <a:pt x="196258" y="282931"/>
                    <a:pt x="194004" y="282462"/>
                    <a:pt x="192689" y="281710"/>
                  </a:cubicBezTo>
                  <a:cubicBezTo>
                    <a:pt x="190249" y="280208"/>
                    <a:pt x="188136" y="277485"/>
                    <a:pt x="186351" y="273541"/>
                  </a:cubicBezTo>
                  <a:cubicBezTo>
                    <a:pt x="184567" y="269597"/>
                    <a:pt x="183675" y="266122"/>
                    <a:pt x="183675" y="263117"/>
                  </a:cubicBezTo>
                  <a:cubicBezTo>
                    <a:pt x="183675" y="261239"/>
                    <a:pt x="183910" y="258751"/>
                    <a:pt x="184379" y="255652"/>
                  </a:cubicBezTo>
                  <a:cubicBezTo>
                    <a:pt x="184849" y="252553"/>
                    <a:pt x="185130" y="250206"/>
                    <a:pt x="185224" y="248609"/>
                  </a:cubicBezTo>
                  <a:cubicBezTo>
                    <a:pt x="185319" y="247013"/>
                    <a:pt x="184801" y="244712"/>
                    <a:pt x="183675" y="241708"/>
                  </a:cubicBezTo>
                  <a:cubicBezTo>
                    <a:pt x="184238" y="241332"/>
                    <a:pt x="185083" y="240440"/>
                    <a:pt x="186210" y="239031"/>
                  </a:cubicBezTo>
                  <a:cubicBezTo>
                    <a:pt x="187337" y="237623"/>
                    <a:pt x="188277" y="236637"/>
                    <a:pt x="189027" y="236073"/>
                  </a:cubicBezTo>
                  <a:cubicBezTo>
                    <a:pt x="189403" y="235886"/>
                    <a:pt x="189826" y="235745"/>
                    <a:pt x="190295" y="235651"/>
                  </a:cubicBezTo>
                  <a:cubicBezTo>
                    <a:pt x="190765" y="235557"/>
                    <a:pt x="191188" y="235557"/>
                    <a:pt x="191562" y="235651"/>
                  </a:cubicBezTo>
                  <a:cubicBezTo>
                    <a:pt x="191939" y="235745"/>
                    <a:pt x="192314" y="235604"/>
                    <a:pt x="192689" y="235228"/>
                  </a:cubicBezTo>
                  <a:cubicBezTo>
                    <a:pt x="193066" y="234853"/>
                    <a:pt x="193347" y="234289"/>
                    <a:pt x="193534" y="233538"/>
                  </a:cubicBezTo>
                  <a:cubicBezTo>
                    <a:pt x="193347" y="233350"/>
                    <a:pt x="192971" y="233068"/>
                    <a:pt x="192408" y="232693"/>
                  </a:cubicBezTo>
                  <a:cubicBezTo>
                    <a:pt x="191844" y="232129"/>
                    <a:pt x="191469" y="231848"/>
                    <a:pt x="191281" y="231848"/>
                  </a:cubicBezTo>
                  <a:cubicBezTo>
                    <a:pt x="192596" y="232411"/>
                    <a:pt x="195272" y="232270"/>
                    <a:pt x="199310" y="231425"/>
                  </a:cubicBezTo>
                  <a:cubicBezTo>
                    <a:pt x="203348" y="230580"/>
                    <a:pt x="205930" y="230721"/>
                    <a:pt x="207056" y="231848"/>
                  </a:cubicBezTo>
                  <a:cubicBezTo>
                    <a:pt x="209874" y="233914"/>
                    <a:pt x="211940" y="233726"/>
                    <a:pt x="213254" y="231284"/>
                  </a:cubicBezTo>
                  <a:cubicBezTo>
                    <a:pt x="213254" y="231096"/>
                    <a:pt x="213020" y="230204"/>
                    <a:pt x="212550" y="228608"/>
                  </a:cubicBezTo>
                  <a:cubicBezTo>
                    <a:pt x="212081" y="227012"/>
                    <a:pt x="212034" y="225744"/>
                    <a:pt x="212409" y="224805"/>
                  </a:cubicBezTo>
                  <a:cubicBezTo>
                    <a:pt x="213349" y="229876"/>
                    <a:pt x="216071" y="230721"/>
                    <a:pt x="220579" y="227340"/>
                  </a:cubicBezTo>
                  <a:cubicBezTo>
                    <a:pt x="221142" y="227904"/>
                    <a:pt x="222598" y="228373"/>
                    <a:pt x="224945" y="228749"/>
                  </a:cubicBezTo>
                  <a:cubicBezTo>
                    <a:pt x="227293" y="229124"/>
                    <a:pt x="228936" y="229594"/>
                    <a:pt x="229875" y="230157"/>
                  </a:cubicBezTo>
                  <a:cubicBezTo>
                    <a:pt x="230439" y="230533"/>
                    <a:pt x="231097" y="231049"/>
                    <a:pt x="231847" y="231707"/>
                  </a:cubicBezTo>
                  <a:cubicBezTo>
                    <a:pt x="232599" y="232364"/>
                    <a:pt x="233115" y="232787"/>
                    <a:pt x="233397" y="232974"/>
                  </a:cubicBezTo>
                  <a:cubicBezTo>
                    <a:pt x="233678" y="233162"/>
                    <a:pt x="234148" y="233115"/>
                    <a:pt x="234805" y="232834"/>
                  </a:cubicBezTo>
                  <a:cubicBezTo>
                    <a:pt x="235463" y="232552"/>
                    <a:pt x="236261" y="231942"/>
                    <a:pt x="237200" y="231003"/>
                  </a:cubicBezTo>
                  <a:cubicBezTo>
                    <a:pt x="239078" y="233632"/>
                    <a:pt x="240205" y="235886"/>
                    <a:pt x="240580" y="237764"/>
                  </a:cubicBezTo>
                  <a:cubicBezTo>
                    <a:pt x="242647" y="245276"/>
                    <a:pt x="244431" y="249407"/>
                    <a:pt x="245932" y="250159"/>
                  </a:cubicBezTo>
                  <a:cubicBezTo>
                    <a:pt x="247247" y="250722"/>
                    <a:pt x="248281" y="250910"/>
                    <a:pt x="249032" y="250722"/>
                  </a:cubicBezTo>
                  <a:cubicBezTo>
                    <a:pt x="249783" y="250534"/>
                    <a:pt x="250205" y="249642"/>
                    <a:pt x="250299" y="248046"/>
                  </a:cubicBezTo>
                  <a:cubicBezTo>
                    <a:pt x="250394" y="246450"/>
                    <a:pt x="250394" y="245135"/>
                    <a:pt x="250299" y="244102"/>
                  </a:cubicBezTo>
                  <a:cubicBezTo>
                    <a:pt x="250205" y="243069"/>
                    <a:pt x="250065" y="241895"/>
                    <a:pt x="249876" y="240581"/>
                  </a:cubicBezTo>
                  <a:lnTo>
                    <a:pt x="249595" y="238327"/>
                  </a:lnTo>
                  <a:cubicBezTo>
                    <a:pt x="249595" y="236637"/>
                    <a:pt x="249595" y="234946"/>
                    <a:pt x="249595" y="233256"/>
                  </a:cubicBezTo>
                  <a:lnTo>
                    <a:pt x="249313" y="231003"/>
                  </a:lnTo>
                  <a:cubicBezTo>
                    <a:pt x="246496" y="230439"/>
                    <a:pt x="244759" y="229312"/>
                    <a:pt x="244102" y="227622"/>
                  </a:cubicBezTo>
                  <a:cubicBezTo>
                    <a:pt x="243445" y="225932"/>
                    <a:pt x="243585" y="224194"/>
                    <a:pt x="244524" y="222410"/>
                  </a:cubicBezTo>
                  <a:cubicBezTo>
                    <a:pt x="245464" y="220626"/>
                    <a:pt x="246872" y="218889"/>
                    <a:pt x="248750" y="217199"/>
                  </a:cubicBezTo>
                  <a:cubicBezTo>
                    <a:pt x="248938" y="217011"/>
                    <a:pt x="249689" y="216682"/>
                    <a:pt x="251004" y="216213"/>
                  </a:cubicBezTo>
                  <a:cubicBezTo>
                    <a:pt x="252319" y="215743"/>
                    <a:pt x="253774" y="215133"/>
                    <a:pt x="255370" y="214382"/>
                  </a:cubicBezTo>
                  <a:cubicBezTo>
                    <a:pt x="256967" y="213630"/>
                    <a:pt x="258141" y="212879"/>
                    <a:pt x="258892" y="212128"/>
                  </a:cubicBezTo>
                  <a:cubicBezTo>
                    <a:pt x="262835" y="208560"/>
                    <a:pt x="264244" y="205273"/>
                    <a:pt x="263117" y="202268"/>
                  </a:cubicBezTo>
                  <a:cubicBezTo>
                    <a:pt x="264432" y="202268"/>
                    <a:pt x="265465" y="201423"/>
                    <a:pt x="266215" y="199733"/>
                  </a:cubicBezTo>
                  <a:cubicBezTo>
                    <a:pt x="266029" y="199733"/>
                    <a:pt x="265559" y="199451"/>
                    <a:pt x="264807" y="198887"/>
                  </a:cubicBezTo>
                  <a:cubicBezTo>
                    <a:pt x="264057" y="198324"/>
                    <a:pt x="263352" y="197855"/>
                    <a:pt x="262694" y="197479"/>
                  </a:cubicBezTo>
                  <a:cubicBezTo>
                    <a:pt x="262037" y="197103"/>
                    <a:pt x="261615" y="196915"/>
                    <a:pt x="261427" y="196915"/>
                  </a:cubicBezTo>
                  <a:cubicBezTo>
                    <a:pt x="263117" y="195976"/>
                    <a:pt x="263305" y="194474"/>
                    <a:pt x="261990" y="192408"/>
                  </a:cubicBezTo>
                  <a:cubicBezTo>
                    <a:pt x="262930" y="191845"/>
                    <a:pt x="263634" y="190812"/>
                    <a:pt x="264103" y="189309"/>
                  </a:cubicBezTo>
                  <a:cubicBezTo>
                    <a:pt x="264573" y="187807"/>
                    <a:pt x="265277" y="186868"/>
                    <a:pt x="266215" y="186492"/>
                  </a:cubicBezTo>
                  <a:cubicBezTo>
                    <a:pt x="267906" y="188746"/>
                    <a:pt x="269878" y="188934"/>
                    <a:pt x="272131" y="187056"/>
                  </a:cubicBezTo>
                  <a:cubicBezTo>
                    <a:pt x="273446" y="185553"/>
                    <a:pt x="273540" y="184051"/>
                    <a:pt x="272413" y="182548"/>
                  </a:cubicBezTo>
                  <a:cubicBezTo>
                    <a:pt x="273353" y="181234"/>
                    <a:pt x="275278" y="180248"/>
                    <a:pt x="278189" y="179590"/>
                  </a:cubicBezTo>
                  <a:cubicBezTo>
                    <a:pt x="281100" y="178933"/>
                    <a:pt x="282837" y="178041"/>
                    <a:pt x="283400" y="176914"/>
                  </a:cubicBezTo>
                  <a:cubicBezTo>
                    <a:pt x="284715" y="177290"/>
                    <a:pt x="285467" y="177102"/>
                    <a:pt x="285654" y="176351"/>
                  </a:cubicBezTo>
                  <a:cubicBezTo>
                    <a:pt x="285842" y="175599"/>
                    <a:pt x="285935" y="174473"/>
                    <a:pt x="285935" y="172970"/>
                  </a:cubicBezTo>
                  <a:cubicBezTo>
                    <a:pt x="285935" y="171468"/>
                    <a:pt x="286217" y="170341"/>
                    <a:pt x="286781" y="169590"/>
                  </a:cubicBezTo>
                  <a:cubicBezTo>
                    <a:pt x="287532" y="168651"/>
                    <a:pt x="288941" y="167805"/>
                    <a:pt x="291006" y="167054"/>
                  </a:cubicBezTo>
                  <a:cubicBezTo>
                    <a:pt x="293073" y="166303"/>
                    <a:pt x="294293" y="165834"/>
                    <a:pt x="294668" y="165646"/>
                  </a:cubicBezTo>
                  <a:lnTo>
                    <a:pt x="299458" y="162547"/>
                  </a:lnTo>
                  <a:cubicBezTo>
                    <a:pt x="300021" y="161796"/>
                    <a:pt x="300021" y="161420"/>
                    <a:pt x="299458" y="161420"/>
                  </a:cubicBezTo>
                  <a:cubicBezTo>
                    <a:pt x="302838" y="161796"/>
                    <a:pt x="305750" y="160763"/>
                    <a:pt x="308191" y="158321"/>
                  </a:cubicBezTo>
                  <a:cubicBezTo>
                    <a:pt x="310069" y="156255"/>
                    <a:pt x="309506" y="154377"/>
                    <a:pt x="306500" y="152687"/>
                  </a:cubicBezTo>
                  <a:cubicBezTo>
                    <a:pt x="307064" y="151560"/>
                    <a:pt x="306782" y="150668"/>
                    <a:pt x="305655" y="150011"/>
                  </a:cubicBezTo>
                  <a:cubicBezTo>
                    <a:pt x="304528" y="149353"/>
                    <a:pt x="303120" y="148837"/>
                    <a:pt x="301430" y="148461"/>
                  </a:cubicBezTo>
                  <a:cubicBezTo>
                    <a:pt x="301993" y="148274"/>
                    <a:pt x="303074" y="148227"/>
                    <a:pt x="304669" y="148320"/>
                  </a:cubicBezTo>
                  <a:cubicBezTo>
                    <a:pt x="306266" y="148414"/>
                    <a:pt x="307252" y="148274"/>
                    <a:pt x="307627" y="147898"/>
                  </a:cubicBezTo>
                  <a:cubicBezTo>
                    <a:pt x="310444" y="146020"/>
                    <a:pt x="309787" y="144517"/>
                    <a:pt x="305655" y="143391"/>
                  </a:cubicBezTo>
                  <a:cubicBezTo>
                    <a:pt x="302463" y="142452"/>
                    <a:pt x="298425" y="143578"/>
                    <a:pt x="293542" y="146771"/>
                  </a:cubicBezTo>
                  <a:cubicBezTo>
                    <a:pt x="293166" y="146959"/>
                    <a:pt x="292274" y="147851"/>
                    <a:pt x="290865" y="149447"/>
                  </a:cubicBezTo>
                  <a:cubicBezTo>
                    <a:pt x="289457" y="151044"/>
                    <a:pt x="288189" y="151936"/>
                    <a:pt x="287062" y="152124"/>
                  </a:cubicBezTo>
                  <a:cubicBezTo>
                    <a:pt x="287439" y="152124"/>
                    <a:pt x="287861" y="151654"/>
                    <a:pt x="288330" y="150715"/>
                  </a:cubicBezTo>
                  <a:cubicBezTo>
                    <a:pt x="288800" y="149776"/>
                    <a:pt x="289270" y="148743"/>
                    <a:pt x="289738" y="147616"/>
                  </a:cubicBezTo>
                  <a:cubicBezTo>
                    <a:pt x="290208" y="146489"/>
                    <a:pt x="290537" y="145832"/>
                    <a:pt x="290724" y="145644"/>
                  </a:cubicBezTo>
                  <a:cubicBezTo>
                    <a:pt x="291851" y="144330"/>
                    <a:pt x="293918" y="142921"/>
                    <a:pt x="296922" y="141419"/>
                  </a:cubicBezTo>
                  <a:cubicBezTo>
                    <a:pt x="299552" y="140292"/>
                    <a:pt x="304435" y="139165"/>
                    <a:pt x="311571" y="138038"/>
                  </a:cubicBezTo>
                  <a:cubicBezTo>
                    <a:pt x="317957" y="136536"/>
                    <a:pt x="322746" y="137569"/>
                    <a:pt x="325939" y="141137"/>
                  </a:cubicBezTo>
                  <a:cubicBezTo>
                    <a:pt x="325563" y="140761"/>
                    <a:pt x="326455" y="139541"/>
                    <a:pt x="328615" y="137475"/>
                  </a:cubicBezTo>
                  <a:cubicBezTo>
                    <a:pt x="330775" y="135409"/>
                    <a:pt x="332136" y="134282"/>
                    <a:pt x="332699" y="134094"/>
                  </a:cubicBezTo>
                  <a:cubicBezTo>
                    <a:pt x="333263" y="133718"/>
                    <a:pt x="334671" y="133296"/>
                    <a:pt x="336925" y="132826"/>
                  </a:cubicBezTo>
                  <a:cubicBezTo>
                    <a:pt x="339178" y="132357"/>
                    <a:pt x="340587" y="131653"/>
                    <a:pt x="341150" y="130714"/>
                  </a:cubicBezTo>
                  <a:lnTo>
                    <a:pt x="341714" y="124516"/>
                  </a:lnTo>
                  <a:cubicBezTo>
                    <a:pt x="339460" y="124704"/>
                    <a:pt x="337818" y="124046"/>
                    <a:pt x="336784" y="122544"/>
                  </a:cubicBezTo>
                  <a:cubicBezTo>
                    <a:pt x="335752" y="121041"/>
                    <a:pt x="335142" y="119070"/>
                    <a:pt x="334953" y="116628"/>
                  </a:cubicBezTo>
                  <a:cubicBezTo>
                    <a:pt x="334953" y="117004"/>
                    <a:pt x="334390" y="117755"/>
                    <a:pt x="333263" y="118882"/>
                  </a:cubicBezTo>
                  <a:cubicBezTo>
                    <a:pt x="333263" y="117567"/>
                    <a:pt x="332840" y="116816"/>
                    <a:pt x="331995" y="116628"/>
                  </a:cubicBezTo>
                  <a:cubicBezTo>
                    <a:pt x="331150" y="116440"/>
                    <a:pt x="330070" y="116534"/>
                    <a:pt x="328755" y="116910"/>
                  </a:cubicBezTo>
                  <a:cubicBezTo>
                    <a:pt x="327441" y="117285"/>
                    <a:pt x="326596" y="117379"/>
                    <a:pt x="326220" y="117191"/>
                  </a:cubicBezTo>
                  <a:cubicBezTo>
                    <a:pt x="324343" y="116628"/>
                    <a:pt x="322934" y="115924"/>
                    <a:pt x="321995" y="115079"/>
                  </a:cubicBezTo>
                  <a:cubicBezTo>
                    <a:pt x="321056" y="114233"/>
                    <a:pt x="320304" y="112684"/>
                    <a:pt x="319741" y="110431"/>
                  </a:cubicBezTo>
                  <a:cubicBezTo>
                    <a:pt x="319177" y="108177"/>
                    <a:pt x="318802" y="106768"/>
                    <a:pt x="318614" y="106205"/>
                  </a:cubicBezTo>
                  <a:cubicBezTo>
                    <a:pt x="318238" y="105266"/>
                    <a:pt x="317346" y="104280"/>
                    <a:pt x="315937" y="103247"/>
                  </a:cubicBezTo>
                  <a:cubicBezTo>
                    <a:pt x="314529" y="102214"/>
                    <a:pt x="313638" y="101228"/>
                    <a:pt x="313261" y="100289"/>
                  </a:cubicBezTo>
                  <a:cubicBezTo>
                    <a:pt x="313074" y="99913"/>
                    <a:pt x="312839" y="99397"/>
                    <a:pt x="312557" y="98740"/>
                  </a:cubicBezTo>
                  <a:cubicBezTo>
                    <a:pt x="312275" y="98082"/>
                    <a:pt x="311994" y="97472"/>
                    <a:pt x="311712" y="96908"/>
                  </a:cubicBezTo>
                  <a:cubicBezTo>
                    <a:pt x="311430" y="96345"/>
                    <a:pt x="311055" y="95828"/>
                    <a:pt x="310585" y="95359"/>
                  </a:cubicBezTo>
                  <a:cubicBezTo>
                    <a:pt x="310116" y="94889"/>
                    <a:pt x="309599" y="94655"/>
                    <a:pt x="309036" y="94655"/>
                  </a:cubicBezTo>
                  <a:cubicBezTo>
                    <a:pt x="308472" y="94655"/>
                    <a:pt x="307815" y="95124"/>
                    <a:pt x="307064" y="96063"/>
                  </a:cubicBezTo>
                  <a:cubicBezTo>
                    <a:pt x="306313" y="97002"/>
                    <a:pt x="305609" y="97941"/>
                    <a:pt x="304951" y="98880"/>
                  </a:cubicBezTo>
                  <a:cubicBezTo>
                    <a:pt x="304294" y="99819"/>
                    <a:pt x="303871" y="100289"/>
                    <a:pt x="303683" y="100289"/>
                  </a:cubicBezTo>
                  <a:cubicBezTo>
                    <a:pt x="303120" y="99913"/>
                    <a:pt x="302556" y="99772"/>
                    <a:pt x="301993" y="99866"/>
                  </a:cubicBezTo>
                  <a:cubicBezTo>
                    <a:pt x="301430" y="99960"/>
                    <a:pt x="301007" y="100054"/>
                    <a:pt x="300725" y="100148"/>
                  </a:cubicBezTo>
                  <a:cubicBezTo>
                    <a:pt x="300444" y="100242"/>
                    <a:pt x="300021" y="100524"/>
                    <a:pt x="299458" y="100993"/>
                  </a:cubicBezTo>
                  <a:cubicBezTo>
                    <a:pt x="298894" y="101463"/>
                    <a:pt x="298425" y="101791"/>
                    <a:pt x="298049" y="101979"/>
                  </a:cubicBezTo>
                  <a:cubicBezTo>
                    <a:pt x="297486" y="102355"/>
                    <a:pt x="296688" y="102637"/>
                    <a:pt x="295654" y="102824"/>
                  </a:cubicBezTo>
                  <a:cubicBezTo>
                    <a:pt x="294622" y="103012"/>
                    <a:pt x="293823" y="103200"/>
                    <a:pt x="293260" y="103388"/>
                  </a:cubicBezTo>
                  <a:cubicBezTo>
                    <a:pt x="296077" y="102449"/>
                    <a:pt x="295983" y="101416"/>
                    <a:pt x="292978" y="100289"/>
                  </a:cubicBezTo>
                  <a:cubicBezTo>
                    <a:pt x="291101" y="99538"/>
                    <a:pt x="289598" y="99256"/>
                    <a:pt x="288471" y="99444"/>
                  </a:cubicBezTo>
                  <a:cubicBezTo>
                    <a:pt x="290161" y="98693"/>
                    <a:pt x="290865" y="97566"/>
                    <a:pt x="290584" y="96063"/>
                  </a:cubicBezTo>
                  <a:cubicBezTo>
                    <a:pt x="290302" y="94561"/>
                    <a:pt x="289504" y="93246"/>
                    <a:pt x="288189" y="92119"/>
                  </a:cubicBezTo>
                  <a:lnTo>
                    <a:pt x="289598" y="92119"/>
                  </a:lnTo>
                  <a:cubicBezTo>
                    <a:pt x="289411" y="91368"/>
                    <a:pt x="288612" y="90570"/>
                    <a:pt x="287203" y="89725"/>
                  </a:cubicBezTo>
                  <a:cubicBezTo>
                    <a:pt x="285795" y="88880"/>
                    <a:pt x="284152" y="88081"/>
                    <a:pt x="282273" y="87330"/>
                  </a:cubicBezTo>
                  <a:cubicBezTo>
                    <a:pt x="280396" y="86579"/>
                    <a:pt x="279175" y="86016"/>
                    <a:pt x="278611" y="85640"/>
                  </a:cubicBezTo>
                  <a:cubicBezTo>
                    <a:pt x="277109" y="84701"/>
                    <a:pt x="273917" y="83809"/>
                    <a:pt x="269033" y="82964"/>
                  </a:cubicBezTo>
                  <a:cubicBezTo>
                    <a:pt x="264151" y="82119"/>
                    <a:pt x="261051" y="82072"/>
                    <a:pt x="259736" y="82823"/>
                  </a:cubicBezTo>
                  <a:cubicBezTo>
                    <a:pt x="258798" y="83950"/>
                    <a:pt x="258375" y="84936"/>
                    <a:pt x="258469" y="85781"/>
                  </a:cubicBezTo>
                  <a:cubicBezTo>
                    <a:pt x="258563" y="86626"/>
                    <a:pt x="258939" y="87941"/>
                    <a:pt x="259596" y="89725"/>
                  </a:cubicBezTo>
                  <a:cubicBezTo>
                    <a:pt x="260254" y="91509"/>
                    <a:pt x="260582" y="92683"/>
                    <a:pt x="260582" y="93246"/>
                  </a:cubicBezTo>
                  <a:cubicBezTo>
                    <a:pt x="260770" y="94373"/>
                    <a:pt x="260254" y="95594"/>
                    <a:pt x="259032" y="96908"/>
                  </a:cubicBezTo>
                  <a:cubicBezTo>
                    <a:pt x="257812" y="98223"/>
                    <a:pt x="257201" y="99350"/>
                    <a:pt x="257201" y="100289"/>
                  </a:cubicBezTo>
                  <a:cubicBezTo>
                    <a:pt x="257201" y="101604"/>
                    <a:pt x="258516" y="103059"/>
                    <a:pt x="261145" y="104655"/>
                  </a:cubicBezTo>
                  <a:cubicBezTo>
                    <a:pt x="263775" y="106252"/>
                    <a:pt x="264714" y="108271"/>
                    <a:pt x="263962" y="110712"/>
                  </a:cubicBezTo>
                  <a:cubicBezTo>
                    <a:pt x="263399" y="112215"/>
                    <a:pt x="261897" y="113717"/>
                    <a:pt x="259455" y="115219"/>
                  </a:cubicBezTo>
                  <a:cubicBezTo>
                    <a:pt x="257014" y="116722"/>
                    <a:pt x="255511" y="117849"/>
                    <a:pt x="254948" y="118600"/>
                  </a:cubicBezTo>
                  <a:cubicBezTo>
                    <a:pt x="254009" y="120102"/>
                    <a:pt x="253868" y="121840"/>
                    <a:pt x="254525" y="123812"/>
                  </a:cubicBezTo>
                  <a:cubicBezTo>
                    <a:pt x="255183" y="125784"/>
                    <a:pt x="256169" y="127333"/>
                    <a:pt x="257483" y="128460"/>
                  </a:cubicBezTo>
                  <a:cubicBezTo>
                    <a:pt x="257859" y="128835"/>
                    <a:pt x="258000" y="129211"/>
                    <a:pt x="257906" y="129587"/>
                  </a:cubicBezTo>
                  <a:cubicBezTo>
                    <a:pt x="257812" y="129962"/>
                    <a:pt x="257483" y="130385"/>
                    <a:pt x="256920" y="130854"/>
                  </a:cubicBezTo>
                  <a:cubicBezTo>
                    <a:pt x="256356" y="131324"/>
                    <a:pt x="255840" y="131700"/>
                    <a:pt x="255370" y="131981"/>
                  </a:cubicBezTo>
                  <a:cubicBezTo>
                    <a:pt x="254901" y="132263"/>
                    <a:pt x="254291" y="132592"/>
                    <a:pt x="253539" y="132967"/>
                  </a:cubicBezTo>
                  <a:lnTo>
                    <a:pt x="252694" y="133531"/>
                  </a:lnTo>
                  <a:cubicBezTo>
                    <a:pt x="250628" y="134470"/>
                    <a:pt x="248703" y="133906"/>
                    <a:pt x="246918" y="131840"/>
                  </a:cubicBezTo>
                  <a:cubicBezTo>
                    <a:pt x="245135" y="129775"/>
                    <a:pt x="243867" y="127333"/>
                    <a:pt x="243116" y="124516"/>
                  </a:cubicBezTo>
                  <a:cubicBezTo>
                    <a:pt x="241801" y="119821"/>
                    <a:pt x="240298" y="117004"/>
                    <a:pt x="238608" y="116065"/>
                  </a:cubicBezTo>
                  <a:cubicBezTo>
                    <a:pt x="234289" y="114562"/>
                    <a:pt x="231565" y="114656"/>
                    <a:pt x="230439" y="116346"/>
                  </a:cubicBezTo>
                  <a:cubicBezTo>
                    <a:pt x="229500" y="113905"/>
                    <a:pt x="225649" y="111463"/>
                    <a:pt x="218888" y="109022"/>
                  </a:cubicBezTo>
                  <a:cubicBezTo>
                    <a:pt x="214194" y="107332"/>
                    <a:pt x="208747" y="106956"/>
                    <a:pt x="202549" y="107895"/>
                  </a:cubicBezTo>
                  <a:cubicBezTo>
                    <a:pt x="203676" y="107707"/>
                    <a:pt x="203676" y="106299"/>
                    <a:pt x="202549" y="103669"/>
                  </a:cubicBezTo>
                  <a:cubicBezTo>
                    <a:pt x="201235" y="100852"/>
                    <a:pt x="199450" y="99725"/>
                    <a:pt x="197196" y="100289"/>
                  </a:cubicBezTo>
                  <a:cubicBezTo>
                    <a:pt x="197760" y="99162"/>
                    <a:pt x="198137" y="97519"/>
                    <a:pt x="198324" y="95359"/>
                  </a:cubicBezTo>
                  <a:cubicBezTo>
                    <a:pt x="198511" y="93199"/>
                    <a:pt x="198605" y="91931"/>
                    <a:pt x="198605" y="91556"/>
                  </a:cubicBezTo>
                  <a:cubicBezTo>
                    <a:pt x="199168" y="89114"/>
                    <a:pt x="200296" y="86955"/>
                    <a:pt x="201986" y="85077"/>
                  </a:cubicBezTo>
                  <a:cubicBezTo>
                    <a:pt x="202174" y="84889"/>
                    <a:pt x="202831" y="84091"/>
                    <a:pt x="203958" y="82682"/>
                  </a:cubicBezTo>
                  <a:cubicBezTo>
                    <a:pt x="205084" y="81273"/>
                    <a:pt x="205977" y="80006"/>
                    <a:pt x="206634" y="78879"/>
                  </a:cubicBezTo>
                  <a:cubicBezTo>
                    <a:pt x="207292" y="77752"/>
                    <a:pt x="207338" y="77189"/>
                    <a:pt x="206775" y="77189"/>
                  </a:cubicBezTo>
                  <a:cubicBezTo>
                    <a:pt x="213349" y="77940"/>
                    <a:pt x="218043" y="76907"/>
                    <a:pt x="220860" y="74090"/>
                  </a:cubicBezTo>
                  <a:cubicBezTo>
                    <a:pt x="221800" y="73151"/>
                    <a:pt x="222880" y="71554"/>
                    <a:pt x="224100" y="69301"/>
                  </a:cubicBezTo>
                  <a:cubicBezTo>
                    <a:pt x="225321" y="67047"/>
                    <a:pt x="226307" y="65451"/>
                    <a:pt x="227058" y="64512"/>
                  </a:cubicBezTo>
                  <a:cubicBezTo>
                    <a:pt x="228748" y="63385"/>
                    <a:pt x="230063" y="62868"/>
                    <a:pt x="231002" y="62962"/>
                  </a:cubicBezTo>
                  <a:cubicBezTo>
                    <a:pt x="231941" y="63056"/>
                    <a:pt x="233303" y="63573"/>
                    <a:pt x="235087" y="64512"/>
                  </a:cubicBezTo>
                  <a:cubicBezTo>
                    <a:pt x="236871" y="65451"/>
                    <a:pt x="238233" y="65920"/>
                    <a:pt x="239172" y="65920"/>
                  </a:cubicBezTo>
                  <a:cubicBezTo>
                    <a:pt x="241801" y="66108"/>
                    <a:pt x="243256" y="65075"/>
                    <a:pt x="243538" y="62821"/>
                  </a:cubicBezTo>
                  <a:cubicBezTo>
                    <a:pt x="243820" y="60568"/>
                    <a:pt x="243116" y="58690"/>
                    <a:pt x="241425" y="57187"/>
                  </a:cubicBezTo>
                  <a:cubicBezTo>
                    <a:pt x="243679" y="57375"/>
                    <a:pt x="243960" y="55779"/>
                    <a:pt x="242270" y="52398"/>
                  </a:cubicBezTo>
                  <a:cubicBezTo>
                    <a:pt x="241332" y="51083"/>
                    <a:pt x="240580" y="50238"/>
                    <a:pt x="240017" y="49863"/>
                  </a:cubicBezTo>
                  <a:cubicBezTo>
                    <a:pt x="237763" y="49111"/>
                    <a:pt x="235228" y="49581"/>
                    <a:pt x="232411" y="51271"/>
                  </a:cubicBezTo>
                  <a:cubicBezTo>
                    <a:pt x="230908" y="52022"/>
                    <a:pt x="231097" y="52774"/>
                    <a:pt x="232974" y="53525"/>
                  </a:cubicBezTo>
                  <a:cubicBezTo>
                    <a:pt x="232787" y="53337"/>
                    <a:pt x="231894" y="54323"/>
                    <a:pt x="230298" y="56483"/>
                  </a:cubicBezTo>
                  <a:cubicBezTo>
                    <a:pt x="228702" y="58643"/>
                    <a:pt x="227153" y="60286"/>
                    <a:pt x="225649" y="61413"/>
                  </a:cubicBezTo>
                  <a:cubicBezTo>
                    <a:pt x="224147" y="62540"/>
                    <a:pt x="222645" y="62070"/>
                    <a:pt x="221142" y="60004"/>
                  </a:cubicBezTo>
                  <a:cubicBezTo>
                    <a:pt x="220955" y="59816"/>
                    <a:pt x="220438" y="58549"/>
                    <a:pt x="219593" y="56201"/>
                  </a:cubicBezTo>
                  <a:cubicBezTo>
                    <a:pt x="218747" y="53854"/>
                    <a:pt x="217856" y="52586"/>
                    <a:pt x="216916" y="52398"/>
                  </a:cubicBezTo>
                  <a:cubicBezTo>
                    <a:pt x="215415" y="52398"/>
                    <a:pt x="213912" y="53807"/>
                    <a:pt x="212409" y="56624"/>
                  </a:cubicBezTo>
                  <a:cubicBezTo>
                    <a:pt x="212972" y="55121"/>
                    <a:pt x="211940" y="53713"/>
                    <a:pt x="209310" y="52398"/>
                  </a:cubicBezTo>
                  <a:cubicBezTo>
                    <a:pt x="206681" y="51083"/>
                    <a:pt x="204427" y="50332"/>
                    <a:pt x="202549" y="50144"/>
                  </a:cubicBezTo>
                  <a:cubicBezTo>
                    <a:pt x="206118" y="47891"/>
                    <a:pt x="205366" y="45355"/>
                    <a:pt x="200296" y="42538"/>
                  </a:cubicBezTo>
                  <a:cubicBezTo>
                    <a:pt x="198982" y="41787"/>
                    <a:pt x="197056" y="41317"/>
                    <a:pt x="194520" y="41130"/>
                  </a:cubicBezTo>
                  <a:close/>
                  <a:moveTo>
                    <a:pt x="279879" y="312558"/>
                  </a:moveTo>
                  <a:cubicBezTo>
                    <a:pt x="278470" y="312839"/>
                    <a:pt x="277343" y="313262"/>
                    <a:pt x="276498" y="313825"/>
                  </a:cubicBezTo>
                  <a:cubicBezTo>
                    <a:pt x="275653" y="314389"/>
                    <a:pt x="274574" y="315187"/>
                    <a:pt x="273259" y="316220"/>
                  </a:cubicBezTo>
                  <a:cubicBezTo>
                    <a:pt x="271945" y="317253"/>
                    <a:pt x="271099" y="317863"/>
                    <a:pt x="270723" y="318051"/>
                  </a:cubicBezTo>
                  <a:cubicBezTo>
                    <a:pt x="270348" y="318239"/>
                    <a:pt x="269550" y="318755"/>
                    <a:pt x="268329" y="319600"/>
                  </a:cubicBezTo>
                  <a:cubicBezTo>
                    <a:pt x="267108" y="320445"/>
                    <a:pt x="266310" y="321150"/>
                    <a:pt x="265934" y="321713"/>
                  </a:cubicBezTo>
                  <a:cubicBezTo>
                    <a:pt x="265371" y="322465"/>
                    <a:pt x="264807" y="323591"/>
                    <a:pt x="264244" y="325094"/>
                  </a:cubicBezTo>
                  <a:cubicBezTo>
                    <a:pt x="263680" y="326596"/>
                    <a:pt x="263212" y="327629"/>
                    <a:pt x="262835" y="328193"/>
                  </a:cubicBezTo>
                  <a:cubicBezTo>
                    <a:pt x="262460" y="327441"/>
                    <a:pt x="261380" y="326831"/>
                    <a:pt x="259596" y="326362"/>
                  </a:cubicBezTo>
                  <a:cubicBezTo>
                    <a:pt x="257812" y="325892"/>
                    <a:pt x="256920" y="325376"/>
                    <a:pt x="256920" y="324812"/>
                  </a:cubicBezTo>
                  <a:cubicBezTo>
                    <a:pt x="257296" y="326690"/>
                    <a:pt x="257671" y="329977"/>
                    <a:pt x="258046" y="334672"/>
                  </a:cubicBezTo>
                  <a:cubicBezTo>
                    <a:pt x="258422" y="339367"/>
                    <a:pt x="258892" y="342935"/>
                    <a:pt x="259455" y="345377"/>
                  </a:cubicBezTo>
                  <a:cubicBezTo>
                    <a:pt x="260770" y="351199"/>
                    <a:pt x="259643" y="355706"/>
                    <a:pt x="256074" y="358899"/>
                  </a:cubicBezTo>
                  <a:cubicBezTo>
                    <a:pt x="251004" y="363594"/>
                    <a:pt x="248281" y="367350"/>
                    <a:pt x="247904" y="370167"/>
                  </a:cubicBezTo>
                  <a:cubicBezTo>
                    <a:pt x="247154" y="374299"/>
                    <a:pt x="248281" y="376741"/>
                    <a:pt x="251285" y="377492"/>
                  </a:cubicBezTo>
                  <a:cubicBezTo>
                    <a:pt x="251285" y="378807"/>
                    <a:pt x="250534" y="380732"/>
                    <a:pt x="249032" y="383267"/>
                  </a:cubicBezTo>
                  <a:cubicBezTo>
                    <a:pt x="247529" y="385802"/>
                    <a:pt x="246872" y="387821"/>
                    <a:pt x="247060" y="389324"/>
                  </a:cubicBezTo>
                  <a:cubicBezTo>
                    <a:pt x="247060" y="390451"/>
                    <a:pt x="247247" y="391953"/>
                    <a:pt x="247623" y="393831"/>
                  </a:cubicBezTo>
                  <a:cubicBezTo>
                    <a:pt x="286312" y="387070"/>
                    <a:pt x="319272" y="369322"/>
                    <a:pt x="346503" y="340588"/>
                  </a:cubicBezTo>
                  <a:cubicBezTo>
                    <a:pt x="345940" y="340024"/>
                    <a:pt x="344767" y="339602"/>
                    <a:pt x="342982" y="339320"/>
                  </a:cubicBezTo>
                  <a:cubicBezTo>
                    <a:pt x="341198" y="339038"/>
                    <a:pt x="340024" y="338710"/>
                    <a:pt x="339460" y="338334"/>
                  </a:cubicBezTo>
                  <a:cubicBezTo>
                    <a:pt x="336080" y="337019"/>
                    <a:pt x="333826" y="336268"/>
                    <a:pt x="332699" y="336080"/>
                  </a:cubicBezTo>
                  <a:cubicBezTo>
                    <a:pt x="332888" y="334766"/>
                    <a:pt x="332653" y="333545"/>
                    <a:pt x="331995" y="332418"/>
                  </a:cubicBezTo>
                  <a:cubicBezTo>
                    <a:pt x="331338" y="331291"/>
                    <a:pt x="330587" y="330446"/>
                    <a:pt x="329741" y="329883"/>
                  </a:cubicBezTo>
                  <a:cubicBezTo>
                    <a:pt x="328897" y="329319"/>
                    <a:pt x="327723" y="328568"/>
                    <a:pt x="326220" y="327629"/>
                  </a:cubicBezTo>
                  <a:cubicBezTo>
                    <a:pt x="324718" y="326690"/>
                    <a:pt x="323685" y="326033"/>
                    <a:pt x="323121" y="325657"/>
                  </a:cubicBezTo>
                  <a:cubicBezTo>
                    <a:pt x="322746" y="325281"/>
                    <a:pt x="322089" y="324718"/>
                    <a:pt x="321149" y="323967"/>
                  </a:cubicBezTo>
                  <a:cubicBezTo>
                    <a:pt x="320210" y="323216"/>
                    <a:pt x="319554" y="322699"/>
                    <a:pt x="319177" y="322418"/>
                  </a:cubicBezTo>
                  <a:cubicBezTo>
                    <a:pt x="318802" y="322136"/>
                    <a:pt x="318098" y="321713"/>
                    <a:pt x="317065" y="321150"/>
                  </a:cubicBezTo>
                  <a:cubicBezTo>
                    <a:pt x="316032" y="320586"/>
                    <a:pt x="315233" y="320399"/>
                    <a:pt x="314670" y="320586"/>
                  </a:cubicBezTo>
                  <a:cubicBezTo>
                    <a:pt x="314107" y="320774"/>
                    <a:pt x="313168" y="320868"/>
                    <a:pt x="311853" y="320868"/>
                  </a:cubicBezTo>
                  <a:lnTo>
                    <a:pt x="311008" y="321150"/>
                  </a:lnTo>
                  <a:cubicBezTo>
                    <a:pt x="310444" y="321338"/>
                    <a:pt x="309928" y="321572"/>
                    <a:pt x="309458" y="321854"/>
                  </a:cubicBezTo>
                  <a:cubicBezTo>
                    <a:pt x="308990" y="322136"/>
                    <a:pt x="308472" y="322418"/>
                    <a:pt x="307909" y="322699"/>
                  </a:cubicBezTo>
                  <a:cubicBezTo>
                    <a:pt x="307346" y="322981"/>
                    <a:pt x="306970" y="323263"/>
                    <a:pt x="306782" y="323544"/>
                  </a:cubicBezTo>
                  <a:cubicBezTo>
                    <a:pt x="306595" y="323826"/>
                    <a:pt x="306595" y="324061"/>
                    <a:pt x="306782" y="324249"/>
                  </a:cubicBezTo>
                  <a:cubicBezTo>
                    <a:pt x="302838" y="321056"/>
                    <a:pt x="299458" y="318990"/>
                    <a:pt x="296640" y="318051"/>
                  </a:cubicBezTo>
                  <a:cubicBezTo>
                    <a:pt x="295702" y="317863"/>
                    <a:pt x="294668" y="317347"/>
                    <a:pt x="293542" y="316502"/>
                  </a:cubicBezTo>
                  <a:cubicBezTo>
                    <a:pt x="292415" y="315657"/>
                    <a:pt x="291429" y="314999"/>
                    <a:pt x="290584" y="314530"/>
                  </a:cubicBezTo>
                  <a:cubicBezTo>
                    <a:pt x="289738" y="314060"/>
                    <a:pt x="288800" y="313919"/>
                    <a:pt x="287767" y="314107"/>
                  </a:cubicBezTo>
                  <a:cubicBezTo>
                    <a:pt x="286735" y="314295"/>
                    <a:pt x="285654" y="314952"/>
                    <a:pt x="284527" y="316079"/>
                  </a:cubicBezTo>
                  <a:cubicBezTo>
                    <a:pt x="283588" y="317018"/>
                    <a:pt x="283025" y="318427"/>
                    <a:pt x="282837" y="320305"/>
                  </a:cubicBezTo>
                  <a:cubicBezTo>
                    <a:pt x="282649" y="322183"/>
                    <a:pt x="282462" y="323404"/>
                    <a:pt x="282273" y="323967"/>
                  </a:cubicBezTo>
                  <a:cubicBezTo>
                    <a:pt x="280959" y="323028"/>
                    <a:pt x="280959" y="321384"/>
                    <a:pt x="282273" y="319037"/>
                  </a:cubicBezTo>
                  <a:cubicBezTo>
                    <a:pt x="283588" y="316689"/>
                    <a:pt x="283777" y="314952"/>
                    <a:pt x="282837" y="313825"/>
                  </a:cubicBezTo>
                  <a:cubicBezTo>
                    <a:pt x="282273" y="312699"/>
                    <a:pt x="281287" y="312276"/>
                    <a:pt x="279879" y="312558"/>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2" name="Freeform 243">
              <a:extLst>
                <a:ext uri="{FF2B5EF4-FFF2-40B4-BE49-F238E27FC236}">
                  <a16:creationId xmlns:a16="http://schemas.microsoft.com/office/drawing/2014/main" id="{3FD4A404-9C0B-D925-1931-2239B3C4CD05}"/>
                </a:ext>
              </a:extLst>
            </p:cNvPr>
            <p:cNvSpPr/>
            <p:nvPr/>
          </p:nvSpPr>
          <p:spPr>
            <a:xfrm>
              <a:off x="7437246" y="2824517"/>
              <a:ext cx="432000" cy="288000"/>
            </a:xfrm>
            <a:custGeom>
              <a:avLst/>
              <a:gdLst>
                <a:gd name="connsiteX0" fmla="*/ 198324 w 576943"/>
                <a:gd name="connsiteY0" fmla="*/ 36058 h 432707"/>
                <a:gd name="connsiteX1" fmla="*/ 360589 w 576943"/>
                <a:gd name="connsiteY1" fmla="*/ 198323 h 432707"/>
                <a:gd name="connsiteX2" fmla="*/ 468766 w 576943"/>
                <a:gd name="connsiteY2" fmla="*/ 108176 h 432707"/>
                <a:gd name="connsiteX3" fmla="*/ 540884 w 576943"/>
                <a:gd name="connsiteY3" fmla="*/ 360588 h 432707"/>
                <a:gd name="connsiteX4" fmla="*/ 72118 w 576943"/>
                <a:gd name="connsiteY4" fmla="*/ 360588 h 432707"/>
                <a:gd name="connsiteX5" fmla="*/ 72118 w 576943"/>
                <a:gd name="connsiteY5" fmla="*/ 198323 h 432707"/>
                <a:gd name="connsiteX6" fmla="*/ 0 w 576943"/>
                <a:gd name="connsiteY6" fmla="*/ 0 h 432707"/>
                <a:gd name="connsiteX7" fmla="*/ 36059 w 576943"/>
                <a:gd name="connsiteY7" fmla="*/ 0 h 432707"/>
                <a:gd name="connsiteX8" fmla="*/ 36059 w 576943"/>
                <a:gd name="connsiteY8" fmla="*/ 396648 h 432707"/>
                <a:gd name="connsiteX9" fmla="*/ 576943 w 576943"/>
                <a:gd name="connsiteY9" fmla="*/ 396648 h 432707"/>
                <a:gd name="connsiteX10" fmla="*/ 576943 w 576943"/>
                <a:gd name="connsiteY10" fmla="*/ 432707 h 432707"/>
                <a:gd name="connsiteX11" fmla="*/ 0 w 576943"/>
                <a:gd name="connsiteY11" fmla="*/ 432707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6943" h="432707">
                  <a:moveTo>
                    <a:pt x="198324" y="36058"/>
                  </a:moveTo>
                  <a:lnTo>
                    <a:pt x="360589" y="198323"/>
                  </a:lnTo>
                  <a:lnTo>
                    <a:pt x="468766" y="108176"/>
                  </a:lnTo>
                  <a:lnTo>
                    <a:pt x="540884" y="360588"/>
                  </a:lnTo>
                  <a:lnTo>
                    <a:pt x="72118" y="360588"/>
                  </a:lnTo>
                  <a:lnTo>
                    <a:pt x="72118" y="198323"/>
                  </a:lnTo>
                  <a:close/>
                  <a:moveTo>
                    <a:pt x="0" y="0"/>
                  </a:moveTo>
                  <a:lnTo>
                    <a:pt x="36059" y="0"/>
                  </a:lnTo>
                  <a:lnTo>
                    <a:pt x="36059" y="396648"/>
                  </a:lnTo>
                  <a:lnTo>
                    <a:pt x="576943" y="396648"/>
                  </a:lnTo>
                  <a:lnTo>
                    <a:pt x="576943" y="432707"/>
                  </a:lnTo>
                  <a:lnTo>
                    <a:pt x="0" y="432707"/>
                  </a:ln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3" name="Freeform 263">
              <a:extLst>
                <a:ext uri="{FF2B5EF4-FFF2-40B4-BE49-F238E27FC236}">
                  <a16:creationId xmlns:a16="http://schemas.microsoft.com/office/drawing/2014/main" id="{44989187-7038-B597-7A8F-02A2AF014556}"/>
                </a:ext>
              </a:extLst>
            </p:cNvPr>
            <p:cNvSpPr/>
            <p:nvPr/>
          </p:nvSpPr>
          <p:spPr>
            <a:xfrm>
              <a:off x="6660637" y="1911008"/>
              <a:ext cx="432000" cy="360000"/>
            </a:xfrm>
            <a:custGeom>
              <a:avLst/>
              <a:gdLst>
                <a:gd name="connsiteX0" fmla="*/ 36059 w 504825"/>
                <a:gd name="connsiteY0" fmla="*/ 324530 h 396648"/>
                <a:gd name="connsiteX1" fmla="*/ 36059 w 504825"/>
                <a:gd name="connsiteY1" fmla="*/ 360589 h 396648"/>
                <a:gd name="connsiteX2" fmla="*/ 324530 w 504825"/>
                <a:gd name="connsiteY2" fmla="*/ 360589 h 396648"/>
                <a:gd name="connsiteX3" fmla="*/ 324530 w 504825"/>
                <a:gd name="connsiteY3" fmla="*/ 324530 h 396648"/>
                <a:gd name="connsiteX4" fmla="*/ 450737 w 504825"/>
                <a:gd name="connsiteY4" fmla="*/ 315515 h 396648"/>
                <a:gd name="connsiteX5" fmla="*/ 431581 w 504825"/>
                <a:gd name="connsiteY5" fmla="*/ 323403 h 396648"/>
                <a:gd name="connsiteX6" fmla="*/ 423693 w 504825"/>
                <a:gd name="connsiteY6" fmla="*/ 342560 h 396648"/>
                <a:gd name="connsiteX7" fmla="*/ 431581 w 504825"/>
                <a:gd name="connsiteY7" fmla="*/ 361716 h 396648"/>
                <a:gd name="connsiteX8" fmla="*/ 450737 w 504825"/>
                <a:gd name="connsiteY8" fmla="*/ 369604 h 396648"/>
                <a:gd name="connsiteX9" fmla="*/ 469893 w 504825"/>
                <a:gd name="connsiteY9" fmla="*/ 361716 h 396648"/>
                <a:gd name="connsiteX10" fmla="*/ 477781 w 504825"/>
                <a:gd name="connsiteY10" fmla="*/ 342560 h 396648"/>
                <a:gd name="connsiteX11" fmla="*/ 469893 w 504825"/>
                <a:gd name="connsiteY11" fmla="*/ 323403 h 396648"/>
                <a:gd name="connsiteX12" fmla="*/ 450737 w 504825"/>
                <a:gd name="connsiteY12" fmla="*/ 315515 h 396648"/>
                <a:gd name="connsiteX13" fmla="*/ 0 w 504825"/>
                <a:gd name="connsiteY13" fmla="*/ 288471 h 396648"/>
                <a:gd name="connsiteX14" fmla="*/ 504825 w 504825"/>
                <a:gd name="connsiteY14" fmla="*/ 288471 h 396648"/>
                <a:gd name="connsiteX15" fmla="*/ 504825 w 504825"/>
                <a:gd name="connsiteY15" fmla="*/ 396648 h 396648"/>
                <a:gd name="connsiteX16" fmla="*/ 0 w 504825"/>
                <a:gd name="connsiteY16" fmla="*/ 396648 h 396648"/>
                <a:gd name="connsiteX17" fmla="*/ 36059 w 504825"/>
                <a:gd name="connsiteY17" fmla="*/ 180294 h 396648"/>
                <a:gd name="connsiteX18" fmla="*/ 36059 w 504825"/>
                <a:gd name="connsiteY18" fmla="*/ 216352 h 396648"/>
                <a:gd name="connsiteX19" fmla="*/ 324530 w 504825"/>
                <a:gd name="connsiteY19" fmla="*/ 216352 h 396648"/>
                <a:gd name="connsiteX20" fmla="*/ 324530 w 504825"/>
                <a:gd name="connsiteY20" fmla="*/ 180294 h 396648"/>
                <a:gd name="connsiteX21" fmla="*/ 450737 w 504825"/>
                <a:gd name="connsiteY21" fmla="*/ 171279 h 396648"/>
                <a:gd name="connsiteX22" fmla="*/ 431581 w 504825"/>
                <a:gd name="connsiteY22" fmla="*/ 179167 h 396648"/>
                <a:gd name="connsiteX23" fmla="*/ 423693 w 504825"/>
                <a:gd name="connsiteY23" fmla="*/ 198323 h 396648"/>
                <a:gd name="connsiteX24" fmla="*/ 431581 w 504825"/>
                <a:gd name="connsiteY24" fmla="*/ 217479 h 396648"/>
                <a:gd name="connsiteX25" fmla="*/ 450737 w 504825"/>
                <a:gd name="connsiteY25" fmla="*/ 225367 h 396648"/>
                <a:gd name="connsiteX26" fmla="*/ 469893 w 504825"/>
                <a:gd name="connsiteY26" fmla="*/ 217479 h 396648"/>
                <a:gd name="connsiteX27" fmla="*/ 477781 w 504825"/>
                <a:gd name="connsiteY27" fmla="*/ 198323 h 396648"/>
                <a:gd name="connsiteX28" fmla="*/ 469893 w 504825"/>
                <a:gd name="connsiteY28" fmla="*/ 179167 h 396648"/>
                <a:gd name="connsiteX29" fmla="*/ 450737 w 504825"/>
                <a:gd name="connsiteY29" fmla="*/ 171279 h 396648"/>
                <a:gd name="connsiteX30" fmla="*/ 0 w 504825"/>
                <a:gd name="connsiteY30" fmla="*/ 144235 h 396648"/>
                <a:gd name="connsiteX31" fmla="*/ 504825 w 504825"/>
                <a:gd name="connsiteY31" fmla="*/ 144235 h 396648"/>
                <a:gd name="connsiteX32" fmla="*/ 504825 w 504825"/>
                <a:gd name="connsiteY32" fmla="*/ 252411 h 396648"/>
                <a:gd name="connsiteX33" fmla="*/ 0 w 504825"/>
                <a:gd name="connsiteY33" fmla="*/ 252411 h 396648"/>
                <a:gd name="connsiteX34" fmla="*/ 36059 w 504825"/>
                <a:gd name="connsiteY34" fmla="*/ 36059 h 396648"/>
                <a:gd name="connsiteX35" fmla="*/ 36059 w 504825"/>
                <a:gd name="connsiteY35" fmla="*/ 72118 h 396648"/>
                <a:gd name="connsiteX36" fmla="*/ 324530 w 504825"/>
                <a:gd name="connsiteY36" fmla="*/ 72118 h 396648"/>
                <a:gd name="connsiteX37" fmla="*/ 324530 w 504825"/>
                <a:gd name="connsiteY37" fmla="*/ 36059 h 396648"/>
                <a:gd name="connsiteX38" fmla="*/ 450737 w 504825"/>
                <a:gd name="connsiteY38" fmla="*/ 27044 h 396648"/>
                <a:gd name="connsiteX39" fmla="*/ 431581 w 504825"/>
                <a:gd name="connsiteY39" fmla="*/ 34932 h 396648"/>
                <a:gd name="connsiteX40" fmla="*/ 423693 w 504825"/>
                <a:gd name="connsiteY40" fmla="*/ 54088 h 396648"/>
                <a:gd name="connsiteX41" fmla="*/ 431581 w 504825"/>
                <a:gd name="connsiteY41" fmla="*/ 73245 h 396648"/>
                <a:gd name="connsiteX42" fmla="*/ 450737 w 504825"/>
                <a:gd name="connsiteY42" fmla="*/ 81133 h 396648"/>
                <a:gd name="connsiteX43" fmla="*/ 469893 w 504825"/>
                <a:gd name="connsiteY43" fmla="*/ 73245 h 396648"/>
                <a:gd name="connsiteX44" fmla="*/ 477781 w 504825"/>
                <a:gd name="connsiteY44" fmla="*/ 54088 h 396648"/>
                <a:gd name="connsiteX45" fmla="*/ 469893 w 504825"/>
                <a:gd name="connsiteY45" fmla="*/ 34932 h 396648"/>
                <a:gd name="connsiteX46" fmla="*/ 450737 w 504825"/>
                <a:gd name="connsiteY46" fmla="*/ 27044 h 396648"/>
                <a:gd name="connsiteX47" fmla="*/ 0 w 504825"/>
                <a:gd name="connsiteY47" fmla="*/ 0 h 396648"/>
                <a:gd name="connsiteX48" fmla="*/ 504825 w 504825"/>
                <a:gd name="connsiteY48" fmla="*/ 0 h 396648"/>
                <a:gd name="connsiteX49" fmla="*/ 504825 w 504825"/>
                <a:gd name="connsiteY49" fmla="*/ 108177 h 396648"/>
                <a:gd name="connsiteX50" fmla="*/ 0 w 504825"/>
                <a:gd name="connsiteY50" fmla="*/ 108177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04825" h="396648">
                  <a:moveTo>
                    <a:pt x="36059" y="324530"/>
                  </a:moveTo>
                  <a:lnTo>
                    <a:pt x="36059" y="360589"/>
                  </a:lnTo>
                  <a:lnTo>
                    <a:pt x="324530" y="360589"/>
                  </a:lnTo>
                  <a:lnTo>
                    <a:pt x="324530" y="324530"/>
                  </a:lnTo>
                  <a:close/>
                  <a:moveTo>
                    <a:pt x="450737" y="315515"/>
                  </a:moveTo>
                  <a:cubicBezTo>
                    <a:pt x="443225" y="315515"/>
                    <a:pt x="436839" y="318145"/>
                    <a:pt x="431581" y="323403"/>
                  </a:cubicBezTo>
                  <a:cubicBezTo>
                    <a:pt x="426322" y="328662"/>
                    <a:pt x="423693" y="335047"/>
                    <a:pt x="423693" y="342560"/>
                  </a:cubicBezTo>
                  <a:cubicBezTo>
                    <a:pt x="423693" y="350072"/>
                    <a:pt x="426322" y="356457"/>
                    <a:pt x="431581" y="361716"/>
                  </a:cubicBezTo>
                  <a:cubicBezTo>
                    <a:pt x="436839" y="366975"/>
                    <a:pt x="443225" y="369604"/>
                    <a:pt x="450737" y="369604"/>
                  </a:cubicBezTo>
                  <a:cubicBezTo>
                    <a:pt x="458249" y="369604"/>
                    <a:pt x="464635" y="366975"/>
                    <a:pt x="469893" y="361716"/>
                  </a:cubicBezTo>
                  <a:cubicBezTo>
                    <a:pt x="475152" y="356457"/>
                    <a:pt x="477781" y="350072"/>
                    <a:pt x="477781" y="342560"/>
                  </a:cubicBezTo>
                  <a:cubicBezTo>
                    <a:pt x="477781" y="335047"/>
                    <a:pt x="475152" y="328662"/>
                    <a:pt x="469893" y="323403"/>
                  </a:cubicBezTo>
                  <a:cubicBezTo>
                    <a:pt x="464635" y="318145"/>
                    <a:pt x="458249" y="315515"/>
                    <a:pt x="450737" y="315515"/>
                  </a:cubicBezTo>
                  <a:close/>
                  <a:moveTo>
                    <a:pt x="0" y="288471"/>
                  </a:moveTo>
                  <a:lnTo>
                    <a:pt x="504825" y="288471"/>
                  </a:lnTo>
                  <a:lnTo>
                    <a:pt x="504825" y="396648"/>
                  </a:lnTo>
                  <a:lnTo>
                    <a:pt x="0" y="396648"/>
                  </a:lnTo>
                  <a:close/>
                  <a:moveTo>
                    <a:pt x="36059" y="180294"/>
                  </a:moveTo>
                  <a:lnTo>
                    <a:pt x="36059" y="216352"/>
                  </a:lnTo>
                  <a:lnTo>
                    <a:pt x="324530" y="216352"/>
                  </a:lnTo>
                  <a:lnTo>
                    <a:pt x="324530" y="180294"/>
                  </a:lnTo>
                  <a:close/>
                  <a:moveTo>
                    <a:pt x="450737" y="171279"/>
                  </a:moveTo>
                  <a:cubicBezTo>
                    <a:pt x="443225" y="171279"/>
                    <a:pt x="436839" y="173908"/>
                    <a:pt x="431581" y="179167"/>
                  </a:cubicBezTo>
                  <a:cubicBezTo>
                    <a:pt x="426322" y="184425"/>
                    <a:pt x="423693" y="190811"/>
                    <a:pt x="423693" y="198323"/>
                  </a:cubicBezTo>
                  <a:cubicBezTo>
                    <a:pt x="423693" y="205835"/>
                    <a:pt x="426322" y="212221"/>
                    <a:pt x="431581" y="217479"/>
                  </a:cubicBezTo>
                  <a:cubicBezTo>
                    <a:pt x="436839" y="222738"/>
                    <a:pt x="443225" y="225367"/>
                    <a:pt x="450737" y="225367"/>
                  </a:cubicBezTo>
                  <a:cubicBezTo>
                    <a:pt x="458249" y="225367"/>
                    <a:pt x="464635" y="222738"/>
                    <a:pt x="469893" y="217479"/>
                  </a:cubicBezTo>
                  <a:cubicBezTo>
                    <a:pt x="475152" y="212221"/>
                    <a:pt x="477781" y="205835"/>
                    <a:pt x="477781" y="198323"/>
                  </a:cubicBezTo>
                  <a:cubicBezTo>
                    <a:pt x="477781" y="190811"/>
                    <a:pt x="475152" y="184425"/>
                    <a:pt x="469893" y="179167"/>
                  </a:cubicBezTo>
                  <a:cubicBezTo>
                    <a:pt x="464635" y="173908"/>
                    <a:pt x="458249" y="171279"/>
                    <a:pt x="450737" y="171279"/>
                  </a:cubicBezTo>
                  <a:close/>
                  <a:moveTo>
                    <a:pt x="0" y="144235"/>
                  </a:moveTo>
                  <a:lnTo>
                    <a:pt x="504825" y="144235"/>
                  </a:lnTo>
                  <a:lnTo>
                    <a:pt x="504825" y="252411"/>
                  </a:lnTo>
                  <a:lnTo>
                    <a:pt x="0" y="252411"/>
                  </a:lnTo>
                  <a:close/>
                  <a:moveTo>
                    <a:pt x="36059" y="36059"/>
                  </a:moveTo>
                  <a:lnTo>
                    <a:pt x="36059" y="72118"/>
                  </a:lnTo>
                  <a:lnTo>
                    <a:pt x="324530" y="72118"/>
                  </a:lnTo>
                  <a:lnTo>
                    <a:pt x="324530" y="36059"/>
                  </a:lnTo>
                  <a:close/>
                  <a:moveTo>
                    <a:pt x="450737" y="27044"/>
                  </a:moveTo>
                  <a:cubicBezTo>
                    <a:pt x="443225" y="27044"/>
                    <a:pt x="436839" y="29674"/>
                    <a:pt x="431581" y="34932"/>
                  </a:cubicBezTo>
                  <a:cubicBezTo>
                    <a:pt x="426322" y="40191"/>
                    <a:pt x="423693" y="46576"/>
                    <a:pt x="423693" y="54088"/>
                  </a:cubicBezTo>
                  <a:cubicBezTo>
                    <a:pt x="423693" y="61601"/>
                    <a:pt x="426322" y="67986"/>
                    <a:pt x="431581" y="73245"/>
                  </a:cubicBezTo>
                  <a:cubicBezTo>
                    <a:pt x="436839" y="78503"/>
                    <a:pt x="443225" y="81133"/>
                    <a:pt x="450737" y="81133"/>
                  </a:cubicBezTo>
                  <a:cubicBezTo>
                    <a:pt x="458249" y="81133"/>
                    <a:pt x="464635" y="78503"/>
                    <a:pt x="469893" y="73245"/>
                  </a:cubicBezTo>
                  <a:cubicBezTo>
                    <a:pt x="475152" y="67986"/>
                    <a:pt x="477781" y="61601"/>
                    <a:pt x="477781" y="54088"/>
                  </a:cubicBezTo>
                  <a:cubicBezTo>
                    <a:pt x="477781" y="46576"/>
                    <a:pt x="475152" y="40191"/>
                    <a:pt x="469893" y="34932"/>
                  </a:cubicBezTo>
                  <a:cubicBezTo>
                    <a:pt x="464635" y="29674"/>
                    <a:pt x="458249" y="27044"/>
                    <a:pt x="450737" y="27044"/>
                  </a:cubicBezTo>
                  <a:close/>
                  <a:moveTo>
                    <a:pt x="0" y="0"/>
                  </a:moveTo>
                  <a:lnTo>
                    <a:pt x="504825" y="0"/>
                  </a:lnTo>
                  <a:lnTo>
                    <a:pt x="504825" y="108177"/>
                  </a:lnTo>
                  <a:lnTo>
                    <a:pt x="0" y="108177"/>
                  </a:ln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5" name="Rectángulo 184">
              <a:extLst>
                <a:ext uri="{FF2B5EF4-FFF2-40B4-BE49-F238E27FC236}">
                  <a16:creationId xmlns:a16="http://schemas.microsoft.com/office/drawing/2014/main" id="{287EDDD5-8B44-D41C-16A5-BC2734098201}"/>
                </a:ext>
              </a:extLst>
            </p:cNvPr>
            <p:cNvSpPr/>
            <p:nvPr/>
          </p:nvSpPr>
          <p:spPr>
            <a:xfrm>
              <a:off x="830423" y="1192438"/>
              <a:ext cx="2160000" cy="2555401"/>
            </a:xfrm>
            <a:prstGeom prst="rect">
              <a:avLst/>
            </a:prstGeom>
            <a:solidFill>
              <a:schemeClr val="bg1">
                <a:lumMod val="85000"/>
              </a:schemeClr>
            </a:solidFill>
            <a:ln w="12700" cap="flat" cmpd="sng" algn="ctr">
              <a:solidFill>
                <a:srgbClr val="5B9BD5">
                  <a:lumMod val="50000"/>
                </a:srgbClr>
              </a:solid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86" name="CuadroTexto 185">
              <a:extLst>
                <a:ext uri="{FF2B5EF4-FFF2-40B4-BE49-F238E27FC236}">
                  <a16:creationId xmlns:a16="http://schemas.microsoft.com/office/drawing/2014/main" id="{86C85E8D-99F6-41CE-4890-E5CDF5237E19}"/>
                </a:ext>
              </a:extLst>
            </p:cNvPr>
            <p:cNvSpPr txBox="1"/>
            <p:nvPr/>
          </p:nvSpPr>
          <p:spPr>
            <a:xfrm>
              <a:off x="1237886" y="1310219"/>
              <a:ext cx="1284327"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accent5"/>
                  </a:solidFill>
                  <a:effectLst/>
                  <a:uLnTx/>
                  <a:uFillTx/>
                  <a:latin typeface="Calibri" panose="020F0502020204030204"/>
                </a:rPr>
                <a:t>Gobierno de TI</a:t>
              </a:r>
              <a:endParaRPr kumimoji="0" lang="es-ES" sz="1400" b="0" i="0" u="none" strike="noStrike" kern="0" cap="none" spc="0" normalizeH="0" baseline="0" noProof="0">
                <a:ln>
                  <a:noFill/>
                </a:ln>
                <a:solidFill>
                  <a:schemeClr val="accent5"/>
                </a:solidFill>
                <a:effectLst/>
                <a:uLnTx/>
                <a:uFillTx/>
                <a:latin typeface="Calibri" panose="020F0502020204030204"/>
              </a:endParaRPr>
            </a:p>
          </p:txBody>
        </p:sp>
        <p:sp>
          <p:nvSpPr>
            <p:cNvPr id="187" name="Rectángulo 186">
              <a:extLst>
                <a:ext uri="{FF2B5EF4-FFF2-40B4-BE49-F238E27FC236}">
                  <a16:creationId xmlns:a16="http://schemas.microsoft.com/office/drawing/2014/main" id="{CD3EC79B-2ED9-E49A-56AE-844590659F32}"/>
                </a:ext>
              </a:extLst>
            </p:cNvPr>
            <p:cNvSpPr/>
            <p:nvPr/>
          </p:nvSpPr>
          <p:spPr>
            <a:xfrm>
              <a:off x="831790" y="3952384"/>
              <a:ext cx="2160000" cy="2510589"/>
            </a:xfrm>
            <a:prstGeom prst="rect">
              <a:avLst/>
            </a:prstGeom>
            <a:solidFill>
              <a:schemeClr val="bg1">
                <a:lumMod val="85000"/>
              </a:schemeClr>
            </a:solidFill>
            <a:ln w="12700" cap="flat" cmpd="sng" algn="ctr">
              <a:solidFill>
                <a:srgbClr val="373F5B"/>
              </a:solid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88" name="Rectángulo 187">
              <a:extLst>
                <a:ext uri="{FF2B5EF4-FFF2-40B4-BE49-F238E27FC236}">
                  <a16:creationId xmlns:a16="http://schemas.microsoft.com/office/drawing/2014/main" id="{0E01EC5C-B00D-D928-9C0B-1FC689AE1C54}"/>
                </a:ext>
              </a:extLst>
            </p:cNvPr>
            <p:cNvSpPr/>
            <p:nvPr/>
          </p:nvSpPr>
          <p:spPr>
            <a:xfrm>
              <a:off x="973913" y="1816652"/>
              <a:ext cx="1881359" cy="518990"/>
            </a:xfrm>
            <a:prstGeom prst="rect">
              <a:avLst/>
            </a:prstGeom>
            <a:solidFill>
              <a:schemeClr val="bg1">
                <a:lumMod val="65000"/>
              </a:schemeClr>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89" name="CuadroTexto 188">
              <a:extLst>
                <a:ext uri="{FF2B5EF4-FFF2-40B4-BE49-F238E27FC236}">
                  <a16:creationId xmlns:a16="http://schemas.microsoft.com/office/drawing/2014/main" id="{421F087E-A0BE-1642-3D4C-D00BB02A5BFC}"/>
                </a:ext>
              </a:extLst>
            </p:cNvPr>
            <p:cNvSpPr txBox="1"/>
            <p:nvPr/>
          </p:nvSpPr>
          <p:spPr>
            <a:xfrm>
              <a:off x="1691891" y="1949520"/>
              <a:ext cx="951642"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Estratégico</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90" name="Rectángulo 189">
              <a:extLst>
                <a:ext uri="{FF2B5EF4-FFF2-40B4-BE49-F238E27FC236}">
                  <a16:creationId xmlns:a16="http://schemas.microsoft.com/office/drawing/2014/main" id="{6BCD348C-77D1-5C5F-D6C8-42BA94EBBF29}"/>
                </a:ext>
              </a:extLst>
            </p:cNvPr>
            <p:cNvSpPr/>
            <p:nvPr/>
          </p:nvSpPr>
          <p:spPr>
            <a:xfrm>
              <a:off x="973913" y="2405156"/>
              <a:ext cx="1881359" cy="518990"/>
            </a:xfrm>
            <a:prstGeom prst="rect">
              <a:avLst/>
            </a:prstGeom>
            <a:solidFill>
              <a:schemeClr val="bg1">
                <a:lumMod val="65000"/>
              </a:schemeClr>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91" name="CuadroTexto 190">
              <a:extLst>
                <a:ext uri="{FF2B5EF4-FFF2-40B4-BE49-F238E27FC236}">
                  <a16:creationId xmlns:a16="http://schemas.microsoft.com/office/drawing/2014/main" id="{E8FD3BCB-CF72-71CB-FE9B-E9F866F26ED9}"/>
                </a:ext>
              </a:extLst>
            </p:cNvPr>
            <p:cNvSpPr txBox="1"/>
            <p:nvPr/>
          </p:nvSpPr>
          <p:spPr>
            <a:xfrm>
              <a:off x="1691891" y="2538024"/>
              <a:ext cx="951642"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Gobierno</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92" name="Rectángulo 191">
              <a:extLst>
                <a:ext uri="{FF2B5EF4-FFF2-40B4-BE49-F238E27FC236}">
                  <a16:creationId xmlns:a16="http://schemas.microsoft.com/office/drawing/2014/main" id="{AF20BB90-085D-3FA9-9EA0-BBB910F4A6CC}"/>
                </a:ext>
              </a:extLst>
            </p:cNvPr>
            <p:cNvSpPr/>
            <p:nvPr/>
          </p:nvSpPr>
          <p:spPr>
            <a:xfrm>
              <a:off x="975215" y="2991638"/>
              <a:ext cx="1881359" cy="518990"/>
            </a:xfrm>
            <a:prstGeom prst="rect">
              <a:avLst/>
            </a:prstGeom>
            <a:solidFill>
              <a:schemeClr val="bg1">
                <a:lumMod val="65000"/>
              </a:schemeClr>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93" name="CuadroTexto 192">
              <a:extLst>
                <a:ext uri="{FF2B5EF4-FFF2-40B4-BE49-F238E27FC236}">
                  <a16:creationId xmlns:a16="http://schemas.microsoft.com/office/drawing/2014/main" id="{C52FEF03-033A-A558-93CA-D19D81F05D7B}"/>
                </a:ext>
              </a:extLst>
            </p:cNvPr>
            <p:cNvSpPr txBox="1"/>
            <p:nvPr/>
          </p:nvSpPr>
          <p:spPr>
            <a:xfrm>
              <a:off x="1693193" y="3124506"/>
              <a:ext cx="951642"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Operativo</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94" name="CuadroTexto 193">
              <a:extLst>
                <a:ext uri="{FF2B5EF4-FFF2-40B4-BE49-F238E27FC236}">
                  <a16:creationId xmlns:a16="http://schemas.microsoft.com/office/drawing/2014/main" id="{E84C6B35-625F-FBCB-81BC-C0C2903B3F81}"/>
                </a:ext>
              </a:extLst>
            </p:cNvPr>
            <p:cNvSpPr txBox="1"/>
            <p:nvPr/>
          </p:nvSpPr>
          <p:spPr>
            <a:xfrm>
              <a:off x="1218616" y="4003428"/>
              <a:ext cx="1357166"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accent5"/>
                  </a:solidFill>
                  <a:effectLst/>
                  <a:uLnTx/>
                  <a:uFillTx/>
                  <a:latin typeface="Calibri" panose="020F0502020204030204"/>
                </a:rPr>
                <a:t>Equipo d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accent5"/>
                  </a:solidFill>
                  <a:effectLst/>
                  <a:uLnTx/>
                  <a:uFillTx/>
                  <a:latin typeface="Calibri" panose="020F0502020204030204"/>
                </a:rPr>
                <a:t>Automatización</a:t>
              </a:r>
              <a:endParaRPr kumimoji="0" lang="es-ES" sz="1400" b="0" i="0" u="none" strike="noStrike" kern="0" cap="none" spc="0" normalizeH="0" baseline="0" noProof="0">
                <a:ln>
                  <a:noFill/>
                </a:ln>
                <a:solidFill>
                  <a:schemeClr val="accent5"/>
                </a:solidFill>
                <a:effectLst/>
                <a:uLnTx/>
                <a:uFillTx/>
                <a:latin typeface="Calibri" panose="020F0502020204030204"/>
              </a:endParaRPr>
            </a:p>
          </p:txBody>
        </p:sp>
        <p:sp>
          <p:nvSpPr>
            <p:cNvPr id="195" name="Rectángulo 194">
              <a:extLst>
                <a:ext uri="{FF2B5EF4-FFF2-40B4-BE49-F238E27FC236}">
                  <a16:creationId xmlns:a16="http://schemas.microsoft.com/office/drawing/2014/main" id="{9F503990-DF07-BA01-9DE6-DFABDD836F76}"/>
                </a:ext>
              </a:extLst>
            </p:cNvPr>
            <p:cNvSpPr/>
            <p:nvPr/>
          </p:nvSpPr>
          <p:spPr>
            <a:xfrm>
              <a:off x="991059" y="4564453"/>
              <a:ext cx="1881359" cy="518990"/>
            </a:xfrm>
            <a:prstGeom prst="rect">
              <a:avLst/>
            </a:prstGeom>
            <a:solidFill>
              <a:schemeClr val="bg1">
                <a:lumMod val="65000"/>
              </a:schemeClr>
            </a:solidFill>
            <a:ln w="12700" cap="flat" cmpd="sng" algn="ctr">
              <a:solidFill>
                <a:srgbClr val="373F5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96" name="CuadroTexto 195">
              <a:extLst>
                <a:ext uri="{FF2B5EF4-FFF2-40B4-BE49-F238E27FC236}">
                  <a16:creationId xmlns:a16="http://schemas.microsoft.com/office/drawing/2014/main" id="{68D296E6-493A-8DB0-64FC-6494B8133558}"/>
                </a:ext>
              </a:extLst>
            </p:cNvPr>
            <p:cNvSpPr txBox="1"/>
            <p:nvPr/>
          </p:nvSpPr>
          <p:spPr>
            <a:xfrm>
              <a:off x="1663802" y="4631905"/>
              <a:ext cx="1206249"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 Arquitecto </a:t>
              </a:r>
            </a:p>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 Consultores</a:t>
              </a:r>
            </a:p>
          </p:txBody>
        </p:sp>
        <p:sp>
          <p:nvSpPr>
            <p:cNvPr id="197" name="Rectángulo 196">
              <a:extLst>
                <a:ext uri="{FF2B5EF4-FFF2-40B4-BE49-F238E27FC236}">
                  <a16:creationId xmlns:a16="http://schemas.microsoft.com/office/drawing/2014/main" id="{7FC7DB26-0531-7584-2B57-98429B7ED2E5}"/>
                </a:ext>
              </a:extLst>
            </p:cNvPr>
            <p:cNvSpPr/>
            <p:nvPr/>
          </p:nvSpPr>
          <p:spPr>
            <a:xfrm>
              <a:off x="991059" y="5152957"/>
              <a:ext cx="1881359" cy="518990"/>
            </a:xfrm>
            <a:prstGeom prst="rect">
              <a:avLst/>
            </a:prstGeom>
            <a:solidFill>
              <a:schemeClr val="bg1">
                <a:lumMod val="65000"/>
              </a:schemeClr>
            </a:solidFill>
            <a:ln w="12700" cap="flat" cmpd="sng" algn="ctr">
              <a:solidFill>
                <a:srgbClr val="373F5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98" name="CuadroTexto 197">
              <a:extLst>
                <a:ext uri="{FF2B5EF4-FFF2-40B4-BE49-F238E27FC236}">
                  <a16:creationId xmlns:a16="http://schemas.microsoft.com/office/drawing/2014/main" id="{3FD447F2-26E5-CB38-BE2F-89EAEA1A5866}"/>
                </a:ext>
              </a:extLst>
            </p:cNvPr>
            <p:cNvSpPr txBox="1"/>
            <p:nvPr/>
          </p:nvSpPr>
          <p:spPr>
            <a:xfrm>
              <a:off x="1657520" y="5205872"/>
              <a:ext cx="1163503"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Líder del servicio / proyecto</a:t>
              </a:r>
            </a:p>
          </p:txBody>
        </p:sp>
        <p:sp>
          <p:nvSpPr>
            <p:cNvPr id="199" name="Rectángulo 198">
              <a:extLst>
                <a:ext uri="{FF2B5EF4-FFF2-40B4-BE49-F238E27FC236}">
                  <a16:creationId xmlns:a16="http://schemas.microsoft.com/office/drawing/2014/main" id="{89D37D4D-D972-9B35-78BF-B570778D10ED}"/>
                </a:ext>
              </a:extLst>
            </p:cNvPr>
            <p:cNvSpPr/>
            <p:nvPr/>
          </p:nvSpPr>
          <p:spPr>
            <a:xfrm>
              <a:off x="992361" y="5739439"/>
              <a:ext cx="1881359" cy="518990"/>
            </a:xfrm>
            <a:prstGeom prst="rect">
              <a:avLst/>
            </a:prstGeom>
            <a:solidFill>
              <a:schemeClr val="bg1">
                <a:lumMod val="65000"/>
              </a:schemeClr>
            </a:solidFill>
            <a:ln w="12700" cap="flat" cmpd="sng" algn="ctr">
              <a:solidFill>
                <a:srgbClr val="373F5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200" name="CuadroTexto 199">
              <a:extLst>
                <a:ext uri="{FF2B5EF4-FFF2-40B4-BE49-F238E27FC236}">
                  <a16:creationId xmlns:a16="http://schemas.microsoft.com/office/drawing/2014/main" id="{80A2726C-3A1D-A1A9-7D99-A71696177638}"/>
                </a:ext>
              </a:extLst>
            </p:cNvPr>
            <p:cNvSpPr txBox="1"/>
            <p:nvPr/>
          </p:nvSpPr>
          <p:spPr>
            <a:xfrm>
              <a:off x="1657520" y="5817697"/>
              <a:ext cx="1163503"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 Ingeniero de Aut.</a:t>
              </a:r>
            </a:p>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 Tester</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201" name="Freeform 298">
              <a:extLst>
                <a:ext uri="{FF2B5EF4-FFF2-40B4-BE49-F238E27FC236}">
                  <a16:creationId xmlns:a16="http://schemas.microsoft.com/office/drawing/2014/main" id="{E8137FB4-BBCB-1E7C-6060-B4C4C2D93188}"/>
                </a:ext>
              </a:extLst>
            </p:cNvPr>
            <p:cNvSpPr/>
            <p:nvPr/>
          </p:nvSpPr>
          <p:spPr>
            <a:xfrm>
              <a:off x="1157950" y="1902491"/>
              <a:ext cx="360000" cy="324000"/>
            </a:xfrm>
            <a:custGeom>
              <a:avLst/>
              <a:gdLst/>
              <a:ahLst/>
              <a:cxnLst/>
              <a:rect l="l" t="t" r="r" b="b"/>
              <a:pathLst>
                <a:path w="474119" h="448483">
                  <a:moveTo>
                    <a:pt x="184802" y="0"/>
                  </a:moveTo>
                  <a:cubicBezTo>
                    <a:pt x="215415" y="0"/>
                    <a:pt x="240346" y="9625"/>
                    <a:pt x="259596" y="28875"/>
                  </a:cubicBezTo>
                  <a:cubicBezTo>
                    <a:pt x="278846" y="48126"/>
                    <a:pt x="288471" y="73057"/>
                    <a:pt x="288471" y="103669"/>
                  </a:cubicBezTo>
                  <a:cubicBezTo>
                    <a:pt x="288471" y="139165"/>
                    <a:pt x="276170" y="173440"/>
                    <a:pt x="251568" y="206494"/>
                  </a:cubicBezTo>
                  <a:lnTo>
                    <a:pt x="351574" y="306501"/>
                  </a:lnTo>
                  <a:lnTo>
                    <a:pt x="378619" y="279457"/>
                  </a:lnTo>
                  <a:cubicBezTo>
                    <a:pt x="378055" y="278893"/>
                    <a:pt x="375614" y="276592"/>
                    <a:pt x="371294" y="272555"/>
                  </a:cubicBezTo>
                  <a:cubicBezTo>
                    <a:pt x="366975" y="268517"/>
                    <a:pt x="363219" y="264902"/>
                    <a:pt x="360026" y="261709"/>
                  </a:cubicBezTo>
                  <a:cubicBezTo>
                    <a:pt x="356833" y="258516"/>
                    <a:pt x="353734" y="255089"/>
                    <a:pt x="350730" y="251426"/>
                  </a:cubicBezTo>
                  <a:cubicBezTo>
                    <a:pt x="347724" y="247764"/>
                    <a:pt x="346222" y="245088"/>
                    <a:pt x="346222" y="243398"/>
                  </a:cubicBezTo>
                  <a:cubicBezTo>
                    <a:pt x="346222" y="240205"/>
                    <a:pt x="350823" y="234008"/>
                    <a:pt x="360026" y="224805"/>
                  </a:cubicBezTo>
                  <a:cubicBezTo>
                    <a:pt x="369229" y="215602"/>
                    <a:pt x="375426" y="211001"/>
                    <a:pt x="378619" y="211001"/>
                  </a:cubicBezTo>
                  <a:cubicBezTo>
                    <a:pt x="381060" y="211001"/>
                    <a:pt x="383220" y="211940"/>
                    <a:pt x="385098" y="213818"/>
                  </a:cubicBezTo>
                  <a:cubicBezTo>
                    <a:pt x="386225" y="214945"/>
                    <a:pt x="390544" y="219124"/>
                    <a:pt x="398057" y="226354"/>
                  </a:cubicBezTo>
                  <a:cubicBezTo>
                    <a:pt x="405569" y="233585"/>
                    <a:pt x="413270" y="241050"/>
                    <a:pt x="421157" y="248750"/>
                  </a:cubicBezTo>
                  <a:cubicBezTo>
                    <a:pt x="429045" y="256450"/>
                    <a:pt x="437168" y="264526"/>
                    <a:pt x="445525" y="272977"/>
                  </a:cubicBezTo>
                  <a:cubicBezTo>
                    <a:pt x="453882" y="281429"/>
                    <a:pt x="460738" y="288753"/>
                    <a:pt x="466090" y="294951"/>
                  </a:cubicBezTo>
                  <a:cubicBezTo>
                    <a:pt x="471443" y="301148"/>
                    <a:pt x="474119" y="304998"/>
                    <a:pt x="474119" y="306501"/>
                  </a:cubicBezTo>
                  <a:cubicBezTo>
                    <a:pt x="474119" y="309694"/>
                    <a:pt x="469517" y="315891"/>
                    <a:pt x="460315" y="325094"/>
                  </a:cubicBezTo>
                  <a:cubicBezTo>
                    <a:pt x="451112" y="334296"/>
                    <a:pt x="444914" y="338898"/>
                    <a:pt x="441722" y="338898"/>
                  </a:cubicBezTo>
                  <a:cubicBezTo>
                    <a:pt x="440032" y="338898"/>
                    <a:pt x="437355" y="337395"/>
                    <a:pt x="433693" y="334390"/>
                  </a:cubicBezTo>
                  <a:cubicBezTo>
                    <a:pt x="430031" y="331386"/>
                    <a:pt x="426603" y="328287"/>
                    <a:pt x="423411" y="325094"/>
                  </a:cubicBezTo>
                  <a:cubicBezTo>
                    <a:pt x="420218" y="321901"/>
                    <a:pt x="416602" y="318145"/>
                    <a:pt x="412565" y="313825"/>
                  </a:cubicBezTo>
                  <a:cubicBezTo>
                    <a:pt x="408527" y="309506"/>
                    <a:pt x="406226" y="307064"/>
                    <a:pt x="405663" y="306501"/>
                  </a:cubicBezTo>
                  <a:lnTo>
                    <a:pt x="378619" y="333545"/>
                  </a:lnTo>
                  <a:lnTo>
                    <a:pt x="440595" y="395522"/>
                  </a:lnTo>
                  <a:cubicBezTo>
                    <a:pt x="445854" y="400780"/>
                    <a:pt x="448483" y="407166"/>
                    <a:pt x="448483" y="414678"/>
                  </a:cubicBezTo>
                  <a:cubicBezTo>
                    <a:pt x="448483" y="422565"/>
                    <a:pt x="444821" y="430172"/>
                    <a:pt x="437497" y="437496"/>
                  </a:cubicBezTo>
                  <a:cubicBezTo>
                    <a:pt x="430172" y="444821"/>
                    <a:pt x="422566" y="448483"/>
                    <a:pt x="414678" y="448483"/>
                  </a:cubicBezTo>
                  <a:cubicBezTo>
                    <a:pt x="407165" y="448483"/>
                    <a:pt x="400780" y="445854"/>
                    <a:pt x="395522" y="440595"/>
                  </a:cubicBezTo>
                  <a:lnTo>
                    <a:pt x="206494" y="251568"/>
                  </a:lnTo>
                  <a:cubicBezTo>
                    <a:pt x="173439" y="276170"/>
                    <a:pt x="139165" y="288472"/>
                    <a:pt x="103670" y="288472"/>
                  </a:cubicBezTo>
                  <a:cubicBezTo>
                    <a:pt x="73057" y="288472"/>
                    <a:pt x="48126" y="278846"/>
                    <a:pt x="28876" y="259596"/>
                  </a:cubicBezTo>
                  <a:cubicBezTo>
                    <a:pt x="9625" y="240346"/>
                    <a:pt x="0" y="215415"/>
                    <a:pt x="0" y="184802"/>
                  </a:cubicBezTo>
                  <a:cubicBezTo>
                    <a:pt x="0" y="154753"/>
                    <a:pt x="8921" y="125361"/>
                    <a:pt x="26763" y="96627"/>
                  </a:cubicBezTo>
                  <a:cubicBezTo>
                    <a:pt x="44604" y="67892"/>
                    <a:pt x="67892" y="44604"/>
                    <a:pt x="96627" y="26762"/>
                  </a:cubicBezTo>
                  <a:cubicBezTo>
                    <a:pt x="125362" y="8921"/>
                    <a:pt x="154753" y="0"/>
                    <a:pt x="184802" y="0"/>
                  </a:cubicBezTo>
                  <a:close/>
                  <a:moveTo>
                    <a:pt x="180295" y="54089"/>
                  </a:moveTo>
                  <a:cubicBezTo>
                    <a:pt x="165270" y="54089"/>
                    <a:pt x="152499" y="59347"/>
                    <a:pt x="141982" y="69864"/>
                  </a:cubicBezTo>
                  <a:cubicBezTo>
                    <a:pt x="131465" y="80381"/>
                    <a:pt x="126206" y="93152"/>
                    <a:pt x="126206" y="108177"/>
                  </a:cubicBezTo>
                  <a:cubicBezTo>
                    <a:pt x="126206" y="116065"/>
                    <a:pt x="127990" y="123859"/>
                    <a:pt x="131559" y="131559"/>
                  </a:cubicBezTo>
                  <a:cubicBezTo>
                    <a:pt x="123859" y="127991"/>
                    <a:pt x="116065" y="126206"/>
                    <a:pt x="108177" y="126206"/>
                  </a:cubicBezTo>
                  <a:cubicBezTo>
                    <a:pt x="93152" y="126206"/>
                    <a:pt x="80381" y="131465"/>
                    <a:pt x="69864" y="141982"/>
                  </a:cubicBezTo>
                  <a:cubicBezTo>
                    <a:pt x="59347" y="152499"/>
                    <a:pt x="54089" y="165270"/>
                    <a:pt x="54089" y="180295"/>
                  </a:cubicBezTo>
                  <a:cubicBezTo>
                    <a:pt x="54089" y="195319"/>
                    <a:pt x="59347" y="208090"/>
                    <a:pt x="69864" y="218607"/>
                  </a:cubicBezTo>
                  <a:cubicBezTo>
                    <a:pt x="80381" y="229125"/>
                    <a:pt x="93152" y="234383"/>
                    <a:pt x="108177" y="234383"/>
                  </a:cubicBezTo>
                  <a:cubicBezTo>
                    <a:pt x="123201" y="234383"/>
                    <a:pt x="135972" y="229125"/>
                    <a:pt x="146489" y="218607"/>
                  </a:cubicBezTo>
                  <a:cubicBezTo>
                    <a:pt x="157006" y="208090"/>
                    <a:pt x="162265" y="195319"/>
                    <a:pt x="162265" y="180295"/>
                  </a:cubicBezTo>
                  <a:cubicBezTo>
                    <a:pt x="162265" y="172407"/>
                    <a:pt x="160481" y="164613"/>
                    <a:pt x="156913" y="156913"/>
                  </a:cubicBezTo>
                  <a:cubicBezTo>
                    <a:pt x="164613" y="160481"/>
                    <a:pt x="172407" y="162265"/>
                    <a:pt x="180295" y="162265"/>
                  </a:cubicBezTo>
                  <a:cubicBezTo>
                    <a:pt x="195319" y="162265"/>
                    <a:pt x="208090" y="157007"/>
                    <a:pt x="218608" y="146489"/>
                  </a:cubicBezTo>
                  <a:cubicBezTo>
                    <a:pt x="229124" y="135972"/>
                    <a:pt x="234383" y="123201"/>
                    <a:pt x="234383" y="108177"/>
                  </a:cubicBezTo>
                  <a:cubicBezTo>
                    <a:pt x="234383" y="93152"/>
                    <a:pt x="229124" y="80381"/>
                    <a:pt x="218608" y="69864"/>
                  </a:cubicBezTo>
                  <a:cubicBezTo>
                    <a:pt x="208090" y="59347"/>
                    <a:pt x="195319" y="54089"/>
                    <a:pt x="180295" y="54089"/>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2" name="Freeform 447">
              <a:extLst>
                <a:ext uri="{FF2B5EF4-FFF2-40B4-BE49-F238E27FC236}">
                  <a16:creationId xmlns:a16="http://schemas.microsoft.com/office/drawing/2014/main" id="{BF62F440-D0BD-3F76-CC03-4A533C54E8DA}"/>
                </a:ext>
              </a:extLst>
            </p:cNvPr>
            <p:cNvSpPr/>
            <p:nvPr/>
          </p:nvSpPr>
          <p:spPr>
            <a:xfrm>
              <a:off x="1145114" y="2494398"/>
              <a:ext cx="396000" cy="324000"/>
            </a:xfrm>
            <a:custGeom>
              <a:avLst/>
              <a:gdLst/>
              <a:ahLst/>
              <a:cxnLst/>
              <a:rect l="l" t="t" r="r" b="b"/>
              <a:pathLst>
                <a:path w="613002" h="504825">
                  <a:moveTo>
                    <a:pt x="306501" y="0"/>
                  </a:moveTo>
                  <a:cubicBezTo>
                    <a:pt x="311572" y="0"/>
                    <a:pt x="316267" y="939"/>
                    <a:pt x="320586" y="2817"/>
                  </a:cubicBezTo>
                  <a:lnTo>
                    <a:pt x="446793" y="56906"/>
                  </a:lnTo>
                  <a:cubicBezTo>
                    <a:pt x="453366" y="59910"/>
                    <a:pt x="458671" y="64418"/>
                    <a:pt x="462709" y="70428"/>
                  </a:cubicBezTo>
                  <a:cubicBezTo>
                    <a:pt x="466747" y="76438"/>
                    <a:pt x="468766" y="83011"/>
                    <a:pt x="468766" y="90147"/>
                  </a:cubicBezTo>
                  <a:lnTo>
                    <a:pt x="468766" y="202832"/>
                  </a:lnTo>
                  <a:lnTo>
                    <a:pt x="591028" y="255230"/>
                  </a:lnTo>
                  <a:cubicBezTo>
                    <a:pt x="597789" y="258235"/>
                    <a:pt x="603142" y="262742"/>
                    <a:pt x="607086" y="268752"/>
                  </a:cubicBezTo>
                  <a:cubicBezTo>
                    <a:pt x="611030" y="274762"/>
                    <a:pt x="613002" y="281335"/>
                    <a:pt x="613002" y="288471"/>
                  </a:cubicBezTo>
                  <a:lnTo>
                    <a:pt x="613002" y="405663"/>
                  </a:lnTo>
                  <a:cubicBezTo>
                    <a:pt x="613002" y="412424"/>
                    <a:pt x="611218" y="418716"/>
                    <a:pt x="607649" y="424538"/>
                  </a:cubicBezTo>
                  <a:cubicBezTo>
                    <a:pt x="604081" y="430360"/>
                    <a:pt x="599198" y="434773"/>
                    <a:pt x="593000" y="437778"/>
                  </a:cubicBezTo>
                  <a:lnTo>
                    <a:pt x="466794" y="500881"/>
                  </a:lnTo>
                  <a:cubicBezTo>
                    <a:pt x="462099" y="503510"/>
                    <a:pt x="456747" y="504825"/>
                    <a:pt x="450736" y="504825"/>
                  </a:cubicBezTo>
                  <a:cubicBezTo>
                    <a:pt x="444727" y="504825"/>
                    <a:pt x="439374" y="503510"/>
                    <a:pt x="434679" y="500881"/>
                  </a:cubicBezTo>
                  <a:lnTo>
                    <a:pt x="308473" y="437778"/>
                  </a:lnTo>
                  <a:cubicBezTo>
                    <a:pt x="307534" y="437402"/>
                    <a:pt x="306877" y="437027"/>
                    <a:pt x="306501" y="436651"/>
                  </a:cubicBezTo>
                  <a:cubicBezTo>
                    <a:pt x="306126" y="437027"/>
                    <a:pt x="305468" y="437402"/>
                    <a:pt x="304529" y="437778"/>
                  </a:cubicBezTo>
                  <a:lnTo>
                    <a:pt x="178323" y="500881"/>
                  </a:lnTo>
                  <a:cubicBezTo>
                    <a:pt x="173628" y="503510"/>
                    <a:pt x="168275" y="504825"/>
                    <a:pt x="162265" y="504825"/>
                  </a:cubicBezTo>
                  <a:cubicBezTo>
                    <a:pt x="156256" y="504825"/>
                    <a:pt x="150903" y="503510"/>
                    <a:pt x="146207" y="500881"/>
                  </a:cubicBezTo>
                  <a:lnTo>
                    <a:pt x="20001" y="437778"/>
                  </a:lnTo>
                  <a:cubicBezTo>
                    <a:pt x="13804" y="434773"/>
                    <a:pt x="8921" y="430360"/>
                    <a:pt x="5353" y="424538"/>
                  </a:cubicBezTo>
                  <a:cubicBezTo>
                    <a:pt x="1784" y="418716"/>
                    <a:pt x="0" y="412424"/>
                    <a:pt x="0" y="405663"/>
                  </a:cubicBezTo>
                  <a:lnTo>
                    <a:pt x="0" y="288471"/>
                  </a:lnTo>
                  <a:cubicBezTo>
                    <a:pt x="0" y="281335"/>
                    <a:pt x="2019" y="274762"/>
                    <a:pt x="6057" y="268752"/>
                  </a:cubicBezTo>
                  <a:cubicBezTo>
                    <a:pt x="10095" y="262742"/>
                    <a:pt x="15400" y="258235"/>
                    <a:pt x="21973" y="255230"/>
                  </a:cubicBezTo>
                  <a:lnTo>
                    <a:pt x="144235" y="202832"/>
                  </a:lnTo>
                  <a:lnTo>
                    <a:pt x="144235" y="90147"/>
                  </a:lnTo>
                  <a:cubicBezTo>
                    <a:pt x="144235" y="83011"/>
                    <a:pt x="146255" y="76438"/>
                    <a:pt x="150293" y="70428"/>
                  </a:cubicBezTo>
                  <a:cubicBezTo>
                    <a:pt x="154330" y="64418"/>
                    <a:pt x="159636" y="59910"/>
                    <a:pt x="166209" y="56906"/>
                  </a:cubicBezTo>
                  <a:lnTo>
                    <a:pt x="292415" y="2817"/>
                  </a:lnTo>
                  <a:cubicBezTo>
                    <a:pt x="296735" y="939"/>
                    <a:pt x="301430" y="0"/>
                    <a:pt x="306501" y="0"/>
                  </a:cubicBezTo>
                  <a:close/>
                  <a:moveTo>
                    <a:pt x="306501" y="36059"/>
                  </a:moveTo>
                  <a:lnTo>
                    <a:pt x="182267" y="89302"/>
                  </a:lnTo>
                  <a:lnTo>
                    <a:pt x="306501" y="142546"/>
                  </a:lnTo>
                  <a:lnTo>
                    <a:pt x="430735" y="89302"/>
                  </a:lnTo>
                  <a:lnTo>
                    <a:pt x="306501" y="36059"/>
                  </a:lnTo>
                  <a:close/>
                  <a:moveTo>
                    <a:pt x="432707" y="127897"/>
                  </a:moveTo>
                  <a:lnTo>
                    <a:pt x="324530" y="174097"/>
                  </a:lnTo>
                  <a:lnTo>
                    <a:pt x="324530" y="249314"/>
                  </a:lnTo>
                  <a:lnTo>
                    <a:pt x="432707" y="202832"/>
                  </a:lnTo>
                  <a:lnTo>
                    <a:pt x="432707" y="127897"/>
                  </a:lnTo>
                  <a:close/>
                  <a:moveTo>
                    <a:pt x="450736" y="234383"/>
                  </a:moveTo>
                  <a:lnTo>
                    <a:pt x="336925" y="283119"/>
                  </a:lnTo>
                  <a:lnTo>
                    <a:pt x="450736" y="331855"/>
                  </a:lnTo>
                  <a:lnTo>
                    <a:pt x="564548" y="283119"/>
                  </a:lnTo>
                  <a:lnTo>
                    <a:pt x="450736" y="234383"/>
                  </a:lnTo>
                  <a:close/>
                  <a:moveTo>
                    <a:pt x="576943" y="317206"/>
                  </a:moveTo>
                  <a:lnTo>
                    <a:pt x="468766" y="363407"/>
                  </a:lnTo>
                  <a:lnTo>
                    <a:pt x="468766" y="459751"/>
                  </a:lnTo>
                  <a:lnTo>
                    <a:pt x="576943" y="405663"/>
                  </a:lnTo>
                  <a:lnTo>
                    <a:pt x="576943" y="317206"/>
                  </a:lnTo>
                  <a:close/>
                  <a:moveTo>
                    <a:pt x="162265" y="234383"/>
                  </a:moveTo>
                  <a:lnTo>
                    <a:pt x="48454" y="283119"/>
                  </a:lnTo>
                  <a:lnTo>
                    <a:pt x="162265" y="331855"/>
                  </a:lnTo>
                  <a:lnTo>
                    <a:pt x="276076" y="283119"/>
                  </a:lnTo>
                  <a:lnTo>
                    <a:pt x="162265" y="234383"/>
                  </a:lnTo>
                  <a:close/>
                  <a:moveTo>
                    <a:pt x="288471" y="317206"/>
                  </a:moveTo>
                  <a:lnTo>
                    <a:pt x="180295" y="363407"/>
                  </a:lnTo>
                  <a:lnTo>
                    <a:pt x="180295" y="459751"/>
                  </a:lnTo>
                  <a:lnTo>
                    <a:pt x="288471" y="405663"/>
                  </a:lnTo>
                  <a:lnTo>
                    <a:pt x="288471" y="317206"/>
                  </a:ln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3" name="Freeform 151">
              <a:extLst>
                <a:ext uri="{FF2B5EF4-FFF2-40B4-BE49-F238E27FC236}">
                  <a16:creationId xmlns:a16="http://schemas.microsoft.com/office/drawing/2014/main" id="{6EB6B02C-EA8D-351E-3D31-914B43F25D35}"/>
                </a:ext>
              </a:extLst>
            </p:cNvPr>
            <p:cNvSpPr/>
            <p:nvPr/>
          </p:nvSpPr>
          <p:spPr>
            <a:xfrm>
              <a:off x="1173199" y="3081051"/>
              <a:ext cx="324000" cy="324000"/>
            </a:xfrm>
            <a:custGeom>
              <a:avLst/>
              <a:gdLst/>
              <a:ahLst/>
              <a:cxnLst/>
              <a:rect l="l" t="t" r="r" b="b"/>
              <a:pathLst>
                <a:path w="396648" h="468766">
                  <a:moveTo>
                    <a:pt x="150996" y="0"/>
                  </a:moveTo>
                  <a:cubicBezTo>
                    <a:pt x="156630" y="0"/>
                    <a:pt x="164519" y="2911"/>
                    <a:pt x="174660" y="8733"/>
                  </a:cubicBezTo>
                  <a:cubicBezTo>
                    <a:pt x="184801" y="14555"/>
                    <a:pt x="192689" y="17466"/>
                    <a:pt x="198324" y="17466"/>
                  </a:cubicBezTo>
                  <a:cubicBezTo>
                    <a:pt x="203958" y="17466"/>
                    <a:pt x="211846" y="14555"/>
                    <a:pt x="221987" y="8733"/>
                  </a:cubicBezTo>
                  <a:cubicBezTo>
                    <a:pt x="232129" y="2911"/>
                    <a:pt x="240017" y="0"/>
                    <a:pt x="245651" y="0"/>
                  </a:cubicBezTo>
                  <a:cubicBezTo>
                    <a:pt x="253914" y="0"/>
                    <a:pt x="261051" y="3475"/>
                    <a:pt x="267061" y="10423"/>
                  </a:cubicBezTo>
                  <a:cubicBezTo>
                    <a:pt x="273822" y="18311"/>
                    <a:pt x="280442" y="29016"/>
                    <a:pt x="286921" y="42538"/>
                  </a:cubicBezTo>
                  <a:cubicBezTo>
                    <a:pt x="293401" y="56060"/>
                    <a:pt x="298237" y="68644"/>
                    <a:pt x="301430" y="80287"/>
                  </a:cubicBezTo>
                  <a:cubicBezTo>
                    <a:pt x="340869" y="88175"/>
                    <a:pt x="360589" y="97472"/>
                    <a:pt x="360589" y="108177"/>
                  </a:cubicBezTo>
                  <a:cubicBezTo>
                    <a:pt x="360589" y="118694"/>
                    <a:pt x="342372" y="127709"/>
                    <a:pt x="305937" y="135221"/>
                  </a:cubicBezTo>
                  <a:cubicBezTo>
                    <a:pt x="307252" y="150433"/>
                    <a:pt x="305374" y="165458"/>
                    <a:pt x="300303" y="180295"/>
                  </a:cubicBezTo>
                  <a:lnTo>
                    <a:pt x="360589" y="180295"/>
                  </a:lnTo>
                  <a:lnTo>
                    <a:pt x="337488" y="243680"/>
                  </a:lnTo>
                  <a:cubicBezTo>
                    <a:pt x="349321" y="249877"/>
                    <a:pt x="359415" y="258939"/>
                    <a:pt x="367773" y="270865"/>
                  </a:cubicBezTo>
                  <a:cubicBezTo>
                    <a:pt x="376130" y="282790"/>
                    <a:pt x="382281" y="296265"/>
                    <a:pt x="386224" y="311290"/>
                  </a:cubicBezTo>
                  <a:cubicBezTo>
                    <a:pt x="390168" y="326315"/>
                    <a:pt x="392892" y="340541"/>
                    <a:pt x="394394" y="353969"/>
                  </a:cubicBezTo>
                  <a:cubicBezTo>
                    <a:pt x="395897" y="367397"/>
                    <a:pt x="396648" y="381342"/>
                    <a:pt x="396648" y="395803"/>
                  </a:cubicBezTo>
                  <a:cubicBezTo>
                    <a:pt x="396648" y="418528"/>
                    <a:pt x="389793" y="436369"/>
                    <a:pt x="376083" y="449328"/>
                  </a:cubicBezTo>
                  <a:cubicBezTo>
                    <a:pt x="362373" y="462287"/>
                    <a:pt x="344156" y="468766"/>
                    <a:pt x="321431" y="468766"/>
                  </a:cubicBezTo>
                  <a:lnTo>
                    <a:pt x="75216" y="468766"/>
                  </a:lnTo>
                  <a:cubicBezTo>
                    <a:pt x="52492" y="468766"/>
                    <a:pt x="34274" y="462287"/>
                    <a:pt x="20564" y="449328"/>
                  </a:cubicBezTo>
                  <a:cubicBezTo>
                    <a:pt x="6854" y="436369"/>
                    <a:pt x="0" y="418528"/>
                    <a:pt x="0" y="395803"/>
                  </a:cubicBezTo>
                  <a:cubicBezTo>
                    <a:pt x="0" y="384347"/>
                    <a:pt x="422" y="373266"/>
                    <a:pt x="1267" y="362561"/>
                  </a:cubicBezTo>
                  <a:cubicBezTo>
                    <a:pt x="2112" y="351856"/>
                    <a:pt x="3896" y="340071"/>
                    <a:pt x="6620" y="327207"/>
                  </a:cubicBezTo>
                  <a:cubicBezTo>
                    <a:pt x="9343" y="314342"/>
                    <a:pt x="12864" y="302745"/>
                    <a:pt x="17184" y="292415"/>
                  </a:cubicBezTo>
                  <a:cubicBezTo>
                    <a:pt x="21503" y="282086"/>
                    <a:pt x="27466" y="272367"/>
                    <a:pt x="35072" y="263258"/>
                  </a:cubicBezTo>
                  <a:cubicBezTo>
                    <a:pt x="42679" y="254150"/>
                    <a:pt x="51459" y="247154"/>
                    <a:pt x="61412" y="242271"/>
                  </a:cubicBezTo>
                  <a:lnTo>
                    <a:pt x="36058" y="180295"/>
                  </a:lnTo>
                  <a:lnTo>
                    <a:pt x="96345" y="180295"/>
                  </a:lnTo>
                  <a:cubicBezTo>
                    <a:pt x="92213" y="168275"/>
                    <a:pt x="90147" y="156255"/>
                    <a:pt x="90147" y="144236"/>
                  </a:cubicBezTo>
                  <a:cubicBezTo>
                    <a:pt x="90147" y="141982"/>
                    <a:pt x="90335" y="138977"/>
                    <a:pt x="90710" y="135221"/>
                  </a:cubicBezTo>
                  <a:cubicBezTo>
                    <a:pt x="54276" y="127709"/>
                    <a:pt x="36058" y="118694"/>
                    <a:pt x="36058" y="108177"/>
                  </a:cubicBezTo>
                  <a:cubicBezTo>
                    <a:pt x="36058" y="97472"/>
                    <a:pt x="55778" y="88175"/>
                    <a:pt x="95218" y="80287"/>
                  </a:cubicBezTo>
                  <a:cubicBezTo>
                    <a:pt x="98410" y="68644"/>
                    <a:pt x="103246" y="56060"/>
                    <a:pt x="109726" y="42538"/>
                  </a:cubicBezTo>
                  <a:cubicBezTo>
                    <a:pt x="116205" y="29016"/>
                    <a:pt x="122825" y="18311"/>
                    <a:pt x="129586" y="10423"/>
                  </a:cubicBezTo>
                  <a:cubicBezTo>
                    <a:pt x="135596" y="3475"/>
                    <a:pt x="142733" y="0"/>
                    <a:pt x="150996" y="0"/>
                  </a:cubicBezTo>
                  <a:close/>
                  <a:moveTo>
                    <a:pt x="145362" y="144236"/>
                  </a:moveTo>
                  <a:cubicBezTo>
                    <a:pt x="129211" y="144236"/>
                    <a:pt x="120196" y="144987"/>
                    <a:pt x="118318" y="146490"/>
                  </a:cubicBezTo>
                  <a:cubicBezTo>
                    <a:pt x="117942" y="146865"/>
                    <a:pt x="117567" y="147428"/>
                    <a:pt x="117191" y="148180"/>
                  </a:cubicBezTo>
                  <a:cubicBezTo>
                    <a:pt x="117567" y="151560"/>
                    <a:pt x="117942" y="154096"/>
                    <a:pt x="118318" y="155786"/>
                  </a:cubicBezTo>
                  <a:cubicBezTo>
                    <a:pt x="118694" y="156349"/>
                    <a:pt x="119398" y="156960"/>
                    <a:pt x="120431" y="157617"/>
                  </a:cubicBezTo>
                  <a:cubicBezTo>
                    <a:pt x="121463" y="158274"/>
                    <a:pt x="122168" y="159260"/>
                    <a:pt x="122544" y="160575"/>
                  </a:cubicBezTo>
                  <a:cubicBezTo>
                    <a:pt x="122919" y="161326"/>
                    <a:pt x="123623" y="163251"/>
                    <a:pt x="124656" y="166350"/>
                  </a:cubicBezTo>
                  <a:cubicBezTo>
                    <a:pt x="125689" y="169449"/>
                    <a:pt x="126347" y="171374"/>
                    <a:pt x="126628" y="172125"/>
                  </a:cubicBezTo>
                  <a:cubicBezTo>
                    <a:pt x="126910" y="172876"/>
                    <a:pt x="127614" y="174473"/>
                    <a:pt x="128741" y="176914"/>
                  </a:cubicBezTo>
                  <a:cubicBezTo>
                    <a:pt x="129868" y="179356"/>
                    <a:pt x="130666" y="180952"/>
                    <a:pt x="131136" y="181703"/>
                  </a:cubicBezTo>
                  <a:cubicBezTo>
                    <a:pt x="131605" y="182454"/>
                    <a:pt x="132450" y="183769"/>
                    <a:pt x="133671" y="185647"/>
                  </a:cubicBezTo>
                  <a:cubicBezTo>
                    <a:pt x="134892" y="187525"/>
                    <a:pt x="136019" y="188793"/>
                    <a:pt x="137052" y="189450"/>
                  </a:cubicBezTo>
                  <a:cubicBezTo>
                    <a:pt x="138085" y="190108"/>
                    <a:pt x="139399" y="191000"/>
                    <a:pt x="140995" y="192127"/>
                  </a:cubicBezTo>
                  <a:cubicBezTo>
                    <a:pt x="142592" y="193253"/>
                    <a:pt x="144235" y="194005"/>
                    <a:pt x="145926" y="194380"/>
                  </a:cubicBezTo>
                  <a:cubicBezTo>
                    <a:pt x="147616" y="194756"/>
                    <a:pt x="149541" y="195131"/>
                    <a:pt x="151701" y="195507"/>
                  </a:cubicBezTo>
                  <a:cubicBezTo>
                    <a:pt x="153860" y="195883"/>
                    <a:pt x="156161" y="196070"/>
                    <a:pt x="158602" y="196070"/>
                  </a:cubicBezTo>
                  <a:cubicBezTo>
                    <a:pt x="165364" y="196070"/>
                    <a:pt x="170904" y="194897"/>
                    <a:pt x="175223" y="192549"/>
                  </a:cubicBezTo>
                  <a:cubicBezTo>
                    <a:pt x="179543" y="190202"/>
                    <a:pt x="182595" y="187384"/>
                    <a:pt x="184379" y="184098"/>
                  </a:cubicBezTo>
                  <a:cubicBezTo>
                    <a:pt x="186163" y="180811"/>
                    <a:pt x="187525" y="177571"/>
                    <a:pt x="188464" y="174379"/>
                  </a:cubicBezTo>
                  <a:cubicBezTo>
                    <a:pt x="189403" y="171186"/>
                    <a:pt x="190483" y="168416"/>
                    <a:pt x="191703" y="166068"/>
                  </a:cubicBezTo>
                  <a:cubicBezTo>
                    <a:pt x="192924" y="163721"/>
                    <a:pt x="194567" y="162547"/>
                    <a:pt x="196633" y="162547"/>
                  </a:cubicBezTo>
                  <a:lnTo>
                    <a:pt x="200014" y="162547"/>
                  </a:lnTo>
                  <a:cubicBezTo>
                    <a:pt x="202080" y="162547"/>
                    <a:pt x="203723" y="163721"/>
                    <a:pt x="204944" y="166068"/>
                  </a:cubicBezTo>
                  <a:cubicBezTo>
                    <a:pt x="206165" y="168416"/>
                    <a:pt x="207244" y="171186"/>
                    <a:pt x="208184" y="174379"/>
                  </a:cubicBezTo>
                  <a:cubicBezTo>
                    <a:pt x="209122" y="177571"/>
                    <a:pt x="210484" y="180811"/>
                    <a:pt x="212268" y="184098"/>
                  </a:cubicBezTo>
                  <a:cubicBezTo>
                    <a:pt x="214052" y="187384"/>
                    <a:pt x="217104" y="190202"/>
                    <a:pt x="221424" y="192549"/>
                  </a:cubicBezTo>
                  <a:cubicBezTo>
                    <a:pt x="225743" y="194897"/>
                    <a:pt x="231284" y="196070"/>
                    <a:pt x="238045" y="196070"/>
                  </a:cubicBezTo>
                  <a:cubicBezTo>
                    <a:pt x="240486" y="196070"/>
                    <a:pt x="242787" y="195883"/>
                    <a:pt x="244947" y="195507"/>
                  </a:cubicBezTo>
                  <a:cubicBezTo>
                    <a:pt x="247106" y="195131"/>
                    <a:pt x="249031" y="194756"/>
                    <a:pt x="250722" y="194380"/>
                  </a:cubicBezTo>
                  <a:cubicBezTo>
                    <a:pt x="252412" y="194005"/>
                    <a:pt x="254055" y="193253"/>
                    <a:pt x="255652" y="192127"/>
                  </a:cubicBezTo>
                  <a:cubicBezTo>
                    <a:pt x="257248" y="191000"/>
                    <a:pt x="258563" y="190108"/>
                    <a:pt x="259596" y="189450"/>
                  </a:cubicBezTo>
                  <a:cubicBezTo>
                    <a:pt x="260629" y="188793"/>
                    <a:pt x="261755" y="187525"/>
                    <a:pt x="262976" y="185647"/>
                  </a:cubicBezTo>
                  <a:cubicBezTo>
                    <a:pt x="264197" y="183769"/>
                    <a:pt x="265042" y="182454"/>
                    <a:pt x="265511" y="181703"/>
                  </a:cubicBezTo>
                  <a:cubicBezTo>
                    <a:pt x="265981" y="180952"/>
                    <a:pt x="266779" y="179356"/>
                    <a:pt x="267906" y="176914"/>
                  </a:cubicBezTo>
                  <a:cubicBezTo>
                    <a:pt x="269033" y="174473"/>
                    <a:pt x="269737" y="172876"/>
                    <a:pt x="270019" y="172125"/>
                  </a:cubicBezTo>
                  <a:cubicBezTo>
                    <a:pt x="270301" y="171374"/>
                    <a:pt x="270958" y="169449"/>
                    <a:pt x="271991" y="166350"/>
                  </a:cubicBezTo>
                  <a:cubicBezTo>
                    <a:pt x="273024" y="163251"/>
                    <a:pt x="273728" y="161326"/>
                    <a:pt x="274104" y="160575"/>
                  </a:cubicBezTo>
                  <a:cubicBezTo>
                    <a:pt x="274479" y="159260"/>
                    <a:pt x="275184" y="158274"/>
                    <a:pt x="276217" y="157617"/>
                  </a:cubicBezTo>
                  <a:cubicBezTo>
                    <a:pt x="277250" y="156960"/>
                    <a:pt x="277954" y="156349"/>
                    <a:pt x="278329" y="155786"/>
                  </a:cubicBezTo>
                  <a:cubicBezTo>
                    <a:pt x="278705" y="154096"/>
                    <a:pt x="279081" y="151560"/>
                    <a:pt x="279456" y="148180"/>
                  </a:cubicBezTo>
                  <a:cubicBezTo>
                    <a:pt x="279081" y="147428"/>
                    <a:pt x="278705" y="146865"/>
                    <a:pt x="278329" y="146490"/>
                  </a:cubicBezTo>
                  <a:cubicBezTo>
                    <a:pt x="276451" y="144987"/>
                    <a:pt x="267436" y="144236"/>
                    <a:pt x="251285" y="144236"/>
                  </a:cubicBezTo>
                  <a:cubicBezTo>
                    <a:pt x="238139" y="144236"/>
                    <a:pt x="222457" y="146020"/>
                    <a:pt x="204240" y="149588"/>
                  </a:cubicBezTo>
                  <a:cubicBezTo>
                    <a:pt x="202925" y="149964"/>
                    <a:pt x="200953" y="150152"/>
                    <a:pt x="198324" y="150152"/>
                  </a:cubicBezTo>
                  <a:cubicBezTo>
                    <a:pt x="195694" y="150152"/>
                    <a:pt x="193722" y="149964"/>
                    <a:pt x="192408" y="149588"/>
                  </a:cubicBezTo>
                  <a:cubicBezTo>
                    <a:pt x="174190" y="146020"/>
                    <a:pt x="158509" y="144236"/>
                    <a:pt x="145362" y="144236"/>
                  </a:cubicBezTo>
                  <a:close/>
                  <a:moveTo>
                    <a:pt x="126206" y="252413"/>
                  </a:moveTo>
                  <a:lnTo>
                    <a:pt x="162265" y="432707"/>
                  </a:lnTo>
                  <a:lnTo>
                    <a:pt x="189309" y="306501"/>
                  </a:lnTo>
                  <a:lnTo>
                    <a:pt x="162265" y="270442"/>
                  </a:lnTo>
                  <a:lnTo>
                    <a:pt x="126206" y="252413"/>
                  </a:lnTo>
                  <a:close/>
                  <a:moveTo>
                    <a:pt x="270441" y="252413"/>
                  </a:moveTo>
                  <a:lnTo>
                    <a:pt x="234383" y="270442"/>
                  </a:lnTo>
                  <a:lnTo>
                    <a:pt x="207338" y="306501"/>
                  </a:lnTo>
                  <a:lnTo>
                    <a:pt x="234383" y="432707"/>
                  </a:lnTo>
                  <a:lnTo>
                    <a:pt x="270441" y="252413"/>
                  </a:ln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4" name="Freeform 404">
              <a:extLst>
                <a:ext uri="{FF2B5EF4-FFF2-40B4-BE49-F238E27FC236}">
                  <a16:creationId xmlns:a16="http://schemas.microsoft.com/office/drawing/2014/main" id="{5250A963-543A-77C7-5AAD-1DF0C629225F}"/>
                </a:ext>
              </a:extLst>
            </p:cNvPr>
            <p:cNvSpPr/>
            <p:nvPr/>
          </p:nvSpPr>
          <p:spPr>
            <a:xfrm>
              <a:off x="1179235" y="5250452"/>
              <a:ext cx="396000" cy="324000"/>
            </a:xfrm>
            <a:custGeom>
              <a:avLst/>
              <a:gdLst>
                <a:gd name="connsiteX0" fmla="*/ 240018 w 502570"/>
                <a:gd name="connsiteY0" fmla="*/ 221988 h 396648"/>
                <a:gd name="connsiteX1" fmla="*/ 207339 w 502570"/>
                <a:gd name="connsiteY1" fmla="*/ 254666 h 396648"/>
                <a:gd name="connsiteX2" fmla="*/ 207339 w 502570"/>
                <a:gd name="connsiteY2" fmla="*/ 270442 h 396648"/>
                <a:gd name="connsiteX3" fmla="*/ 234383 w 502570"/>
                <a:gd name="connsiteY3" fmla="*/ 270442 h 396648"/>
                <a:gd name="connsiteX4" fmla="*/ 234383 w 502570"/>
                <a:gd name="connsiteY4" fmla="*/ 297486 h 396648"/>
                <a:gd name="connsiteX5" fmla="*/ 250159 w 502570"/>
                <a:gd name="connsiteY5" fmla="*/ 297486 h 396648"/>
                <a:gd name="connsiteX6" fmla="*/ 282837 w 502570"/>
                <a:gd name="connsiteY6" fmla="*/ 264808 h 396648"/>
                <a:gd name="connsiteX7" fmla="*/ 369533 w 502570"/>
                <a:gd name="connsiteY7" fmla="*/ 92471 h 396648"/>
                <a:gd name="connsiteX8" fmla="*/ 364815 w 502570"/>
                <a:gd name="connsiteY8" fmla="*/ 94936 h 396648"/>
                <a:gd name="connsiteX9" fmla="*/ 266216 w 502570"/>
                <a:gd name="connsiteY9" fmla="*/ 193535 h 396648"/>
                <a:gd name="connsiteX10" fmla="*/ 265935 w 502570"/>
                <a:gd name="connsiteY10" fmla="*/ 202831 h 396648"/>
                <a:gd name="connsiteX11" fmla="*/ 275231 w 502570"/>
                <a:gd name="connsiteY11" fmla="*/ 202550 h 396648"/>
                <a:gd name="connsiteX12" fmla="*/ 373829 w 502570"/>
                <a:gd name="connsiteY12" fmla="*/ 103951 h 396648"/>
                <a:gd name="connsiteX13" fmla="*/ 374112 w 502570"/>
                <a:gd name="connsiteY13" fmla="*/ 94655 h 396648"/>
                <a:gd name="connsiteX14" fmla="*/ 369533 w 502570"/>
                <a:gd name="connsiteY14" fmla="*/ 92471 h 396648"/>
                <a:gd name="connsiteX15" fmla="*/ 369604 w 502570"/>
                <a:gd name="connsiteY15" fmla="*/ 54088 h 396648"/>
                <a:gd name="connsiteX16" fmla="*/ 450736 w 502570"/>
                <a:gd name="connsiteY16" fmla="*/ 135221 h 396648"/>
                <a:gd name="connsiteX17" fmla="*/ 261427 w 502570"/>
                <a:gd name="connsiteY17" fmla="*/ 324530 h 396648"/>
                <a:gd name="connsiteX18" fmla="*/ 180295 w 502570"/>
                <a:gd name="connsiteY18" fmla="*/ 324530 h 396648"/>
                <a:gd name="connsiteX19" fmla="*/ 180295 w 502570"/>
                <a:gd name="connsiteY19" fmla="*/ 243398 h 396648"/>
                <a:gd name="connsiteX20" fmla="*/ 432706 w 502570"/>
                <a:gd name="connsiteY20" fmla="*/ 2254 h 396648"/>
                <a:gd name="connsiteX21" fmla="*/ 451863 w 502570"/>
                <a:gd name="connsiteY21" fmla="*/ 10142 h 396648"/>
                <a:gd name="connsiteX22" fmla="*/ 494683 w 502570"/>
                <a:gd name="connsiteY22" fmla="*/ 52961 h 396648"/>
                <a:gd name="connsiteX23" fmla="*/ 502570 w 502570"/>
                <a:gd name="connsiteY23" fmla="*/ 72118 h 396648"/>
                <a:gd name="connsiteX24" fmla="*/ 494683 w 502570"/>
                <a:gd name="connsiteY24" fmla="*/ 91274 h 396648"/>
                <a:gd name="connsiteX25" fmla="*/ 468766 w 502570"/>
                <a:gd name="connsiteY25" fmla="*/ 117191 h 396648"/>
                <a:gd name="connsiteX26" fmla="*/ 387632 w 502570"/>
                <a:gd name="connsiteY26" fmla="*/ 36059 h 396648"/>
                <a:gd name="connsiteX27" fmla="*/ 413550 w 502570"/>
                <a:gd name="connsiteY27" fmla="*/ 10142 h 396648"/>
                <a:gd name="connsiteX28" fmla="*/ 432706 w 502570"/>
                <a:gd name="connsiteY28" fmla="*/ 2254 h 396648"/>
                <a:gd name="connsiteX29" fmla="*/ 81133 w 502570"/>
                <a:gd name="connsiteY29" fmla="*/ 0 h 396648"/>
                <a:gd name="connsiteX30" fmla="*/ 315515 w 502570"/>
                <a:gd name="connsiteY30" fmla="*/ 0 h 396648"/>
                <a:gd name="connsiteX31" fmla="*/ 348476 w 502570"/>
                <a:gd name="connsiteY31" fmla="*/ 7043 h 396648"/>
                <a:gd name="connsiteX32" fmla="*/ 353547 w 502570"/>
                <a:gd name="connsiteY32" fmla="*/ 13522 h 396648"/>
                <a:gd name="connsiteX33" fmla="*/ 351011 w 502570"/>
                <a:gd name="connsiteY33" fmla="*/ 21692 h 396648"/>
                <a:gd name="connsiteX34" fmla="*/ 337207 w 502570"/>
                <a:gd name="connsiteY34" fmla="*/ 35496 h 396648"/>
                <a:gd name="connsiteX35" fmla="*/ 328193 w 502570"/>
                <a:gd name="connsiteY35" fmla="*/ 37749 h 396648"/>
                <a:gd name="connsiteX36" fmla="*/ 315515 w 502570"/>
                <a:gd name="connsiteY36" fmla="*/ 36059 h 396648"/>
                <a:gd name="connsiteX37" fmla="*/ 81133 w 502570"/>
                <a:gd name="connsiteY37" fmla="*/ 36059 h 396648"/>
                <a:gd name="connsiteX38" fmla="*/ 49299 w 502570"/>
                <a:gd name="connsiteY38" fmla="*/ 49299 h 396648"/>
                <a:gd name="connsiteX39" fmla="*/ 36059 w 502570"/>
                <a:gd name="connsiteY39" fmla="*/ 81133 h 396648"/>
                <a:gd name="connsiteX40" fmla="*/ 36059 w 502570"/>
                <a:gd name="connsiteY40" fmla="*/ 315515 h 396648"/>
                <a:gd name="connsiteX41" fmla="*/ 49299 w 502570"/>
                <a:gd name="connsiteY41" fmla="*/ 347349 h 396648"/>
                <a:gd name="connsiteX42" fmla="*/ 81133 w 502570"/>
                <a:gd name="connsiteY42" fmla="*/ 360589 h 396648"/>
                <a:gd name="connsiteX43" fmla="*/ 315515 w 502570"/>
                <a:gd name="connsiteY43" fmla="*/ 360589 h 396648"/>
                <a:gd name="connsiteX44" fmla="*/ 347349 w 502570"/>
                <a:gd name="connsiteY44" fmla="*/ 347349 h 396648"/>
                <a:gd name="connsiteX45" fmla="*/ 360589 w 502570"/>
                <a:gd name="connsiteY45" fmla="*/ 315515 h 396648"/>
                <a:gd name="connsiteX46" fmla="*/ 360589 w 502570"/>
                <a:gd name="connsiteY46" fmla="*/ 280020 h 396648"/>
                <a:gd name="connsiteX47" fmla="*/ 363125 w 502570"/>
                <a:gd name="connsiteY47" fmla="*/ 273822 h 396648"/>
                <a:gd name="connsiteX48" fmla="*/ 381154 w 502570"/>
                <a:gd name="connsiteY48" fmla="*/ 255793 h 396648"/>
                <a:gd name="connsiteX49" fmla="*/ 391014 w 502570"/>
                <a:gd name="connsiteY49" fmla="*/ 253821 h 396648"/>
                <a:gd name="connsiteX50" fmla="*/ 396649 w 502570"/>
                <a:gd name="connsiteY50" fmla="*/ 261991 h 396648"/>
                <a:gd name="connsiteX51" fmla="*/ 396649 w 502570"/>
                <a:gd name="connsiteY51" fmla="*/ 315515 h 396648"/>
                <a:gd name="connsiteX52" fmla="*/ 372843 w 502570"/>
                <a:gd name="connsiteY52" fmla="*/ 372844 h 396648"/>
                <a:gd name="connsiteX53" fmla="*/ 315515 w 502570"/>
                <a:gd name="connsiteY53" fmla="*/ 396648 h 396648"/>
                <a:gd name="connsiteX54" fmla="*/ 81133 w 502570"/>
                <a:gd name="connsiteY54" fmla="*/ 396648 h 396648"/>
                <a:gd name="connsiteX55" fmla="*/ 23804 w 502570"/>
                <a:gd name="connsiteY55" fmla="*/ 372844 h 396648"/>
                <a:gd name="connsiteX56" fmla="*/ 0 w 502570"/>
                <a:gd name="connsiteY56" fmla="*/ 315515 h 396648"/>
                <a:gd name="connsiteX57" fmla="*/ 0 w 502570"/>
                <a:gd name="connsiteY57" fmla="*/ 81133 h 396648"/>
                <a:gd name="connsiteX58" fmla="*/ 23804 w 502570"/>
                <a:gd name="connsiteY58" fmla="*/ 23805 h 396648"/>
                <a:gd name="connsiteX59" fmla="*/ 81133 w 502570"/>
                <a:gd name="connsiteY59" fmla="*/ 0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02570" h="396648">
                  <a:moveTo>
                    <a:pt x="240018" y="221988"/>
                  </a:moveTo>
                  <a:lnTo>
                    <a:pt x="207339" y="254666"/>
                  </a:lnTo>
                  <a:lnTo>
                    <a:pt x="207339" y="270442"/>
                  </a:lnTo>
                  <a:lnTo>
                    <a:pt x="234383" y="270442"/>
                  </a:lnTo>
                  <a:lnTo>
                    <a:pt x="234383" y="297486"/>
                  </a:lnTo>
                  <a:lnTo>
                    <a:pt x="250159" y="297486"/>
                  </a:lnTo>
                  <a:lnTo>
                    <a:pt x="282837" y="264808"/>
                  </a:lnTo>
                  <a:close/>
                  <a:moveTo>
                    <a:pt x="369533" y="92471"/>
                  </a:moveTo>
                  <a:cubicBezTo>
                    <a:pt x="367984" y="92518"/>
                    <a:pt x="366411" y="93340"/>
                    <a:pt x="364815" y="94936"/>
                  </a:cubicBezTo>
                  <a:lnTo>
                    <a:pt x="266216" y="193535"/>
                  </a:lnTo>
                  <a:cubicBezTo>
                    <a:pt x="263023" y="196728"/>
                    <a:pt x="262929" y="199826"/>
                    <a:pt x="265935" y="202831"/>
                  </a:cubicBezTo>
                  <a:cubicBezTo>
                    <a:pt x="268939" y="205836"/>
                    <a:pt x="272038" y="205742"/>
                    <a:pt x="275231" y="202550"/>
                  </a:cubicBezTo>
                  <a:lnTo>
                    <a:pt x="373829" y="103951"/>
                  </a:lnTo>
                  <a:cubicBezTo>
                    <a:pt x="377022" y="100758"/>
                    <a:pt x="377115" y="97659"/>
                    <a:pt x="374112" y="94655"/>
                  </a:cubicBezTo>
                  <a:cubicBezTo>
                    <a:pt x="372610" y="93152"/>
                    <a:pt x="371083" y="92424"/>
                    <a:pt x="369533" y="92471"/>
                  </a:cubicBezTo>
                  <a:close/>
                  <a:moveTo>
                    <a:pt x="369604" y="54088"/>
                  </a:moveTo>
                  <a:lnTo>
                    <a:pt x="450736" y="135221"/>
                  </a:lnTo>
                  <a:lnTo>
                    <a:pt x="261427" y="324530"/>
                  </a:lnTo>
                  <a:lnTo>
                    <a:pt x="180295" y="324530"/>
                  </a:lnTo>
                  <a:lnTo>
                    <a:pt x="180295" y="243398"/>
                  </a:lnTo>
                  <a:close/>
                  <a:moveTo>
                    <a:pt x="432706" y="2254"/>
                  </a:moveTo>
                  <a:cubicBezTo>
                    <a:pt x="440217" y="2254"/>
                    <a:pt x="446604" y="4883"/>
                    <a:pt x="451863" y="10142"/>
                  </a:cubicBezTo>
                  <a:lnTo>
                    <a:pt x="494683" y="52961"/>
                  </a:lnTo>
                  <a:cubicBezTo>
                    <a:pt x="499940" y="58220"/>
                    <a:pt x="502570" y="64606"/>
                    <a:pt x="502570" y="72118"/>
                  </a:cubicBezTo>
                  <a:cubicBezTo>
                    <a:pt x="502570" y="79630"/>
                    <a:pt x="499940" y="86016"/>
                    <a:pt x="494683" y="91274"/>
                  </a:cubicBezTo>
                  <a:lnTo>
                    <a:pt x="468766" y="117191"/>
                  </a:lnTo>
                  <a:lnTo>
                    <a:pt x="387632" y="36059"/>
                  </a:lnTo>
                  <a:lnTo>
                    <a:pt x="413550" y="10142"/>
                  </a:lnTo>
                  <a:cubicBezTo>
                    <a:pt x="418808" y="4883"/>
                    <a:pt x="425194" y="2254"/>
                    <a:pt x="432706" y="2254"/>
                  </a:cubicBezTo>
                  <a:close/>
                  <a:moveTo>
                    <a:pt x="81133" y="0"/>
                  </a:moveTo>
                  <a:lnTo>
                    <a:pt x="315515" y="0"/>
                  </a:lnTo>
                  <a:cubicBezTo>
                    <a:pt x="327347" y="0"/>
                    <a:pt x="338334" y="2348"/>
                    <a:pt x="348476" y="7043"/>
                  </a:cubicBezTo>
                  <a:cubicBezTo>
                    <a:pt x="351293" y="8357"/>
                    <a:pt x="352983" y="10517"/>
                    <a:pt x="353547" y="13522"/>
                  </a:cubicBezTo>
                  <a:cubicBezTo>
                    <a:pt x="354110" y="16715"/>
                    <a:pt x="353265" y="19438"/>
                    <a:pt x="351011" y="21692"/>
                  </a:cubicBezTo>
                  <a:lnTo>
                    <a:pt x="337207" y="35496"/>
                  </a:lnTo>
                  <a:cubicBezTo>
                    <a:pt x="334577" y="38125"/>
                    <a:pt x="331574" y="38876"/>
                    <a:pt x="328193" y="37749"/>
                  </a:cubicBezTo>
                  <a:cubicBezTo>
                    <a:pt x="323872" y="36622"/>
                    <a:pt x="319647" y="36059"/>
                    <a:pt x="315515" y="36059"/>
                  </a:cubicBezTo>
                  <a:lnTo>
                    <a:pt x="81133" y="36059"/>
                  </a:lnTo>
                  <a:cubicBezTo>
                    <a:pt x="68737" y="36059"/>
                    <a:pt x="58126" y="40472"/>
                    <a:pt x="49299" y="49299"/>
                  </a:cubicBezTo>
                  <a:cubicBezTo>
                    <a:pt x="40472" y="58126"/>
                    <a:pt x="36059" y="68737"/>
                    <a:pt x="36059" y="81133"/>
                  </a:cubicBezTo>
                  <a:lnTo>
                    <a:pt x="36059" y="315515"/>
                  </a:lnTo>
                  <a:cubicBezTo>
                    <a:pt x="36059" y="327911"/>
                    <a:pt x="40472" y="338522"/>
                    <a:pt x="49299" y="347349"/>
                  </a:cubicBezTo>
                  <a:cubicBezTo>
                    <a:pt x="58126" y="356176"/>
                    <a:pt x="68737" y="360589"/>
                    <a:pt x="81133" y="360589"/>
                  </a:cubicBezTo>
                  <a:lnTo>
                    <a:pt x="315515" y="360589"/>
                  </a:lnTo>
                  <a:cubicBezTo>
                    <a:pt x="327911" y="360589"/>
                    <a:pt x="338521" y="356176"/>
                    <a:pt x="347349" y="347349"/>
                  </a:cubicBezTo>
                  <a:cubicBezTo>
                    <a:pt x="356176" y="338522"/>
                    <a:pt x="360589" y="327911"/>
                    <a:pt x="360589" y="315515"/>
                  </a:cubicBezTo>
                  <a:lnTo>
                    <a:pt x="360589" y="280020"/>
                  </a:lnTo>
                  <a:cubicBezTo>
                    <a:pt x="360589" y="277579"/>
                    <a:pt x="361435" y="275513"/>
                    <a:pt x="363125" y="273822"/>
                  </a:cubicBezTo>
                  <a:lnTo>
                    <a:pt x="381154" y="255793"/>
                  </a:lnTo>
                  <a:cubicBezTo>
                    <a:pt x="383972" y="252976"/>
                    <a:pt x="387258" y="252318"/>
                    <a:pt x="391014" y="253821"/>
                  </a:cubicBezTo>
                  <a:cubicBezTo>
                    <a:pt x="394770" y="255323"/>
                    <a:pt x="396649" y="258047"/>
                    <a:pt x="396649" y="261991"/>
                  </a:cubicBezTo>
                  <a:lnTo>
                    <a:pt x="396649" y="315515"/>
                  </a:lnTo>
                  <a:cubicBezTo>
                    <a:pt x="396649" y="337865"/>
                    <a:pt x="388713" y="356974"/>
                    <a:pt x="372843" y="372844"/>
                  </a:cubicBezTo>
                  <a:cubicBezTo>
                    <a:pt x="356973" y="388713"/>
                    <a:pt x="337864" y="396648"/>
                    <a:pt x="315515" y="396648"/>
                  </a:cubicBezTo>
                  <a:lnTo>
                    <a:pt x="81133" y="396648"/>
                  </a:lnTo>
                  <a:cubicBezTo>
                    <a:pt x="58783" y="396648"/>
                    <a:pt x="39674" y="388713"/>
                    <a:pt x="23804" y="372844"/>
                  </a:cubicBezTo>
                  <a:cubicBezTo>
                    <a:pt x="7934" y="356974"/>
                    <a:pt x="0" y="337865"/>
                    <a:pt x="0" y="315515"/>
                  </a:cubicBezTo>
                  <a:lnTo>
                    <a:pt x="0" y="81133"/>
                  </a:lnTo>
                  <a:cubicBezTo>
                    <a:pt x="0" y="58784"/>
                    <a:pt x="7934" y="39674"/>
                    <a:pt x="23804" y="23805"/>
                  </a:cubicBezTo>
                  <a:cubicBezTo>
                    <a:pt x="39674" y="7935"/>
                    <a:pt x="58783" y="0"/>
                    <a:pt x="81133" y="0"/>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5" name="Freeform 313">
              <a:extLst>
                <a:ext uri="{FF2B5EF4-FFF2-40B4-BE49-F238E27FC236}">
                  <a16:creationId xmlns:a16="http://schemas.microsoft.com/office/drawing/2014/main" id="{23F49C67-F123-5A7C-4C0A-58E4E55F152F}"/>
                </a:ext>
              </a:extLst>
            </p:cNvPr>
            <p:cNvSpPr/>
            <p:nvPr/>
          </p:nvSpPr>
          <p:spPr>
            <a:xfrm>
              <a:off x="1153763" y="5851781"/>
              <a:ext cx="396000" cy="324000"/>
            </a:xfrm>
            <a:custGeom>
              <a:avLst/>
              <a:gdLst/>
              <a:ahLst/>
              <a:cxnLst/>
              <a:rect l="l" t="t" r="r" b="b"/>
              <a:pathLst>
                <a:path w="468765" h="432707">
                  <a:moveTo>
                    <a:pt x="153251" y="0"/>
                  </a:moveTo>
                  <a:lnTo>
                    <a:pt x="315515" y="0"/>
                  </a:lnTo>
                  <a:cubicBezTo>
                    <a:pt x="327910" y="0"/>
                    <a:pt x="338522" y="4413"/>
                    <a:pt x="347348" y="13240"/>
                  </a:cubicBezTo>
                  <a:cubicBezTo>
                    <a:pt x="356175" y="22067"/>
                    <a:pt x="360589" y="32678"/>
                    <a:pt x="360589" y="45074"/>
                  </a:cubicBezTo>
                  <a:lnTo>
                    <a:pt x="360589" y="72118"/>
                  </a:lnTo>
                  <a:lnTo>
                    <a:pt x="441721" y="72118"/>
                  </a:lnTo>
                  <a:cubicBezTo>
                    <a:pt x="449233" y="72118"/>
                    <a:pt x="455619" y="74747"/>
                    <a:pt x="460877" y="80006"/>
                  </a:cubicBezTo>
                  <a:cubicBezTo>
                    <a:pt x="466136" y="85264"/>
                    <a:pt x="468765" y="91650"/>
                    <a:pt x="468765" y="99162"/>
                  </a:cubicBezTo>
                  <a:lnTo>
                    <a:pt x="468765" y="135221"/>
                  </a:lnTo>
                  <a:cubicBezTo>
                    <a:pt x="468765" y="148555"/>
                    <a:pt x="464868" y="161983"/>
                    <a:pt x="457074" y="175506"/>
                  </a:cubicBezTo>
                  <a:cubicBezTo>
                    <a:pt x="449280" y="189028"/>
                    <a:pt x="438763" y="201235"/>
                    <a:pt x="425523" y="212128"/>
                  </a:cubicBezTo>
                  <a:cubicBezTo>
                    <a:pt x="412282" y="223021"/>
                    <a:pt x="396037" y="232176"/>
                    <a:pt x="376787" y="239595"/>
                  </a:cubicBezTo>
                  <a:cubicBezTo>
                    <a:pt x="357537" y="247013"/>
                    <a:pt x="337301" y="251192"/>
                    <a:pt x="316078" y="252131"/>
                  </a:cubicBezTo>
                  <a:cubicBezTo>
                    <a:pt x="308191" y="262272"/>
                    <a:pt x="299270" y="271193"/>
                    <a:pt x="289316" y="278893"/>
                  </a:cubicBezTo>
                  <a:cubicBezTo>
                    <a:pt x="282179" y="285279"/>
                    <a:pt x="277249" y="292087"/>
                    <a:pt x="274526" y="299317"/>
                  </a:cubicBezTo>
                  <a:cubicBezTo>
                    <a:pt x="271803" y="306548"/>
                    <a:pt x="270441" y="314952"/>
                    <a:pt x="270441" y="324530"/>
                  </a:cubicBezTo>
                  <a:cubicBezTo>
                    <a:pt x="270441" y="334672"/>
                    <a:pt x="273305" y="343217"/>
                    <a:pt x="279033" y="350166"/>
                  </a:cubicBezTo>
                  <a:cubicBezTo>
                    <a:pt x="284761" y="357115"/>
                    <a:pt x="293917" y="360589"/>
                    <a:pt x="306500" y="360589"/>
                  </a:cubicBezTo>
                  <a:cubicBezTo>
                    <a:pt x="320586" y="360589"/>
                    <a:pt x="333122" y="364862"/>
                    <a:pt x="344109" y="373407"/>
                  </a:cubicBezTo>
                  <a:cubicBezTo>
                    <a:pt x="355095" y="381952"/>
                    <a:pt x="360589" y="392704"/>
                    <a:pt x="360589" y="405663"/>
                  </a:cubicBezTo>
                  <a:lnTo>
                    <a:pt x="360589" y="423692"/>
                  </a:lnTo>
                  <a:cubicBezTo>
                    <a:pt x="360589" y="426322"/>
                    <a:pt x="359743" y="428481"/>
                    <a:pt x="358053" y="430172"/>
                  </a:cubicBezTo>
                  <a:cubicBezTo>
                    <a:pt x="356363" y="431862"/>
                    <a:pt x="354203" y="432707"/>
                    <a:pt x="351574" y="432707"/>
                  </a:cubicBezTo>
                  <a:lnTo>
                    <a:pt x="117191" y="432707"/>
                  </a:lnTo>
                  <a:cubicBezTo>
                    <a:pt x="114562" y="432707"/>
                    <a:pt x="112403" y="431862"/>
                    <a:pt x="110712" y="430172"/>
                  </a:cubicBezTo>
                  <a:cubicBezTo>
                    <a:pt x="109022" y="428481"/>
                    <a:pt x="108177" y="426322"/>
                    <a:pt x="108177" y="423692"/>
                  </a:cubicBezTo>
                  <a:lnTo>
                    <a:pt x="108177" y="405663"/>
                  </a:lnTo>
                  <a:cubicBezTo>
                    <a:pt x="108177" y="392704"/>
                    <a:pt x="113670" y="381952"/>
                    <a:pt x="124657" y="373407"/>
                  </a:cubicBezTo>
                  <a:cubicBezTo>
                    <a:pt x="135644" y="364862"/>
                    <a:pt x="148180" y="360589"/>
                    <a:pt x="162265" y="360589"/>
                  </a:cubicBezTo>
                  <a:cubicBezTo>
                    <a:pt x="174849" y="360589"/>
                    <a:pt x="184004" y="357115"/>
                    <a:pt x="189732" y="350166"/>
                  </a:cubicBezTo>
                  <a:cubicBezTo>
                    <a:pt x="195460" y="343217"/>
                    <a:pt x="198324" y="334672"/>
                    <a:pt x="198324" y="324530"/>
                  </a:cubicBezTo>
                  <a:cubicBezTo>
                    <a:pt x="198324" y="314952"/>
                    <a:pt x="196963" y="306548"/>
                    <a:pt x="194239" y="299317"/>
                  </a:cubicBezTo>
                  <a:cubicBezTo>
                    <a:pt x="191517" y="292087"/>
                    <a:pt x="186587" y="285279"/>
                    <a:pt x="179450" y="278893"/>
                  </a:cubicBezTo>
                  <a:cubicBezTo>
                    <a:pt x="169496" y="271193"/>
                    <a:pt x="160575" y="262272"/>
                    <a:pt x="152687" y="252131"/>
                  </a:cubicBezTo>
                  <a:cubicBezTo>
                    <a:pt x="131465" y="251192"/>
                    <a:pt x="111230" y="247013"/>
                    <a:pt x="91979" y="239595"/>
                  </a:cubicBezTo>
                  <a:cubicBezTo>
                    <a:pt x="72728" y="232176"/>
                    <a:pt x="56483" y="223021"/>
                    <a:pt x="43243" y="212128"/>
                  </a:cubicBezTo>
                  <a:cubicBezTo>
                    <a:pt x="30002" y="201235"/>
                    <a:pt x="19485" y="189028"/>
                    <a:pt x="11691" y="175506"/>
                  </a:cubicBezTo>
                  <a:cubicBezTo>
                    <a:pt x="3897" y="161983"/>
                    <a:pt x="0" y="148555"/>
                    <a:pt x="0" y="135221"/>
                  </a:cubicBezTo>
                  <a:lnTo>
                    <a:pt x="0" y="99162"/>
                  </a:lnTo>
                  <a:cubicBezTo>
                    <a:pt x="0" y="91650"/>
                    <a:pt x="2630" y="85264"/>
                    <a:pt x="7888" y="80006"/>
                  </a:cubicBezTo>
                  <a:cubicBezTo>
                    <a:pt x="13146" y="74747"/>
                    <a:pt x="19532" y="72118"/>
                    <a:pt x="27044" y="72118"/>
                  </a:cubicBezTo>
                  <a:lnTo>
                    <a:pt x="108177" y="72118"/>
                  </a:lnTo>
                  <a:lnTo>
                    <a:pt x="108177" y="45074"/>
                  </a:lnTo>
                  <a:cubicBezTo>
                    <a:pt x="108177" y="32678"/>
                    <a:pt x="112590" y="22067"/>
                    <a:pt x="121417" y="13240"/>
                  </a:cubicBezTo>
                  <a:cubicBezTo>
                    <a:pt x="130244" y="4413"/>
                    <a:pt x="140855" y="0"/>
                    <a:pt x="153251" y="0"/>
                  </a:cubicBezTo>
                  <a:close/>
                  <a:moveTo>
                    <a:pt x="36059" y="108177"/>
                  </a:moveTo>
                  <a:lnTo>
                    <a:pt x="36059" y="135221"/>
                  </a:lnTo>
                  <a:cubicBezTo>
                    <a:pt x="36059" y="149870"/>
                    <a:pt x="44932" y="165082"/>
                    <a:pt x="62680" y="180858"/>
                  </a:cubicBezTo>
                  <a:cubicBezTo>
                    <a:pt x="80428" y="196634"/>
                    <a:pt x="102543" y="207245"/>
                    <a:pt x="129023" y="212691"/>
                  </a:cubicBezTo>
                  <a:cubicBezTo>
                    <a:pt x="115126" y="182267"/>
                    <a:pt x="108177" y="147428"/>
                    <a:pt x="108177" y="108177"/>
                  </a:cubicBezTo>
                  <a:lnTo>
                    <a:pt x="36059" y="108177"/>
                  </a:lnTo>
                  <a:close/>
                  <a:moveTo>
                    <a:pt x="360589" y="108177"/>
                  </a:moveTo>
                  <a:cubicBezTo>
                    <a:pt x="360589" y="147428"/>
                    <a:pt x="353640" y="182267"/>
                    <a:pt x="339742" y="212691"/>
                  </a:cubicBezTo>
                  <a:cubicBezTo>
                    <a:pt x="366222" y="207245"/>
                    <a:pt x="388337" y="196634"/>
                    <a:pt x="406085" y="180858"/>
                  </a:cubicBezTo>
                  <a:cubicBezTo>
                    <a:pt x="423833" y="165082"/>
                    <a:pt x="432706" y="149870"/>
                    <a:pt x="432706" y="135221"/>
                  </a:cubicBezTo>
                  <a:lnTo>
                    <a:pt x="432706" y="108177"/>
                  </a:lnTo>
                  <a:lnTo>
                    <a:pt x="360589" y="108177"/>
                  </a:ln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6" name="Freeform 457">
              <a:extLst>
                <a:ext uri="{FF2B5EF4-FFF2-40B4-BE49-F238E27FC236}">
                  <a16:creationId xmlns:a16="http://schemas.microsoft.com/office/drawing/2014/main" id="{2F9EAE2F-3386-5D05-2ADE-F9FCBE373CFE}"/>
                </a:ext>
              </a:extLst>
            </p:cNvPr>
            <p:cNvSpPr/>
            <p:nvPr/>
          </p:nvSpPr>
          <p:spPr>
            <a:xfrm>
              <a:off x="1211789" y="4672427"/>
              <a:ext cx="252000" cy="324000"/>
            </a:xfrm>
            <a:custGeom>
              <a:avLst/>
              <a:gdLst>
                <a:gd name="connsiteX0" fmla="*/ 108177 w 216354"/>
                <a:gd name="connsiteY0" fmla="*/ 60848 h 324530"/>
                <a:gd name="connsiteX1" fmla="*/ 129199 w 216354"/>
                <a:gd name="connsiteY1" fmla="*/ 64229 h 324530"/>
                <a:gd name="connsiteX2" fmla="*/ 147581 w 216354"/>
                <a:gd name="connsiteY2" fmla="*/ 75638 h 324530"/>
                <a:gd name="connsiteX3" fmla="*/ 155504 w 216354"/>
                <a:gd name="connsiteY3" fmla="*/ 94654 h 324530"/>
                <a:gd name="connsiteX4" fmla="*/ 153497 w 216354"/>
                <a:gd name="connsiteY4" fmla="*/ 99408 h 324530"/>
                <a:gd name="connsiteX5" fmla="*/ 148744 w 216354"/>
                <a:gd name="connsiteY5" fmla="*/ 101415 h 324530"/>
                <a:gd name="connsiteX6" fmla="*/ 143989 w 216354"/>
                <a:gd name="connsiteY6" fmla="*/ 99408 h 324530"/>
                <a:gd name="connsiteX7" fmla="*/ 141982 w 216354"/>
                <a:gd name="connsiteY7" fmla="*/ 94654 h 324530"/>
                <a:gd name="connsiteX8" fmla="*/ 130573 w 216354"/>
                <a:gd name="connsiteY8" fmla="*/ 79653 h 324530"/>
                <a:gd name="connsiteX9" fmla="*/ 108177 w 216354"/>
                <a:gd name="connsiteY9" fmla="*/ 74371 h 324530"/>
                <a:gd name="connsiteX10" fmla="*/ 103422 w 216354"/>
                <a:gd name="connsiteY10" fmla="*/ 72364 h 324530"/>
                <a:gd name="connsiteX11" fmla="*/ 101415 w 216354"/>
                <a:gd name="connsiteY11" fmla="*/ 67610 h 324530"/>
                <a:gd name="connsiteX12" fmla="*/ 103422 w 216354"/>
                <a:gd name="connsiteY12" fmla="*/ 62856 h 324530"/>
                <a:gd name="connsiteX13" fmla="*/ 108177 w 216354"/>
                <a:gd name="connsiteY13" fmla="*/ 60848 h 324530"/>
                <a:gd name="connsiteX14" fmla="*/ 108177 w 216354"/>
                <a:gd name="connsiteY14" fmla="*/ 27044 h 324530"/>
                <a:gd name="connsiteX15" fmla="*/ 79337 w 216354"/>
                <a:gd name="connsiteY15" fmla="*/ 31797 h 324530"/>
                <a:gd name="connsiteX16" fmla="*/ 53349 w 216354"/>
                <a:gd name="connsiteY16" fmla="*/ 44897 h 324530"/>
                <a:gd name="connsiteX17" fmla="*/ 34333 w 216354"/>
                <a:gd name="connsiteY17" fmla="*/ 66343 h 324530"/>
                <a:gd name="connsiteX18" fmla="*/ 27044 w 216354"/>
                <a:gd name="connsiteY18" fmla="*/ 94655 h 324530"/>
                <a:gd name="connsiteX19" fmla="*/ 41411 w 216354"/>
                <a:gd name="connsiteY19" fmla="*/ 132686 h 324530"/>
                <a:gd name="connsiteX20" fmla="*/ 47856 w 216354"/>
                <a:gd name="connsiteY20" fmla="*/ 139658 h 324530"/>
                <a:gd name="connsiteX21" fmla="*/ 54300 w 216354"/>
                <a:gd name="connsiteY21" fmla="*/ 146630 h 324530"/>
                <a:gd name="connsiteX22" fmla="*/ 84091 w 216354"/>
                <a:gd name="connsiteY22" fmla="*/ 209593 h 324530"/>
                <a:gd name="connsiteX23" fmla="*/ 132263 w 216354"/>
                <a:gd name="connsiteY23" fmla="*/ 209593 h 324530"/>
                <a:gd name="connsiteX24" fmla="*/ 162054 w 216354"/>
                <a:gd name="connsiteY24" fmla="*/ 146630 h 324530"/>
                <a:gd name="connsiteX25" fmla="*/ 168498 w 216354"/>
                <a:gd name="connsiteY25" fmla="*/ 139658 h 324530"/>
                <a:gd name="connsiteX26" fmla="*/ 174943 w 216354"/>
                <a:gd name="connsiteY26" fmla="*/ 132686 h 324530"/>
                <a:gd name="connsiteX27" fmla="*/ 189310 w 216354"/>
                <a:gd name="connsiteY27" fmla="*/ 94655 h 324530"/>
                <a:gd name="connsiteX28" fmla="*/ 182021 w 216354"/>
                <a:gd name="connsiteY28" fmla="*/ 66343 h 324530"/>
                <a:gd name="connsiteX29" fmla="*/ 163005 w 216354"/>
                <a:gd name="connsiteY29" fmla="*/ 44897 h 324530"/>
                <a:gd name="connsiteX30" fmla="*/ 137017 w 216354"/>
                <a:gd name="connsiteY30" fmla="*/ 31797 h 324530"/>
                <a:gd name="connsiteX31" fmla="*/ 108177 w 216354"/>
                <a:gd name="connsiteY31" fmla="*/ 27044 h 324530"/>
                <a:gd name="connsiteX32" fmla="*/ 108177 w 216354"/>
                <a:gd name="connsiteY32" fmla="*/ 0 h 324530"/>
                <a:gd name="connsiteX33" fmla="*/ 147581 w 216354"/>
                <a:gd name="connsiteY33" fmla="*/ 6866 h 324530"/>
                <a:gd name="connsiteX34" fmla="*/ 182231 w 216354"/>
                <a:gd name="connsiteY34" fmla="*/ 25671 h 324530"/>
                <a:gd name="connsiteX35" fmla="*/ 206952 w 216354"/>
                <a:gd name="connsiteY35" fmla="*/ 55672 h 324530"/>
                <a:gd name="connsiteX36" fmla="*/ 216354 w 216354"/>
                <a:gd name="connsiteY36" fmla="*/ 94655 h 324530"/>
                <a:gd name="connsiteX37" fmla="*/ 194592 w 216354"/>
                <a:gd name="connsiteY37" fmla="*/ 151279 h 324530"/>
                <a:gd name="connsiteX38" fmla="*/ 178851 w 216354"/>
                <a:gd name="connsiteY38" fmla="*/ 169660 h 324530"/>
                <a:gd name="connsiteX39" fmla="*/ 166280 w 216354"/>
                <a:gd name="connsiteY39" fmla="*/ 189838 h 324530"/>
                <a:gd name="connsiteX40" fmla="*/ 159096 w 216354"/>
                <a:gd name="connsiteY40" fmla="*/ 212551 h 324530"/>
                <a:gd name="connsiteX41" fmla="*/ 169027 w 216354"/>
                <a:gd name="connsiteY41" fmla="*/ 229876 h 324530"/>
                <a:gd name="connsiteX42" fmla="*/ 163745 w 216354"/>
                <a:gd name="connsiteY42" fmla="*/ 243398 h 324530"/>
                <a:gd name="connsiteX43" fmla="*/ 169027 w 216354"/>
                <a:gd name="connsiteY43" fmla="*/ 256920 h 324530"/>
                <a:gd name="connsiteX44" fmla="*/ 159519 w 216354"/>
                <a:gd name="connsiteY44" fmla="*/ 274034 h 324530"/>
                <a:gd name="connsiteX45" fmla="*/ 162266 w 216354"/>
                <a:gd name="connsiteY45" fmla="*/ 283964 h 324530"/>
                <a:gd name="connsiteX46" fmla="*/ 155610 w 216354"/>
                <a:gd name="connsiteY46" fmla="*/ 298965 h 324530"/>
                <a:gd name="connsiteX47" fmla="*/ 139235 w 216354"/>
                <a:gd name="connsiteY47" fmla="*/ 304247 h 324530"/>
                <a:gd name="connsiteX48" fmla="*/ 126559 w 216354"/>
                <a:gd name="connsiteY48" fmla="*/ 319037 h 324530"/>
                <a:gd name="connsiteX49" fmla="*/ 108177 w 216354"/>
                <a:gd name="connsiteY49" fmla="*/ 324530 h 324530"/>
                <a:gd name="connsiteX50" fmla="*/ 89795 w 216354"/>
                <a:gd name="connsiteY50" fmla="*/ 319037 h 324530"/>
                <a:gd name="connsiteX51" fmla="*/ 77119 w 216354"/>
                <a:gd name="connsiteY51" fmla="*/ 304247 h 324530"/>
                <a:gd name="connsiteX52" fmla="*/ 60744 w 216354"/>
                <a:gd name="connsiteY52" fmla="*/ 298965 h 324530"/>
                <a:gd name="connsiteX53" fmla="*/ 54088 w 216354"/>
                <a:gd name="connsiteY53" fmla="*/ 283964 h 324530"/>
                <a:gd name="connsiteX54" fmla="*/ 56835 w 216354"/>
                <a:gd name="connsiteY54" fmla="*/ 274034 h 324530"/>
                <a:gd name="connsiteX55" fmla="*/ 47327 w 216354"/>
                <a:gd name="connsiteY55" fmla="*/ 256920 h 324530"/>
                <a:gd name="connsiteX56" fmla="*/ 52609 w 216354"/>
                <a:gd name="connsiteY56" fmla="*/ 243398 h 324530"/>
                <a:gd name="connsiteX57" fmla="*/ 47327 w 216354"/>
                <a:gd name="connsiteY57" fmla="*/ 229876 h 324530"/>
                <a:gd name="connsiteX58" fmla="*/ 57258 w 216354"/>
                <a:gd name="connsiteY58" fmla="*/ 212551 h 324530"/>
                <a:gd name="connsiteX59" fmla="*/ 50074 w 216354"/>
                <a:gd name="connsiteY59" fmla="*/ 189838 h 324530"/>
                <a:gd name="connsiteX60" fmla="*/ 37503 w 216354"/>
                <a:gd name="connsiteY60" fmla="*/ 169660 h 324530"/>
                <a:gd name="connsiteX61" fmla="*/ 21762 w 216354"/>
                <a:gd name="connsiteY61" fmla="*/ 151279 h 324530"/>
                <a:gd name="connsiteX62" fmla="*/ 0 w 216354"/>
                <a:gd name="connsiteY62" fmla="*/ 94655 h 324530"/>
                <a:gd name="connsiteX63" fmla="*/ 9402 w 216354"/>
                <a:gd name="connsiteY63" fmla="*/ 55672 h 324530"/>
                <a:gd name="connsiteX64" fmla="*/ 34123 w 216354"/>
                <a:gd name="connsiteY64" fmla="*/ 25671 h 324530"/>
                <a:gd name="connsiteX65" fmla="*/ 68773 w 216354"/>
                <a:gd name="connsiteY65" fmla="*/ 6866 h 324530"/>
                <a:gd name="connsiteX66" fmla="*/ 108177 w 216354"/>
                <a:gd name="connsiteY66" fmla="*/ 0 h 324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16354" h="324530">
                  <a:moveTo>
                    <a:pt x="108177" y="60848"/>
                  </a:moveTo>
                  <a:cubicBezTo>
                    <a:pt x="115219" y="60848"/>
                    <a:pt x="122227" y="61976"/>
                    <a:pt x="129199" y="64229"/>
                  </a:cubicBezTo>
                  <a:cubicBezTo>
                    <a:pt x="136172" y="66483"/>
                    <a:pt x="142299" y="70286"/>
                    <a:pt x="147581" y="75638"/>
                  </a:cubicBezTo>
                  <a:cubicBezTo>
                    <a:pt x="152863" y="80991"/>
                    <a:pt x="155504" y="87329"/>
                    <a:pt x="155504" y="94654"/>
                  </a:cubicBezTo>
                  <a:cubicBezTo>
                    <a:pt x="155504" y="96485"/>
                    <a:pt x="154835" y="98069"/>
                    <a:pt x="153497" y="99408"/>
                  </a:cubicBezTo>
                  <a:cubicBezTo>
                    <a:pt x="152158" y="100746"/>
                    <a:pt x="150574" y="101415"/>
                    <a:pt x="148744" y="101415"/>
                  </a:cubicBezTo>
                  <a:cubicBezTo>
                    <a:pt x="146911" y="101415"/>
                    <a:pt x="145327" y="100746"/>
                    <a:pt x="143989" y="99408"/>
                  </a:cubicBezTo>
                  <a:cubicBezTo>
                    <a:pt x="142651" y="98069"/>
                    <a:pt x="141982" y="96485"/>
                    <a:pt x="141982" y="94654"/>
                  </a:cubicBezTo>
                  <a:cubicBezTo>
                    <a:pt x="141982" y="88175"/>
                    <a:pt x="138179" y="83174"/>
                    <a:pt x="130573" y="79653"/>
                  </a:cubicBezTo>
                  <a:cubicBezTo>
                    <a:pt x="122967" y="76132"/>
                    <a:pt x="115501" y="74371"/>
                    <a:pt x="108177" y="74371"/>
                  </a:cubicBezTo>
                  <a:cubicBezTo>
                    <a:pt x="106345" y="74371"/>
                    <a:pt x="104760" y="73702"/>
                    <a:pt x="103422" y="72364"/>
                  </a:cubicBezTo>
                  <a:cubicBezTo>
                    <a:pt x="102084" y="71026"/>
                    <a:pt x="101415" y="69441"/>
                    <a:pt x="101415" y="67610"/>
                  </a:cubicBezTo>
                  <a:cubicBezTo>
                    <a:pt x="101415" y="65779"/>
                    <a:pt x="102084" y="64194"/>
                    <a:pt x="103422" y="62856"/>
                  </a:cubicBezTo>
                  <a:cubicBezTo>
                    <a:pt x="104760" y="61517"/>
                    <a:pt x="106345" y="60848"/>
                    <a:pt x="108177" y="60848"/>
                  </a:cubicBezTo>
                  <a:close/>
                  <a:moveTo>
                    <a:pt x="108177" y="27044"/>
                  </a:moveTo>
                  <a:cubicBezTo>
                    <a:pt x="98458" y="27044"/>
                    <a:pt x="88845" y="28629"/>
                    <a:pt x="79337" y="31797"/>
                  </a:cubicBezTo>
                  <a:cubicBezTo>
                    <a:pt x="69829" y="34967"/>
                    <a:pt x="61167" y="39333"/>
                    <a:pt x="53349" y="44897"/>
                  </a:cubicBezTo>
                  <a:cubicBezTo>
                    <a:pt x="45532" y="50461"/>
                    <a:pt x="39193" y="57609"/>
                    <a:pt x="34333" y="66343"/>
                  </a:cubicBezTo>
                  <a:cubicBezTo>
                    <a:pt x="29474" y="75076"/>
                    <a:pt x="27044" y="84513"/>
                    <a:pt x="27044" y="94655"/>
                  </a:cubicBezTo>
                  <a:cubicBezTo>
                    <a:pt x="27044" y="108881"/>
                    <a:pt x="31834" y="121558"/>
                    <a:pt x="41411" y="132686"/>
                  </a:cubicBezTo>
                  <a:cubicBezTo>
                    <a:pt x="42820" y="134235"/>
                    <a:pt x="44968" y="136559"/>
                    <a:pt x="47856" y="139658"/>
                  </a:cubicBezTo>
                  <a:cubicBezTo>
                    <a:pt x="50743" y="142757"/>
                    <a:pt x="52891" y="145081"/>
                    <a:pt x="54300" y="146630"/>
                  </a:cubicBezTo>
                  <a:cubicBezTo>
                    <a:pt x="72329" y="168181"/>
                    <a:pt x="82259" y="189169"/>
                    <a:pt x="84091" y="209593"/>
                  </a:cubicBezTo>
                  <a:lnTo>
                    <a:pt x="132263" y="209593"/>
                  </a:lnTo>
                  <a:cubicBezTo>
                    <a:pt x="134094" y="189169"/>
                    <a:pt x="144024" y="168181"/>
                    <a:pt x="162054" y="146630"/>
                  </a:cubicBezTo>
                  <a:cubicBezTo>
                    <a:pt x="163463" y="145081"/>
                    <a:pt x="165611" y="142757"/>
                    <a:pt x="168498" y="139658"/>
                  </a:cubicBezTo>
                  <a:cubicBezTo>
                    <a:pt x="171386" y="136559"/>
                    <a:pt x="173534" y="134235"/>
                    <a:pt x="174943" y="132686"/>
                  </a:cubicBezTo>
                  <a:cubicBezTo>
                    <a:pt x="184520" y="121558"/>
                    <a:pt x="189310" y="108881"/>
                    <a:pt x="189310" y="94655"/>
                  </a:cubicBezTo>
                  <a:cubicBezTo>
                    <a:pt x="189310" y="84513"/>
                    <a:pt x="186880" y="75076"/>
                    <a:pt x="182021" y="66343"/>
                  </a:cubicBezTo>
                  <a:cubicBezTo>
                    <a:pt x="177161" y="57609"/>
                    <a:pt x="170822" y="50461"/>
                    <a:pt x="163005" y="44897"/>
                  </a:cubicBezTo>
                  <a:cubicBezTo>
                    <a:pt x="155187" y="39333"/>
                    <a:pt x="146525" y="34967"/>
                    <a:pt x="137017" y="31797"/>
                  </a:cubicBezTo>
                  <a:cubicBezTo>
                    <a:pt x="127509" y="28629"/>
                    <a:pt x="117896" y="27044"/>
                    <a:pt x="108177" y="27044"/>
                  </a:cubicBezTo>
                  <a:close/>
                  <a:moveTo>
                    <a:pt x="108177" y="0"/>
                  </a:moveTo>
                  <a:cubicBezTo>
                    <a:pt x="121558" y="0"/>
                    <a:pt x="134693" y="2289"/>
                    <a:pt x="147581" y="6866"/>
                  </a:cubicBezTo>
                  <a:cubicBezTo>
                    <a:pt x="160469" y="11444"/>
                    <a:pt x="172019" y="17712"/>
                    <a:pt x="182231" y="25671"/>
                  </a:cubicBezTo>
                  <a:cubicBezTo>
                    <a:pt x="192443" y="33629"/>
                    <a:pt x="200684" y="43629"/>
                    <a:pt x="206952" y="55672"/>
                  </a:cubicBezTo>
                  <a:cubicBezTo>
                    <a:pt x="213220" y="67716"/>
                    <a:pt x="216354" y="80710"/>
                    <a:pt x="216354" y="94655"/>
                  </a:cubicBezTo>
                  <a:cubicBezTo>
                    <a:pt x="216354" y="116487"/>
                    <a:pt x="209099" y="135362"/>
                    <a:pt x="194592" y="151279"/>
                  </a:cubicBezTo>
                  <a:cubicBezTo>
                    <a:pt x="188253" y="158180"/>
                    <a:pt x="183006" y="164308"/>
                    <a:pt x="178851" y="169660"/>
                  </a:cubicBezTo>
                  <a:cubicBezTo>
                    <a:pt x="174696" y="175013"/>
                    <a:pt x="170506" y="181739"/>
                    <a:pt x="166280" y="189838"/>
                  </a:cubicBezTo>
                  <a:cubicBezTo>
                    <a:pt x="162054" y="197937"/>
                    <a:pt x="159659" y="205508"/>
                    <a:pt x="159096" y="212551"/>
                  </a:cubicBezTo>
                  <a:cubicBezTo>
                    <a:pt x="165716" y="216494"/>
                    <a:pt x="169027" y="222269"/>
                    <a:pt x="169027" y="229876"/>
                  </a:cubicBezTo>
                  <a:cubicBezTo>
                    <a:pt x="169027" y="235088"/>
                    <a:pt x="167266" y="239594"/>
                    <a:pt x="163745" y="243398"/>
                  </a:cubicBezTo>
                  <a:cubicBezTo>
                    <a:pt x="167266" y="247201"/>
                    <a:pt x="169027" y="251708"/>
                    <a:pt x="169027" y="256920"/>
                  </a:cubicBezTo>
                  <a:cubicBezTo>
                    <a:pt x="169027" y="264245"/>
                    <a:pt x="165857" y="269949"/>
                    <a:pt x="159519" y="274034"/>
                  </a:cubicBezTo>
                  <a:cubicBezTo>
                    <a:pt x="161350" y="277274"/>
                    <a:pt x="162266" y="280583"/>
                    <a:pt x="162266" y="283964"/>
                  </a:cubicBezTo>
                  <a:cubicBezTo>
                    <a:pt x="162266" y="290444"/>
                    <a:pt x="160047" y="295444"/>
                    <a:pt x="155610" y="298965"/>
                  </a:cubicBezTo>
                  <a:cubicBezTo>
                    <a:pt x="151173" y="302486"/>
                    <a:pt x="145715" y="304247"/>
                    <a:pt x="139235" y="304247"/>
                  </a:cubicBezTo>
                  <a:cubicBezTo>
                    <a:pt x="136418" y="310444"/>
                    <a:pt x="132193" y="315374"/>
                    <a:pt x="126559" y="319037"/>
                  </a:cubicBezTo>
                  <a:cubicBezTo>
                    <a:pt x="120924" y="322699"/>
                    <a:pt x="114797" y="324530"/>
                    <a:pt x="108177" y="324530"/>
                  </a:cubicBezTo>
                  <a:cubicBezTo>
                    <a:pt x="101557" y="324530"/>
                    <a:pt x="95429" y="322699"/>
                    <a:pt x="89795" y="319037"/>
                  </a:cubicBezTo>
                  <a:cubicBezTo>
                    <a:pt x="84161" y="315374"/>
                    <a:pt x="79935" y="310444"/>
                    <a:pt x="77119" y="304247"/>
                  </a:cubicBezTo>
                  <a:cubicBezTo>
                    <a:pt x="70639" y="304247"/>
                    <a:pt x="65181" y="302486"/>
                    <a:pt x="60744" y="298965"/>
                  </a:cubicBezTo>
                  <a:cubicBezTo>
                    <a:pt x="56307" y="295444"/>
                    <a:pt x="54088" y="290444"/>
                    <a:pt x="54088" y="283964"/>
                  </a:cubicBezTo>
                  <a:cubicBezTo>
                    <a:pt x="54088" y="280583"/>
                    <a:pt x="55004" y="277274"/>
                    <a:pt x="56835" y="274034"/>
                  </a:cubicBezTo>
                  <a:cubicBezTo>
                    <a:pt x="50497" y="269949"/>
                    <a:pt x="47327" y="264245"/>
                    <a:pt x="47327" y="256920"/>
                  </a:cubicBezTo>
                  <a:cubicBezTo>
                    <a:pt x="47327" y="251708"/>
                    <a:pt x="49088" y="247201"/>
                    <a:pt x="52609" y="243398"/>
                  </a:cubicBezTo>
                  <a:cubicBezTo>
                    <a:pt x="49088" y="239594"/>
                    <a:pt x="47327" y="235088"/>
                    <a:pt x="47327" y="229876"/>
                  </a:cubicBezTo>
                  <a:cubicBezTo>
                    <a:pt x="47327" y="222269"/>
                    <a:pt x="50638" y="216494"/>
                    <a:pt x="57258" y="212551"/>
                  </a:cubicBezTo>
                  <a:cubicBezTo>
                    <a:pt x="56694" y="205508"/>
                    <a:pt x="54300" y="197937"/>
                    <a:pt x="50074" y="189838"/>
                  </a:cubicBezTo>
                  <a:cubicBezTo>
                    <a:pt x="45848" y="181739"/>
                    <a:pt x="41658" y="175013"/>
                    <a:pt x="37503" y="169660"/>
                  </a:cubicBezTo>
                  <a:cubicBezTo>
                    <a:pt x="33347" y="164308"/>
                    <a:pt x="28100" y="158180"/>
                    <a:pt x="21762" y="151279"/>
                  </a:cubicBezTo>
                  <a:cubicBezTo>
                    <a:pt x="7254" y="135362"/>
                    <a:pt x="0" y="116487"/>
                    <a:pt x="0" y="94655"/>
                  </a:cubicBezTo>
                  <a:cubicBezTo>
                    <a:pt x="0" y="80710"/>
                    <a:pt x="3134" y="67716"/>
                    <a:pt x="9402" y="55672"/>
                  </a:cubicBezTo>
                  <a:cubicBezTo>
                    <a:pt x="15670" y="43629"/>
                    <a:pt x="23910" y="33629"/>
                    <a:pt x="34123" y="25671"/>
                  </a:cubicBezTo>
                  <a:cubicBezTo>
                    <a:pt x="44334" y="17712"/>
                    <a:pt x="55885" y="11444"/>
                    <a:pt x="68773" y="6866"/>
                  </a:cubicBezTo>
                  <a:cubicBezTo>
                    <a:pt x="81661" y="2289"/>
                    <a:pt x="94795" y="0"/>
                    <a:pt x="108177" y="0"/>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1" name="Rectángulo redondeado 21">
              <a:extLst>
                <a:ext uri="{FF2B5EF4-FFF2-40B4-BE49-F238E27FC236}">
                  <a16:creationId xmlns:a16="http://schemas.microsoft.com/office/drawing/2014/main" id="{CE9E0E4F-5001-E9D7-458D-6E67A69976DC}"/>
                </a:ext>
              </a:extLst>
            </p:cNvPr>
            <p:cNvSpPr/>
            <p:nvPr/>
          </p:nvSpPr>
          <p:spPr>
            <a:xfrm>
              <a:off x="3993516" y="4697680"/>
              <a:ext cx="540000" cy="540000"/>
            </a:xfrm>
            <a:prstGeom prst="roundRect">
              <a:avLst/>
            </a:prstGeom>
            <a:solidFill>
              <a:schemeClr val="bg1"/>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pic>
          <p:nvPicPr>
            <p:cNvPr id="122" name="Picture 2" descr="Resultado de imagen para pieza de rompecabezas png">
              <a:extLst>
                <a:ext uri="{FF2B5EF4-FFF2-40B4-BE49-F238E27FC236}">
                  <a16:creationId xmlns:a16="http://schemas.microsoft.com/office/drawing/2014/main" id="{8EE6CE94-AB85-ABBE-C847-F13F1E6A077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16795" y="4778269"/>
              <a:ext cx="360000" cy="360000"/>
            </a:xfrm>
            <a:prstGeom prst="rect">
              <a:avLst/>
            </a:prstGeom>
            <a:solidFill>
              <a:schemeClr val="bg1"/>
            </a:solidFill>
          </p:spPr>
        </p:pic>
        <p:sp>
          <p:nvSpPr>
            <p:cNvPr id="137" name="CuadroTexto 136">
              <a:extLst>
                <a:ext uri="{FF2B5EF4-FFF2-40B4-BE49-F238E27FC236}">
                  <a16:creationId xmlns:a16="http://schemas.microsoft.com/office/drawing/2014/main" id="{C17F5188-E35A-E094-FD50-D8492D883277}"/>
                </a:ext>
              </a:extLst>
            </p:cNvPr>
            <p:cNvSpPr txBox="1"/>
            <p:nvPr/>
          </p:nvSpPr>
          <p:spPr>
            <a:xfrm>
              <a:off x="6893582" y="4916485"/>
              <a:ext cx="1306255"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bg1"/>
                  </a:solidFill>
                  <a:effectLst/>
                  <a:uLnTx/>
                  <a:uFillTx/>
                  <a:latin typeface="Calibri" panose="020F0502020204030204"/>
                </a:rPr>
                <a:t>Palabras claves</a:t>
              </a:r>
              <a:endParaRPr kumimoji="0" lang="es-ES" sz="1400" b="0" i="0" u="none" strike="noStrike" kern="0" cap="none" spc="0" normalizeH="0" baseline="0" noProof="0">
                <a:ln>
                  <a:noFill/>
                </a:ln>
                <a:solidFill>
                  <a:schemeClr val="bg1"/>
                </a:solidFill>
                <a:effectLst/>
                <a:uLnTx/>
                <a:uFillTx/>
                <a:latin typeface="Calibri" panose="020F0502020204030204"/>
              </a:endParaRPr>
            </a:p>
          </p:txBody>
        </p:sp>
        <p:sp>
          <p:nvSpPr>
            <p:cNvPr id="138" name="Freeform 575">
              <a:extLst>
                <a:ext uri="{FF2B5EF4-FFF2-40B4-BE49-F238E27FC236}">
                  <a16:creationId xmlns:a16="http://schemas.microsoft.com/office/drawing/2014/main" id="{4E2CE982-3842-8885-EE45-8B8D1D102F89}"/>
                </a:ext>
              </a:extLst>
            </p:cNvPr>
            <p:cNvSpPr/>
            <p:nvPr/>
          </p:nvSpPr>
          <p:spPr>
            <a:xfrm>
              <a:off x="6410004" y="4889282"/>
              <a:ext cx="324000" cy="396000"/>
            </a:xfrm>
            <a:custGeom>
              <a:avLst/>
              <a:gdLst>
                <a:gd name="connsiteX0" fmla="*/ 291569 w 432707"/>
                <a:gd name="connsiteY0" fmla="*/ 212832 h 504825"/>
                <a:gd name="connsiteX1" fmla="*/ 297485 w 432707"/>
                <a:gd name="connsiteY1" fmla="*/ 216354 h 504825"/>
                <a:gd name="connsiteX2" fmla="*/ 361152 w 432707"/>
                <a:gd name="connsiteY2" fmla="*/ 301148 h 504825"/>
                <a:gd name="connsiteX3" fmla="*/ 361152 w 432707"/>
                <a:gd name="connsiteY3" fmla="*/ 311853 h 504825"/>
                <a:gd name="connsiteX4" fmla="*/ 297485 w 432707"/>
                <a:gd name="connsiteY4" fmla="*/ 396648 h 504825"/>
                <a:gd name="connsiteX5" fmla="*/ 291569 w 432707"/>
                <a:gd name="connsiteY5" fmla="*/ 400170 h 504825"/>
                <a:gd name="connsiteX6" fmla="*/ 284808 w 432707"/>
                <a:gd name="connsiteY6" fmla="*/ 398338 h 504825"/>
                <a:gd name="connsiteX7" fmla="*/ 270441 w 432707"/>
                <a:gd name="connsiteY7" fmla="*/ 387633 h 504825"/>
                <a:gd name="connsiteX8" fmla="*/ 266920 w 432707"/>
                <a:gd name="connsiteY8" fmla="*/ 381718 h 504825"/>
                <a:gd name="connsiteX9" fmla="*/ 268750 w 432707"/>
                <a:gd name="connsiteY9" fmla="*/ 374956 h 504825"/>
                <a:gd name="connsiteX10" fmla="*/ 320022 w 432707"/>
                <a:gd name="connsiteY10" fmla="*/ 306501 h 504825"/>
                <a:gd name="connsiteX11" fmla="*/ 268750 w 432707"/>
                <a:gd name="connsiteY11" fmla="*/ 238045 h 504825"/>
                <a:gd name="connsiteX12" fmla="*/ 266920 w 432707"/>
                <a:gd name="connsiteY12" fmla="*/ 231284 h 504825"/>
                <a:gd name="connsiteX13" fmla="*/ 270441 w 432707"/>
                <a:gd name="connsiteY13" fmla="*/ 225368 h 504825"/>
                <a:gd name="connsiteX14" fmla="*/ 284808 w 432707"/>
                <a:gd name="connsiteY14" fmla="*/ 214663 h 504825"/>
                <a:gd name="connsiteX15" fmla="*/ 291569 w 432707"/>
                <a:gd name="connsiteY15" fmla="*/ 212832 h 504825"/>
                <a:gd name="connsiteX16" fmla="*/ 141137 w 432707"/>
                <a:gd name="connsiteY16" fmla="*/ 212832 h 504825"/>
                <a:gd name="connsiteX17" fmla="*/ 147898 w 432707"/>
                <a:gd name="connsiteY17" fmla="*/ 214663 h 504825"/>
                <a:gd name="connsiteX18" fmla="*/ 162265 w 432707"/>
                <a:gd name="connsiteY18" fmla="*/ 225368 h 504825"/>
                <a:gd name="connsiteX19" fmla="*/ 165787 w 432707"/>
                <a:gd name="connsiteY19" fmla="*/ 231284 h 504825"/>
                <a:gd name="connsiteX20" fmla="*/ 163955 w 432707"/>
                <a:gd name="connsiteY20" fmla="*/ 238045 h 504825"/>
                <a:gd name="connsiteX21" fmla="*/ 112684 w 432707"/>
                <a:gd name="connsiteY21" fmla="*/ 306501 h 504825"/>
                <a:gd name="connsiteX22" fmla="*/ 163955 w 432707"/>
                <a:gd name="connsiteY22" fmla="*/ 374956 h 504825"/>
                <a:gd name="connsiteX23" fmla="*/ 165787 w 432707"/>
                <a:gd name="connsiteY23" fmla="*/ 381718 h 504825"/>
                <a:gd name="connsiteX24" fmla="*/ 162265 w 432707"/>
                <a:gd name="connsiteY24" fmla="*/ 387633 h 504825"/>
                <a:gd name="connsiteX25" fmla="*/ 147898 w 432707"/>
                <a:gd name="connsiteY25" fmla="*/ 398338 h 504825"/>
                <a:gd name="connsiteX26" fmla="*/ 141137 w 432707"/>
                <a:gd name="connsiteY26" fmla="*/ 400170 h 504825"/>
                <a:gd name="connsiteX27" fmla="*/ 135221 w 432707"/>
                <a:gd name="connsiteY27" fmla="*/ 396648 h 504825"/>
                <a:gd name="connsiteX28" fmla="*/ 71554 w 432707"/>
                <a:gd name="connsiteY28" fmla="*/ 311853 h 504825"/>
                <a:gd name="connsiteX29" fmla="*/ 71554 w 432707"/>
                <a:gd name="connsiteY29" fmla="*/ 301148 h 504825"/>
                <a:gd name="connsiteX30" fmla="*/ 135221 w 432707"/>
                <a:gd name="connsiteY30" fmla="*/ 216354 h 504825"/>
                <a:gd name="connsiteX31" fmla="*/ 141137 w 432707"/>
                <a:gd name="connsiteY31" fmla="*/ 212832 h 504825"/>
                <a:gd name="connsiteX32" fmla="*/ 228467 w 432707"/>
                <a:gd name="connsiteY32" fmla="*/ 179168 h 504825"/>
                <a:gd name="connsiteX33" fmla="*/ 246215 w 432707"/>
                <a:gd name="connsiteY33" fmla="*/ 181985 h 504825"/>
                <a:gd name="connsiteX34" fmla="*/ 251990 w 432707"/>
                <a:gd name="connsiteY34" fmla="*/ 185647 h 504825"/>
                <a:gd name="connsiteX35" fmla="*/ 253540 w 432707"/>
                <a:gd name="connsiteY35" fmla="*/ 192408 h 504825"/>
                <a:gd name="connsiteX36" fmla="*/ 214663 w 432707"/>
                <a:gd name="connsiteY36" fmla="*/ 426510 h 504825"/>
                <a:gd name="connsiteX37" fmla="*/ 211001 w 432707"/>
                <a:gd name="connsiteY37" fmla="*/ 432285 h 504825"/>
                <a:gd name="connsiteX38" fmla="*/ 204240 w 432707"/>
                <a:gd name="connsiteY38" fmla="*/ 433834 h 504825"/>
                <a:gd name="connsiteX39" fmla="*/ 186492 w 432707"/>
                <a:gd name="connsiteY39" fmla="*/ 431017 h 504825"/>
                <a:gd name="connsiteX40" fmla="*/ 180717 w 432707"/>
                <a:gd name="connsiteY40" fmla="*/ 427355 h 504825"/>
                <a:gd name="connsiteX41" fmla="*/ 179168 w 432707"/>
                <a:gd name="connsiteY41" fmla="*/ 420594 h 504825"/>
                <a:gd name="connsiteX42" fmla="*/ 218044 w 432707"/>
                <a:gd name="connsiteY42" fmla="*/ 186492 h 504825"/>
                <a:gd name="connsiteX43" fmla="*/ 221706 w 432707"/>
                <a:gd name="connsiteY43" fmla="*/ 180717 h 504825"/>
                <a:gd name="connsiteX44" fmla="*/ 228467 w 432707"/>
                <a:gd name="connsiteY44" fmla="*/ 179168 h 504825"/>
                <a:gd name="connsiteX45" fmla="*/ 288471 w 432707"/>
                <a:gd name="connsiteY45" fmla="*/ 38313 h 504825"/>
                <a:gd name="connsiteX46" fmla="*/ 288471 w 432707"/>
                <a:gd name="connsiteY46" fmla="*/ 144236 h 504825"/>
                <a:gd name="connsiteX47" fmla="*/ 394394 w 432707"/>
                <a:gd name="connsiteY47" fmla="*/ 144236 h 504825"/>
                <a:gd name="connsiteX48" fmla="*/ 388197 w 432707"/>
                <a:gd name="connsiteY48" fmla="*/ 132686 h 504825"/>
                <a:gd name="connsiteX49" fmla="*/ 300022 w 432707"/>
                <a:gd name="connsiteY49" fmla="*/ 44510 h 504825"/>
                <a:gd name="connsiteX50" fmla="*/ 288471 w 432707"/>
                <a:gd name="connsiteY50" fmla="*/ 38313 h 504825"/>
                <a:gd name="connsiteX51" fmla="*/ 36059 w 432707"/>
                <a:gd name="connsiteY51" fmla="*/ 36059 h 504825"/>
                <a:gd name="connsiteX52" fmla="*/ 36059 w 432707"/>
                <a:gd name="connsiteY52" fmla="*/ 468766 h 504825"/>
                <a:gd name="connsiteX53" fmla="*/ 396648 w 432707"/>
                <a:gd name="connsiteY53" fmla="*/ 468766 h 504825"/>
                <a:gd name="connsiteX54" fmla="*/ 396648 w 432707"/>
                <a:gd name="connsiteY54" fmla="*/ 180295 h 504825"/>
                <a:gd name="connsiteX55" fmla="*/ 279457 w 432707"/>
                <a:gd name="connsiteY55" fmla="*/ 180295 h 504825"/>
                <a:gd name="connsiteX56" fmla="*/ 260300 w 432707"/>
                <a:gd name="connsiteY56" fmla="*/ 172407 h 504825"/>
                <a:gd name="connsiteX57" fmla="*/ 252412 w 432707"/>
                <a:gd name="connsiteY57" fmla="*/ 153250 h 504825"/>
                <a:gd name="connsiteX58" fmla="*/ 252412 w 432707"/>
                <a:gd name="connsiteY58" fmla="*/ 36059 h 504825"/>
                <a:gd name="connsiteX59" fmla="*/ 27044 w 432707"/>
                <a:gd name="connsiteY59" fmla="*/ 0 h 504825"/>
                <a:gd name="connsiteX60" fmla="*/ 279457 w 432707"/>
                <a:gd name="connsiteY60" fmla="*/ 0 h 504825"/>
                <a:gd name="connsiteX61" fmla="*/ 304247 w 432707"/>
                <a:gd name="connsiteY61" fmla="*/ 5634 h 504825"/>
                <a:gd name="connsiteX62" fmla="*/ 325657 w 432707"/>
                <a:gd name="connsiteY62" fmla="*/ 19156 h 504825"/>
                <a:gd name="connsiteX63" fmla="*/ 413551 w 432707"/>
                <a:gd name="connsiteY63" fmla="*/ 107050 h 504825"/>
                <a:gd name="connsiteX64" fmla="*/ 427073 w 432707"/>
                <a:gd name="connsiteY64" fmla="*/ 128460 h 504825"/>
                <a:gd name="connsiteX65" fmla="*/ 432707 w 432707"/>
                <a:gd name="connsiteY65" fmla="*/ 153250 h 504825"/>
                <a:gd name="connsiteX66" fmla="*/ 432707 w 432707"/>
                <a:gd name="connsiteY66" fmla="*/ 477781 h 504825"/>
                <a:gd name="connsiteX67" fmla="*/ 424819 w 432707"/>
                <a:gd name="connsiteY67" fmla="*/ 496937 h 504825"/>
                <a:gd name="connsiteX68" fmla="*/ 405663 w 432707"/>
                <a:gd name="connsiteY68" fmla="*/ 504825 h 504825"/>
                <a:gd name="connsiteX69" fmla="*/ 27044 w 432707"/>
                <a:gd name="connsiteY69" fmla="*/ 504825 h 504825"/>
                <a:gd name="connsiteX70" fmla="*/ 7888 w 432707"/>
                <a:gd name="connsiteY70" fmla="*/ 496937 h 504825"/>
                <a:gd name="connsiteX71" fmla="*/ 0 w 432707"/>
                <a:gd name="connsiteY71" fmla="*/ 477781 h 504825"/>
                <a:gd name="connsiteX72" fmla="*/ 0 w 432707"/>
                <a:gd name="connsiteY72" fmla="*/ 27044 h 504825"/>
                <a:gd name="connsiteX73" fmla="*/ 7888 w 432707"/>
                <a:gd name="connsiteY73" fmla="*/ 7888 h 504825"/>
                <a:gd name="connsiteX74" fmla="*/ 27044 w 432707"/>
                <a:gd name="connsiteY74" fmla="*/ 0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32707" h="504825">
                  <a:moveTo>
                    <a:pt x="291569" y="212832"/>
                  </a:moveTo>
                  <a:cubicBezTo>
                    <a:pt x="294010" y="213114"/>
                    <a:pt x="295982" y="214288"/>
                    <a:pt x="297485" y="216354"/>
                  </a:cubicBezTo>
                  <a:lnTo>
                    <a:pt x="361152" y="301148"/>
                  </a:lnTo>
                  <a:cubicBezTo>
                    <a:pt x="363781" y="304717"/>
                    <a:pt x="363781" y="308285"/>
                    <a:pt x="361152" y="311853"/>
                  </a:cubicBezTo>
                  <a:lnTo>
                    <a:pt x="297485" y="396648"/>
                  </a:lnTo>
                  <a:cubicBezTo>
                    <a:pt x="295982" y="398714"/>
                    <a:pt x="294010" y="399888"/>
                    <a:pt x="291569" y="400170"/>
                  </a:cubicBezTo>
                  <a:cubicBezTo>
                    <a:pt x="289128" y="400451"/>
                    <a:pt x="286874" y="399841"/>
                    <a:pt x="284808" y="398338"/>
                  </a:cubicBezTo>
                  <a:lnTo>
                    <a:pt x="270441" y="387633"/>
                  </a:lnTo>
                  <a:cubicBezTo>
                    <a:pt x="268375" y="386131"/>
                    <a:pt x="267201" y="384159"/>
                    <a:pt x="266920" y="381718"/>
                  </a:cubicBezTo>
                  <a:cubicBezTo>
                    <a:pt x="266638" y="379276"/>
                    <a:pt x="267248" y="377022"/>
                    <a:pt x="268750" y="374956"/>
                  </a:cubicBezTo>
                  <a:lnTo>
                    <a:pt x="320022" y="306501"/>
                  </a:lnTo>
                  <a:lnTo>
                    <a:pt x="268750" y="238045"/>
                  </a:lnTo>
                  <a:cubicBezTo>
                    <a:pt x="267248" y="235979"/>
                    <a:pt x="266638" y="233726"/>
                    <a:pt x="266920" y="231284"/>
                  </a:cubicBezTo>
                  <a:cubicBezTo>
                    <a:pt x="267201" y="228843"/>
                    <a:pt x="268375" y="226871"/>
                    <a:pt x="270441" y="225368"/>
                  </a:cubicBezTo>
                  <a:lnTo>
                    <a:pt x="284808" y="214663"/>
                  </a:lnTo>
                  <a:cubicBezTo>
                    <a:pt x="286874" y="213161"/>
                    <a:pt x="289128" y="212551"/>
                    <a:pt x="291569" y="212832"/>
                  </a:cubicBezTo>
                  <a:close/>
                  <a:moveTo>
                    <a:pt x="141137" y="212832"/>
                  </a:moveTo>
                  <a:cubicBezTo>
                    <a:pt x="143578" y="212551"/>
                    <a:pt x="145832" y="213161"/>
                    <a:pt x="147898" y="214663"/>
                  </a:cubicBezTo>
                  <a:lnTo>
                    <a:pt x="162265" y="225368"/>
                  </a:lnTo>
                  <a:cubicBezTo>
                    <a:pt x="164330" y="226871"/>
                    <a:pt x="165505" y="228843"/>
                    <a:pt x="165787" y="231284"/>
                  </a:cubicBezTo>
                  <a:cubicBezTo>
                    <a:pt x="166068" y="233726"/>
                    <a:pt x="165458" y="235979"/>
                    <a:pt x="163955" y="238045"/>
                  </a:cubicBezTo>
                  <a:lnTo>
                    <a:pt x="112684" y="306501"/>
                  </a:lnTo>
                  <a:lnTo>
                    <a:pt x="163955" y="374956"/>
                  </a:lnTo>
                  <a:cubicBezTo>
                    <a:pt x="165458" y="377022"/>
                    <a:pt x="166068" y="379276"/>
                    <a:pt x="165787" y="381718"/>
                  </a:cubicBezTo>
                  <a:cubicBezTo>
                    <a:pt x="165505" y="384159"/>
                    <a:pt x="164330" y="386131"/>
                    <a:pt x="162265" y="387633"/>
                  </a:cubicBezTo>
                  <a:lnTo>
                    <a:pt x="147898" y="398338"/>
                  </a:lnTo>
                  <a:cubicBezTo>
                    <a:pt x="145832" y="399841"/>
                    <a:pt x="143578" y="400451"/>
                    <a:pt x="141137" y="400170"/>
                  </a:cubicBezTo>
                  <a:cubicBezTo>
                    <a:pt x="138695" y="399888"/>
                    <a:pt x="136723" y="398714"/>
                    <a:pt x="135221" y="396648"/>
                  </a:cubicBezTo>
                  <a:lnTo>
                    <a:pt x="71554" y="311853"/>
                  </a:lnTo>
                  <a:cubicBezTo>
                    <a:pt x="68925" y="308285"/>
                    <a:pt x="68925" y="304717"/>
                    <a:pt x="71554" y="301148"/>
                  </a:cubicBezTo>
                  <a:lnTo>
                    <a:pt x="135221" y="216354"/>
                  </a:lnTo>
                  <a:cubicBezTo>
                    <a:pt x="136723" y="214288"/>
                    <a:pt x="138695" y="213114"/>
                    <a:pt x="141137" y="212832"/>
                  </a:cubicBezTo>
                  <a:close/>
                  <a:moveTo>
                    <a:pt x="228467" y="179168"/>
                  </a:moveTo>
                  <a:lnTo>
                    <a:pt x="246215" y="181985"/>
                  </a:lnTo>
                  <a:cubicBezTo>
                    <a:pt x="248656" y="182361"/>
                    <a:pt x="250582" y="183581"/>
                    <a:pt x="251990" y="185647"/>
                  </a:cubicBezTo>
                  <a:cubicBezTo>
                    <a:pt x="253398" y="187713"/>
                    <a:pt x="253915" y="189967"/>
                    <a:pt x="253540" y="192408"/>
                  </a:cubicBezTo>
                  <a:lnTo>
                    <a:pt x="214663" y="426510"/>
                  </a:lnTo>
                  <a:cubicBezTo>
                    <a:pt x="214287" y="428951"/>
                    <a:pt x="213066" y="430876"/>
                    <a:pt x="211001" y="432285"/>
                  </a:cubicBezTo>
                  <a:cubicBezTo>
                    <a:pt x="208935" y="433693"/>
                    <a:pt x="206681" y="434210"/>
                    <a:pt x="204240" y="433834"/>
                  </a:cubicBezTo>
                  <a:lnTo>
                    <a:pt x="186492" y="431017"/>
                  </a:lnTo>
                  <a:cubicBezTo>
                    <a:pt x="184050" y="430641"/>
                    <a:pt x="182126" y="429420"/>
                    <a:pt x="180717" y="427355"/>
                  </a:cubicBezTo>
                  <a:cubicBezTo>
                    <a:pt x="179309" y="425289"/>
                    <a:pt x="178792" y="423035"/>
                    <a:pt x="179168" y="420594"/>
                  </a:cubicBezTo>
                  <a:lnTo>
                    <a:pt x="218044" y="186492"/>
                  </a:lnTo>
                  <a:cubicBezTo>
                    <a:pt x="218419" y="184051"/>
                    <a:pt x="219640" y="182126"/>
                    <a:pt x="221706" y="180717"/>
                  </a:cubicBezTo>
                  <a:cubicBezTo>
                    <a:pt x="223772" y="179309"/>
                    <a:pt x="226026" y="178792"/>
                    <a:pt x="228467" y="179168"/>
                  </a:cubicBezTo>
                  <a:close/>
                  <a:moveTo>
                    <a:pt x="288471" y="38313"/>
                  </a:moveTo>
                  <a:lnTo>
                    <a:pt x="288471" y="144236"/>
                  </a:lnTo>
                  <a:lnTo>
                    <a:pt x="394394" y="144236"/>
                  </a:lnTo>
                  <a:cubicBezTo>
                    <a:pt x="392516" y="138789"/>
                    <a:pt x="390450" y="134939"/>
                    <a:pt x="388197" y="132686"/>
                  </a:cubicBezTo>
                  <a:lnTo>
                    <a:pt x="300022" y="44510"/>
                  </a:lnTo>
                  <a:cubicBezTo>
                    <a:pt x="297768" y="42257"/>
                    <a:pt x="293917" y="40191"/>
                    <a:pt x="288471" y="38313"/>
                  </a:cubicBezTo>
                  <a:close/>
                  <a:moveTo>
                    <a:pt x="36059" y="36059"/>
                  </a:moveTo>
                  <a:lnTo>
                    <a:pt x="36059" y="468766"/>
                  </a:lnTo>
                  <a:lnTo>
                    <a:pt x="396648" y="468766"/>
                  </a:lnTo>
                  <a:lnTo>
                    <a:pt x="396648" y="180295"/>
                  </a:lnTo>
                  <a:lnTo>
                    <a:pt x="279457" y="180295"/>
                  </a:lnTo>
                  <a:cubicBezTo>
                    <a:pt x="271944" y="180295"/>
                    <a:pt x="265559" y="177665"/>
                    <a:pt x="260300" y="172407"/>
                  </a:cubicBezTo>
                  <a:cubicBezTo>
                    <a:pt x="255041" y="167148"/>
                    <a:pt x="252412" y="160763"/>
                    <a:pt x="252412" y="153250"/>
                  </a:cubicBezTo>
                  <a:lnTo>
                    <a:pt x="252412" y="36059"/>
                  </a:lnTo>
                  <a:close/>
                  <a:moveTo>
                    <a:pt x="27044" y="0"/>
                  </a:moveTo>
                  <a:lnTo>
                    <a:pt x="279457" y="0"/>
                  </a:lnTo>
                  <a:cubicBezTo>
                    <a:pt x="286969" y="0"/>
                    <a:pt x="295232" y="1878"/>
                    <a:pt x="304247" y="5634"/>
                  </a:cubicBezTo>
                  <a:cubicBezTo>
                    <a:pt x="313262" y="9390"/>
                    <a:pt x="320398" y="13898"/>
                    <a:pt x="325657" y="19156"/>
                  </a:cubicBezTo>
                  <a:lnTo>
                    <a:pt x="413551" y="107050"/>
                  </a:lnTo>
                  <a:cubicBezTo>
                    <a:pt x="418809" y="112309"/>
                    <a:pt x="423316" y="119445"/>
                    <a:pt x="427073" y="128460"/>
                  </a:cubicBezTo>
                  <a:cubicBezTo>
                    <a:pt x="430829" y="137475"/>
                    <a:pt x="432707" y="145738"/>
                    <a:pt x="432707" y="153250"/>
                  </a:cubicBezTo>
                  <a:lnTo>
                    <a:pt x="432707" y="477781"/>
                  </a:lnTo>
                  <a:cubicBezTo>
                    <a:pt x="432707" y="485293"/>
                    <a:pt x="430077" y="491678"/>
                    <a:pt x="424819" y="496937"/>
                  </a:cubicBezTo>
                  <a:cubicBezTo>
                    <a:pt x="419560" y="502196"/>
                    <a:pt x="413175" y="504825"/>
                    <a:pt x="405663" y="504825"/>
                  </a:cubicBezTo>
                  <a:lnTo>
                    <a:pt x="27044" y="504825"/>
                  </a:lnTo>
                  <a:cubicBezTo>
                    <a:pt x="19532" y="504825"/>
                    <a:pt x="13146" y="502196"/>
                    <a:pt x="7888" y="496937"/>
                  </a:cubicBezTo>
                  <a:cubicBezTo>
                    <a:pt x="2629" y="491678"/>
                    <a:pt x="0" y="485293"/>
                    <a:pt x="0" y="477781"/>
                  </a:cubicBezTo>
                  <a:lnTo>
                    <a:pt x="0" y="27044"/>
                  </a:lnTo>
                  <a:cubicBezTo>
                    <a:pt x="0" y="19532"/>
                    <a:pt x="2629" y="13146"/>
                    <a:pt x="7888" y="7888"/>
                  </a:cubicBezTo>
                  <a:cubicBezTo>
                    <a:pt x="13146" y="2629"/>
                    <a:pt x="19532" y="0"/>
                    <a:pt x="27044" y="0"/>
                  </a:cubicBezTo>
                  <a:close/>
                </a:path>
              </a:pathLst>
            </a:custGeom>
            <a:solidFill>
              <a:schemeClr val="bg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CuadroTexto 139">
              <a:extLst>
                <a:ext uri="{FF2B5EF4-FFF2-40B4-BE49-F238E27FC236}">
                  <a16:creationId xmlns:a16="http://schemas.microsoft.com/office/drawing/2014/main" id="{A325234C-27E4-D80B-BCB4-04AD51A032BC}"/>
                </a:ext>
              </a:extLst>
            </p:cNvPr>
            <p:cNvSpPr txBox="1"/>
            <p:nvPr/>
          </p:nvSpPr>
          <p:spPr>
            <a:xfrm>
              <a:off x="6890421" y="5669021"/>
              <a:ext cx="1499653"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bg1"/>
                  </a:solidFill>
                  <a:effectLst/>
                  <a:uLnTx/>
                  <a:uFillTx/>
                  <a:latin typeface="Calibri" panose="020F0502020204030204"/>
                </a:rPr>
                <a:t>Datos de Pruebas</a:t>
              </a:r>
              <a:endParaRPr kumimoji="0" lang="es-ES" sz="1400" b="0" i="0" u="none" strike="noStrike" kern="0" cap="none" spc="0" normalizeH="0" baseline="0" noProof="0">
                <a:ln>
                  <a:noFill/>
                </a:ln>
                <a:solidFill>
                  <a:schemeClr val="bg1"/>
                </a:solidFill>
                <a:effectLst/>
                <a:uLnTx/>
                <a:uFillTx/>
                <a:latin typeface="Calibri" panose="020F0502020204030204"/>
              </a:endParaRPr>
            </a:p>
          </p:txBody>
        </p:sp>
        <p:sp>
          <p:nvSpPr>
            <p:cNvPr id="142" name="Freeform 428">
              <a:extLst>
                <a:ext uri="{FF2B5EF4-FFF2-40B4-BE49-F238E27FC236}">
                  <a16:creationId xmlns:a16="http://schemas.microsoft.com/office/drawing/2014/main" id="{25E5DB12-227F-87D3-1853-CC6904B702B7}"/>
                </a:ext>
              </a:extLst>
            </p:cNvPr>
            <p:cNvSpPr/>
            <p:nvPr/>
          </p:nvSpPr>
          <p:spPr>
            <a:xfrm>
              <a:off x="6417766" y="5663360"/>
              <a:ext cx="391169" cy="360000"/>
            </a:xfrm>
            <a:custGeom>
              <a:avLst/>
              <a:gdLst>
                <a:gd name="connsiteX0" fmla="*/ 153250 w 504825"/>
                <a:gd name="connsiteY0" fmla="*/ 306500 h 396649"/>
                <a:gd name="connsiteX1" fmla="*/ 495810 w 504825"/>
                <a:gd name="connsiteY1" fmla="*/ 306500 h 396649"/>
                <a:gd name="connsiteX2" fmla="*/ 502149 w 504825"/>
                <a:gd name="connsiteY2" fmla="*/ 309176 h 396649"/>
                <a:gd name="connsiteX3" fmla="*/ 504825 w 504825"/>
                <a:gd name="connsiteY3" fmla="*/ 315515 h 396649"/>
                <a:gd name="connsiteX4" fmla="*/ 504825 w 504825"/>
                <a:gd name="connsiteY4" fmla="*/ 369603 h 396649"/>
                <a:gd name="connsiteX5" fmla="*/ 502149 w 504825"/>
                <a:gd name="connsiteY5" fmla="*/ 375942 h 396649"/>
                <a:gd name="connsiteX6" fmla="*/ 495810 w 504825"/>
                <a:gd name="connsiteY6" fmla="*/ 378618 h 396649"/>
                <a:gd name="connsiteX7" fmla="*/ 153250 w 504825"/>
                <a:gd name="connsiteY7" fmla="*/ 378618 h 396649"/>
                <a:gd name="connsiteX8" fmla="*/ 146912 w 504825"/>
                <a:gd name="connsiteY8" fmla="*/ 375942 h 396649"/>
                <a:gd name="connsiteX9" fmla="*/ 144236 w 504825"/>
                <a:gd name="connsiteY9" fmla="*/ 369603 h 396649"/>
                <a:gd name="connsiteX10" fmla="*/ 144236 w 504825"/>
                <a:gd name="connsiteY10" fmla="*/ 315515 h 396649"/>
                <a:gd name="connsiteX11" fmla="*/ 146912 w 504825"/>
                <a:gd name="connsiteY11" fmla="*/ 309176 h 396649"/>
                <a:gd name="connsiteX12" fmla="*/ 153250 w 504825"/>
                <a:gd name="connsiteY12" fmla="*/ 306500 h 396649"/>
                <a:gd name="connsiteX13" fmla="*/ 54088 w 504825"/>
                <a:gd name="connsiteY13" fmla="*/ 288472 h 396649"/>
                <a:gd name="connsiteX14" fmla="*/ 92401 w 504825"/>
                <a:gd name="connsiteY14" fmla="*/ 304248 h 396649"/>
                <a:gd name="connsiteX15" fmla="*/ 108177 w 504825"/>
                <a:gd name="connsiteY15" fmla="*/ 342560 h 396649"/>
                <a:gd name="connsiteX16" fmla="*/ 92401 w 504825"/>
                <a:gd name="connsiteY16" fmla="*/ 380873 h 396649"/>
                <a:gd name="connsiteX17" fmla="*/ 54088 w 504825"/>
                <a:gd name="connsiteY17" fmla="*/ 396649 h 396649"/>
                <a:gd name="connsiteX18" fmla="*/ 15776 w 504825"/>
                <a:gd name="connsiteY18" fmla="*/ 380873 h 396649"/>
                <a:gd name="connsiteX19" fmla="*/ 0 w 504825"/>
                <a:gd name="connsiteY19" fmla="*/ 342560 h 396649"/>
                <a:gd name="connsiteX20" fmla="*/ 15776 w 504825"/>
                <a:gd name="connsiteY20" fmla="*/ 304248 h 396649"/>
                <a:gd name="connsiteX21" fmla="*/ 54088 w 504825"/>
                <a:gd name="connsiteY21" fmla="*/ 288472 h 396649"/>
                <a:gd name="connsiteX22" fmla="*/ 153250 w 504825"/>
                <a:gd name="connsiteY22" fmla="*/ 162266 h 396649"/>
                <a:gd name="connsiteX23" fmla="*/ 495810 w 504825"/>
                <a:gd name="connsiteY23" fmla="*/ 162266 h 396649"/>
                <a:gd name="connsiteX24" fmla="*/ 502149 w 504825"/>
                <a:gd name="connsiteY24" fmla="*/ 164942 h 396649"/>
                <a:gd name="connsiteX25" fmla="*/ 504825 w 504825"/>
                <a:gd name="connsiteY25" fmla="*/ 171280 h 396649"/>
                <a:gd name="connsiteX26" fmla="*/ 504825 w 504825"/>
                <a:gd name="connsiteY26" fmla="*/ 225369 h 396649"/>
                <a:gd name="connsiteX27" fmla="*/ 502149 w 504825"/>
                <a:gd name="connsiteY27" fmla="*/ 231707 h 396649"/>
                <a:gd name="connsiteX28" fmla="*/ 495810 w 504825"/>
                <a:gd name="connsiteY28" fmla="*/ 234383 h 396649"/>
                <a:gd name="connsiteX29" fmla="*/ 153250 w 504825"/>
                <a:gd name="connsiteY29" fmla="*/ 234383 h 396649"/>
                <a:gd name="connsiteX30" fmla="*/ 146912 w 504825"/>
                <a:gd name="connsiteY30" fmla="*/ 231707 h 396649"/>
                <a:gd name="connsiteX31" fmla="*/ 144236 w 504825"/>
                <a:gd name="connsiteY31" fmla="*/ 225369 h 396649"/>
                <a:gd name="connsiteX32" fmla="*/ 144236 w 504825"/>
                <a:gd name="connsiteY32" fmla="*/ 171280 h 396649"/>
                <a:gd name="connsiteX33" fmla="*/ 146912 w 504825"/>
                <a:gd name="connsiteY33" fmla="*/ 164942 h 396649"/>
                <a:gd name="connsiteX34" fmla="*/ 153250 w 504825"/>
                <a:gd name="connsiteY34" fmla="*/ 162266 h 396649"/>
                <a:gd name="connsiteX35" fmla="*/ 54088 w 504825"/>
                <a:gd name="connsiteY35" fmla="*/ 144236 h 396649"/>
                <a:gd name="connsiteX36" fmla="*/ 92401 w 504825"/>
                <a:gd name="connsiteY36" fmla="*/ 160012 h 396649"/>
                <a:gd name="connsiteX37" fmla="*/ 108177 w 504825"/>
                <a:gd name="connsiteY37" fmla="*/ 198324 h 396649"/>
                <a:gd name="connsiteX38" fmla="*/ 92401 w 504825"/>
                <a:gd name="connsiteY38" fmla="*/ 236637 h 396649"/>
                <a:gd name="connsiteX39" fmla="*/ 54088 w 504825"/>
                <a:gd name="connsiteY39" fmla="*/ 252413 h 396649"/>
                <a:gd name="connsiteX40" fmla="*/ 15776 w 504825"/>
                <a:gd name="connsiteY40" fmla="*/ 236637 h 396649"/>
                <a:gd name="connsiteX41" fmla="*/ 0 w 504825"/>
                <a:gd name="connsiteY41" fmla="*/ 198324 h 396649"/>
                <a:gd name="connsiteX42" fmla="*/ 15776 w 504825"/>
                <a:gd name="connsiteY42" fmla="*/ 160012 h 396649"/>
                <a:gd name="connsiteX43" fmla="*/ 54088 w 504825"/>
                <a:gd name="connsiteY43" fmla="*/ 144236 h 396649"/>
                <a:gd name="connsiteX44" fmla="*/ 153250 w 504825"/>
                <a:gd name="connsiteY44" fmla="*/ 18029 h 396649"/>
                <a:gd name="connsiteX45" fmla="*/ 495810 w 504825"/>
                <a:gd name="connsiteY45" fmla="*/ 18029 h 396649"/>
                <a:gd name="connsiteX46" fmla="*/ 502149 w 504825"/>
                <a:gd name="connsiteY46" fmla="*/ 20705 h 396649"/>
                <a:gd name="connsiteX47" fmla="*/ 504825 w 504825"/>
                <a:gd name="connsiteY47" fmla="*/ 27044 h 396649"/>
                <a:gd name="connsiteX48" fmla="*/ 504825 w 504825"/>
                <a:gd name="connsiteY48" fmla="*/ 81132 h 396649"/>
                <a:gd name="connsiteX49" fmla="*/ 502149 w 504825"/>
                <a:gd name="connsiteY49" fmla="*/ 87471 h 396649"/>
                <a:gd name="connsiteX50" fmla="*/ 495810 w 504825"/>
                <a:gd name="connsiteY50" fmla="*/ 90147 h 396649"/>
                <a:gd name="connsiteX51" fmla="*/ 153250 w 504825"/>
                <a:gd name="connsiteY51" fmla="*/ 90147 h 396649"/>
                <a:gd name="connsiteX52" fmla="*/ 146912 w 504825"/>
                <a:gd name="connsiteY52" fmla="*/ 87471 h 396649"/>
                <a:gd name="connsiteX53" fmla="*/ 144236 w 504825"/>
                <a:gd name="connsiteY53" fmla="*/ 81132 h 396649"/>
                <a:gd name="connsiteX54" fmla="*/ 144236 w 504825"/>
                <a:gd name="connsiteY54" fmla="*/ 27044 h 396649"/>
                <a:gd name="connsiteX55" fmla="*/ 146912 w 504825"/>
                <a:gd name="connsiteY55" fmla="*/ 20705 h 396649"/>
                <a:gd name="connsiteX56" fmla="*/ 153250 w 504825"/>
                <a:gd name="connsiteY56" fmla="*/ 18029 h 396649"/>
                <a:gd name="connsiteX57" fmla="*/ 54088 w 504825"/>
                <a:gd name="connsiteY57" fmla="*/ 0 h 396649"/>
                <a:gd name="connsiteX58" fmla="*/ 92401 w 504825"/>
                <a:gd name="connsiteY58" fmla="*/ 15776 h 396649"/>
                <a:gd name="connsiteX59" fmla="*/ 108177 w 504825"/>
                <a:gd name="connsiteY59" fmla="*/ 54089 h 396649"/>
                <a:gd name="connsiteX60" fmla="*/ 92401 w 504825"/>
                <a:gd name="connsiteY60" fmla="*/ 92401 h 396649"/>
                <a:gd name="connsiteX61" fmla="*/ 54088 w 504825"/>
                <a:gd name="connsiteY61" fmla="*/ 108177 h 396649"/>
                <a:gd name="connsiteX62" fmla="*/ 15776 w 504825"/>
                <a:gd name="connsiteY62" fmla="*/ 92401 h 396649"/>
                <a:gd name="connsiteX63" fmla="*/ 0 w 504825"/>
                <a:gd name="connsiteY63" fmla="*/ 54089 h 396649"/>
                <a:gd name="connsiteX64" fmla="*/ 15776 w 504825"/>
                <a:gd name="connsiteY64" fmla="*/ 15776 h 396649"/>
                <a:gd name="connsiteX65" fmla="*/ 54088 w 504825"/>
                <a:gd name="connsiteY65" fmla="*/ 0 h 39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04825" h="396649">
                  <a:moveTo>
                    <a:pt x="153250" y="306500"/>
                  </a:moveTo>
                  <a:lnTo>
                    <a:pt x="495810" y="306500"/>
                  </a:lnTo>
                  <a:cubicBezTo>
                    <a:pt x="498251" y="306500"/>
                    <a:pt x="500365" y="307392"/>
                    <a:pt x="502149" y="309176"/>
                  </a:cubicBezTo>
                  <a:cubicBezTo>
                    <a:pt x="503933" y="310961"/>
                    <a:pt x="504825" y="313073"/>
                    <a:pt x="504825" y="315515"/>
                  </a:cubicBezTo>
                  <a:lnTo>
                    <a:pt x="504825" y="369603"/>
                  </a:lnTo>
                  <a:cubicBezTo>
                    <a:pt x="504825" y="372045"/>
                    <a:pt x="503933" y="374158"/>
                    <a:pt x="502149" y="375942"/>
                  </a:cubicBezTo>
                  <a:cubicBezTo>
                    <a:pt x="500365" y="377726"/>
                    <a:pt x="498251" y="378618"/>
                    <a:pt x="495810" y="378618"/>
                  </a:cubicBezTo>
                  <a:lnTo>
                    <a:pt x="153250" y="378618"/>
                  </a:lnTo>
                  <a:cubicBezTo>
                    <a:pt x="150809" y="378618"/>
                    <a:pt x="148696" y="377726"/>
                    <a:pt x="146912" y="375942"/>
                  </a:cubicBezTo>
                  <a:cubicBezTo>
                    <a:pt x="145127" y="374158"/>
                    <a:pt x="144236" y="372045"/>
                    <a:pt x="144236" y="369603"/>
                  </a:cubicBezTo>
                  <a:lnTo>
                    <a:pt x="144236" y="315515"/>
                  </a:lnTo>
                  <a:cubicBezTo>
                    <a:pt x="144236" y="313073"/>
                    <a:pt x="145127" y="310961"/>
                    <a:pt x="146912" y="309176"/>
                  </a:cubicBezTo>
                  <a:cubicBezTo>
                    <a:pt x="148696" y="307392"/>
                    <a:pt x="150809" y="306500"/>
                    <a:pt x="153250" y="306500"/>
                  </a:cubicBezTo>
                  <a:close/>
                  <a:moveTo>
                    <a:pt x="54088" y="288472"/>
                  </a:moveTo>
                  <a:cubicBezTo>
                    <a:pt x="69112" y="288472"/>
                    <a:pt x="81883" y="293730"/>
                    <a:pt x="92401" y="304248"/>
                  </a:cubicBezTo>
                  <a:cubicBezTo>
                    <a:pt x="102918" y="314765"/>
                    <a:pt x="108177" y="327536"/>
                    <a:pt x="108177" y="342560"/>
                  </a:cubicBezTo>
                  <a:cubicBezTo>
                    <a:pt x="108177" y="357585"/>
                    <a:pt x="102918" y="370356"/>
                    <a:pt x="92401" y="380873"/>
                  </a:cubicBezTo>
                  <a:cubicBezTo>
                    <a:pt x="81883" y="391390"/>
                    <a:pt x="69112" y="396649"/>
                    <a:pt x="54088" y="396649"/>
                  </a:cubicBezTo>
                  <a:cubicBezTo>
                    <a:pt x="39063" y="396649"/>
                    <a:pt x="26292" y="391390"/>
                    <a:pt x="15776" y="380873"/>
                  </a:cubicBezTo>
                  <a:cubicBezTo>
                    <a:pt x="5258" y="370356"/>
                    <a:pt x="0" y="357585"/>
                    <a:pt x="0" y="342560"/>
                  </a:cubicBezTo>
                  <a:cubicBezTo>
                    <a:pt x="0" y="327536"/>
                    <a:pt x="5258" y="314765"/>
                    <a:pt x="15776" y="304248"/>
                  </a:cubicBezTo>
                  <a:cubicBezTo>
                    <a:pt x="26292" y="293730"/>
                    <a:pt x="39063" y="288472"/>
                    <a:pt x="54088" y="288472"/>
                  </a:cubicBezTo>
                  <a:close/>
                  <a:moveTo>
                    <a:pt x="153250" y="162266"/>
                  </a:moveTo>
                  <a:lnTo>
                    <a:pt x="495810" y="162266"/>
                  </a:lnTo>
                  <a:cubicBezTo>
                    <a:pt x="498251" y="162266"/>
                    <a:pt x="500365" y="163158"/>
                    <a:pt x="502149" y="164942"/>
                  </a:cubicBezTo>
                  <a:cubicBezTo>
                    <a:pt x="503933" y="166726"/>
                    <a:pt x="504825" y="168839"/>
                    <a:pt x="504825" y="171280"/>
                  </a:cubicBezTo>
                  <a:lnTo>
                    <a:pt x="504825" y="225369"/>
                  </a:lnTo>
                  <a:cubicBezTo>
                    <a:pt x="504825" y="227810"/>
                    <a:pt x="503933" y="229923"/>
                    <a:pt x="502149" y="231707"/>
                  </a:cubicBezTo>
                  <a:cubicBezTo>
                    <a:pt x="500365" y="233491"/>
                    <a:pt x="498251" y="234383"/>
                    <a:pt x="495810" y="234383"/>
                  </a:cubicBezTo>
                  <a:lnTo>
                    <a:pt x="153250" y="234383"/>
                  </a:lnTo>
                  <a:cubicBezTo>
                    <a:pt x="150809" y="234383"/>
                    <a:pt x="148696" y="233491"/>
                    <a:pt x="146912" y="231707"/>
                  </a:cubicBezTo>
                  <a:cubicBezTo>
                    <a:pt x="145127" y="229923"/>
                    <a:pt x="144236" y="227810"/>
                    <a:pt x="144236" y="225369"/>
                  </a:cubicBezTo>
                  <a:lnTo>
                    <a:pt x="144236" y="171280"/>
                  </a:lnTo>
                  <a:cubicBezTo>
                    <a:pt x="144236" y="168839"/>
                    <a:pt x="145127" y="166726"/>
                    <a:pt x="146912" y="164942"/>
                  </a:cubicBezTo>
                  <a:cubicBezTo>
                    <a:pt x="148696" y="163158"/>
                    <a:pt x="150809" y="162266"/>
                    <a:pt x="153250" y="162266"/>
                  </a:cubicBezTo>
                  <a:close/>
                  <a:moveTo>
                    <a:pt x="54088" y="144236"/>
                  </a:moveTo>
                  <a:cubicBezTo>
                    <a:pt x="69112" y="144236"/>
                    <a:pt x="81883" y="149495"/>
                    <a:pt x="92401" y="160012"/>
                  </a:cubicBezTo>
                  <a:cubicBezTo>
                    <a:pt x="102918" y="170529"/>
                    <a:pt x="108177" y="183300"/>
                    <a:pt x="108177" y="198324"/>
                  </a:cubicBezTo>
                  <a:cubicBezTo>
                    <a:pt x="108177" y="213349"/>
                    <a:pt x="102918" y="226120"/>
                    <a:pt x="92401" y="236637"/>
                  </a:cubicBezTo>
                  <a:cubicBezTo>
                    <a:pt x="81883" y="247154"/>
                    <a:pt x="69112" y="252413"/>
                    <a:pt x="54088" y="252413"/>
                  </a:cubicBezTo>
                  <a:cubicBezTo>
                    <a:pt x="39063" y="252413"/>
                    <a:pt x="26292" y="247154"/>
                    <a:pt x="15776" y="236637"/>
                  </a:cubicBezTo>
                  <a:cubicBezTo>
                    <a:pt x="5258" y="226120"/>
                    <a:pt x="0" y="213349"/>
                    <a:pt x="0" y="198324"/>
                  </a:cubicBezTo>
                  <a:cubicBezTo>
                    <a:pt x="0" y="183300"/>
                    <a:pt x="5258" y="170529"/>
                    <a:pt x="15776" y="160012"/>
                  </a:cubicBezTo>
                  <a:cubicBezTo>
                    <a:pt x="26292" y="149495"/>
                    <a:pt x="39063" y="144236"/>
                    <a:pt x="54088" y="144236"/>
                  </a:cubicBezTo>
                  <a:close/>
                  <a:moveTo>
                    <a:pt x="153250" y="18029"/>
                  </a:moveTo>
                  <a:lnTo>
                    <a:pt x="495810" y="18029"/>
                  </a:lnTo>
                  <a:cubicBezTo>
                    <a:pt x="498251" y="18029"/>
                    <a:pt x="500365" y="18921"/>
                    <a:pt x="502149" y="20705"/>
                  </a:cubicBezTo>
                  <a:cubicBezTo>
                    <a:pt x="503933" y="22489"/>
                    <a:pt x="504825" y="24602"/>
                    <a:pt x="504825" y="27044"/>
                  </a:cubicBezTo>
                  <a:lnTo>
                    <a:pt x="504825" y="81132"/>
                  </a:lnTo>
                  <a:cubicBezTo>
                    <a:pt x="504825" y="83574"/>
                    <a:pt x="503933" y="85686"/>
                    <a:pt x="502149" y="87471"/>
                  </a:cubicBezTo>
                  <a:cubicBezTo>
                    <a:pt x="500365" y="89255"/>
                    <a:pt x="498251" y="90147"/>
                    <a:pt x="495810" y="90147"/>
                  </a:cubicBezTo>
                  <a:lnTo>
                    <a:pt x="153250" y="90147"/>
                  </a:lnTo>
                  <a:cubicBezTo>
                    <a:pt x="150809" y="90147"/>
                    <a:pt x="148696" y="89255"/>
                    <a:pt x="146912" y="87471"/>
                  </a:cubicBezTo>
                  <a:cubicBezTo>
                    <a:pt x="145127" y="85686"/>
                    <a:pt x="144236" y="83574"/>
                    <a:pt x="144236" y="81132"/>
                  </a:cubicBezTo>
                  <a:lnTo>
                    <a:pt x="144236" y="27044"/>
                  </a:lnTo>
                  <a:cubicBezTo>
                    <a:pt x="144236" y="24602"/>
                    <a:pt x="145127" y="22489"/>
                    <a:pt x="146912" y="20705"/>
                  </a:cubicBezTo>
                  <a:cubicBezTo>
                    <a:pt x="148696" y="18921"/>
                    <a:pt x="150809" y="18029"/>
                    <a:pt x="153250" y="18029"/>
                  </a:cubicBezTo>
                  <a:close/>
                  <a:moveTo>
                    <a:pt x="54088" y="0"/>
                  </a:moveTo>
                  <a:cubicBezTo>
                    <a:pt x="69112" y="0"/>
                    <a:pt x="81883" y="5259"/>
                    <a:pt x="92401" y="15776"/>
                  </a:cubicBezTo>
                  <a:cubicBezTo>
                    <a:pt x="102918" y="26293"/>
                    <a:pt x="108177" y="39064"/>
                    <a:pt x="108177" y="54089"/>
                  </a:cubicBezTo>
                  <a:cubicBezTo>
                    <a:pt x="108177" y="69113"/>
                    <a:pt x="102918" y="81884"/>
                    <a:pt x="92401" y="92401"/>
                  </a:cubicBezTo>
                  <a:cubicBezTo>
                    <a:pt x="81883" y="102919"/>
                    <a:pt x="69112" y="108177"/>
                    <a:pt x="54088" y="108177"/>
                  </a:cubicBezTo>
                  <a:cubicBezTo>
                    <a:pt x="39063" y="108177"/>
                    <a:pt x="26292" y="102919"/>
                    <a:pt x="15776" y="92401"/>
                  </a:cubicBezTo>
                  <a:cubicBezTo>
                    <a:pt x="5258" y="81884"/>
                    <a:pt x="0" y="69113"/>
                    <a:pt x="0" y="54089"/>
                  </a:cubicBezTo>
                  <a:cubicBezTo>
                    <a:pt x="0" y="39064"/>
                    <a:pt x="5258" y="26293"/>
                    <a:pt x="15776" y="15776"/>
                  </a:cubicBezTo>
                  <a:cubicBezTo>
                    <a:pt x="26292" y="5259"/>
                    <a:pt x="39063" y="0"/>
                    <a:pt x="54088" y="0"/>
                  </a:cubicBezTo>
                  <a:close/>
                </a:path>
              </a:pathLst>
            </a:custGeom>
            <a:solidFill>
              <a:schemeClr val="bg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208" name="Título 207">
            <a:extLst>
              <a:ext uri="{FF2B5EF4-FFF2-40B4-BE49-F238E27FC236}">
                <a16:creationId xmlns:a16="http://schemas.microsoft.com/office/drawing/2014/main" id="{7D7032D6-D856-B9A7-46AC-7D737EDA98FB}"/>
              </a:ext>
            </a:extLst>
          </p:cNvPr>
          <p:cNvSpPr>
            <a:spLocks noGrp="1"/>
          </p:cNvSpPr>
          <p:nvPr>
            <p:ph type="title"/>
          </p:nvPr>
        </p:nvSpPr>
        <p:spPr/>
        <p:txBody>
          <a:bodyPr/>
          <a:lstStyle/>
          <a:p>
            <a:r>
              <a:rPr lang="es-MX"/>
              <a:t> </a:t>
            </a:r>
            <a:endParaRPr lang="es-PE"/>
          </a:p>
        </p:txBody>
      </p:sp>
      <p:sp>
        <p:nvSpPr>
          <p:cNvPr id="210" name="Title 5">
            <a:extLst>
              <a:ext uri="{FF2B5EF4-FFF2-40B4-BE49-F238E27FC236}">
                <a16:creationId xmlns:a16="http://schemas.microsoft.com/office/drawing/2014/main" id="{3C8F0C41-6CCB-794E-64ED-0647D4F21A3E}"/>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a:solidFill>
                  <a:srgbClr val="203864"/>
                </a:solidFill>
                <a:latin typeface="Santander Headline" panose="020B0504020201020104" pitchFamily="34" charset="0"/>
              </a:rPr>
              <a:t>Framework de Automatización</a:t>
            </a:r>
            <a:endParaRPr lang="es-MX">
              <a:solidFill>
                <a:srgbClr val="203864"/>
              </a:solidFill>
            </a:endParaRPr>
          </a:p>
        </p:txBody>
      </p:sp>
    </p:spTree>
    <p:extLst>
      <p:ext uri="{BB962C8B-B14F-4D97-AF65-F5344CB8AC3E}">
        <p14:creationId xmlns:p14="http://schemas.microsoft.com/office/powerpoint/2010/main" val="9859336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23F60A-0339-11C2-C5E7-D25241C649A6}"/>
            </a:ext>
          </a:extLst>
        </p:cNvPr>
        <p:cNvGrpSpPr/>
        <p:nvPr/>
      </p:nvGrpSpPr>
      <p:grpSpPr>
        <a:xfrm>
          <a:off x="0" y="0"/>
          <a:ext cx="0" cy="0"/>
          <a:chOff x="0" y="0"/>
          <a:chExt cx="0" cy="0"/>
        </a:xfrm>
      </p:grpSpPr>
      <p:grpSp>
        <p:nvGrpSpPr>
          <p:cNvPr id="111" name="Grupo 110">
            <a:extLst>
              <a:ext uri="{FF2B5EF4-FFF2-40B4-BE49-F238E27FC236}">
                <a16:creationId xmlns:a16="http://schemas.microsoft.com/office/drawing/2014/main" id="{1FA174B2-8E38-6A04-4618-C72AE4A9070F}"/>
              </a:ext>
            </a:extLst>
          </p:cNvPr>
          <p:cNvGrpSpPr/>
          <p:nvPr/>
        </p:nvGrpSpPr>
        <p:grpSpPr>
          <a:xfrm>
            <a:off x="0" y="978684"/>
            <a:ext cx="11272442" cy="5649232"/>
            <a:chOff x="0" y="1192438"/>
            <a:chExt cx="11272442" cy="5649232"/>
          </a:xfrm>
        </p:grpSpPr>
        <p:sp>
          <p:nvSpPr>
            <p:cNvPr id="112" name="Rectángulo 111">
              <a:extLst>
                <a:ext uri="{FF2B5EF4-FFF2-40B4-BE49-F238E27FC236}">
                  <a16:creationId xmlns:a16="http://schemas.microsoft.com/office/drawing/2014/main" id="{D9B6F406-D9B1-2361-C861-9358A0B53BD3}"/>
                </a:ext>
              </a:extLst>
            </p:cNvPr>
            <p:cNvSpPr/>
            <p:nvPr/>
          </p:nvSpPr>
          <p:spPr>
            <a:xfrm>
              <a:off x="0" y="2253173"/>
              <a:ext cx="614149" cy="3439236"/>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3" name="Rectángulo 112">
              <a:extLst>
                <a:ext uri="{FF2B5EF4-FFF2-40B4-BE49-F238E27FC236}">
                  <a16:creationId xmlns:a16="http://schemas.microsoft.com/office/drawing/2014/main" id="{8648E4D3-B499-B03D-A39C-42546573ACAB}"/>
                </a:ext>
              </a:extLst>
            </p:cNvPr>
            <p:cNvSpPr/>
            <p:nvPr/>
          </p:nvSpPr>
          <p:spPr>
            <a:xfrm>
              <a:off x="916526" y="6213873"/>
              <a:ext cx="3179928" cy="627797"/>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4" name="Rectángulo redondeado 14">
              <a:extLst>
                <a:ext uri="{FF2B5EF4-FFF2-40B4-BE49-F238E27FC236}">
                  <a16:creationId xmlns:a16="http://schemas.microsoft.com/office/drawing/2014/main" id="{98291D9B-8F46-90BD-A205-F124C18BBA0D}"/>
                </a:ext>
              </a:extLst>
            </p:cNvPr>
            <p:cNvSpPr/>
            <p:nvPr/>
          </p:nvSpPr>
          <p:spPr>
            <a:xfrm>
              <a:off x="3191803" y="3526382"/>
              <a:ext cx="5727031" cy="2968902"/>
            </a:xfrm>
            <a:prstGeom prst="roundRect">
              <a:avLst>
                <a:gd name="adj" fmla="val 0"/>
              </a:avLst>
            </a:prstGeom>
            <a:solidFill>
              <a:srgbClr val="DEEDF1">
                <a:alpha val="50196"/>
              </a:srgbClr>
            </a:solidFill>
            <a:ln w="19050" cap="flat" cmpd="sng" algn="ctr">
              <a:solidFill>
                <a:srgbClr val="0579CC"/>
              </a:solid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500" b="1" i="0" u="none" strike="noStrike" kern="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15" name="Rectángulo 114">
              <a:extLst>
                <a:ext uri="{FF2B5EF4-FFF2-40B4-BE49-F238E27FC236}">
                  <a16:creationId xmlns:a16="http://schemas.microsoft.com/office/drawing/2014/main" id="{0A2DBD25-1BFD-081D-D72E-51AC9EC27227}"/>
                </a:ext>
              </a:extLst>
            </p:cNvPr>
            <p:cNvSpPr/>
            <p:nvPr/>
          </p:nvSpPr>
          <p:spPr>
            <a:xfrm>
              <a:off x="3191802" y="2594216"/>
              <a:ext cx="5727032" cy="775384"/>
            </a:xfrm>
            <a:prstGeom prst="rect">
              <a:avLst/>
            </a:prstGeom>
            <a:solidFill>
              <a:srgbClr val="DEEDF1"/>
            </a:solidFill>
            <a:ln w="12700" cap="flat" cmpd="sng" algn="ctr">
              <a:solidFill>
                <a:srgbClr val="0579CC"/>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6" name="Rectángulo 115">
              <a:extLst>
                <a:ext uri="{FF2B5EF4-FFF2-40B4-BE49-F238E27FC236}">
                  <a16:creationId xmlns:a16="http://schemas.microsoft.com/office/drawing/2014/main" id="{89D3428E-80E7-41A6-F2B7-0623643AD7E8}"/>
                </a:ext>
              </a:extLst>
            </p:cNvPr>
            <p:cNvSpPr/>
            <p:nvPr/>
          </p:nvSpPr>
          <p:spPr>
            <a:xfrm>
              <a:off x="3165864" y="1192438"/>
              <a:ext cx="5752970" cy="1277242"/>
            </a:xfrm>
            <a:prstGeom prst="rect">
              <a:avLst/>
            </a:prstGeom>
            <a:solidFill>
              <a:srgbClr val="DEEDF1"/>
            </a:solidFill>
            <a:ln w="12700" cap="flat" cmpd="sng" algn="ctr">
              <a:solidFill>
                <a:srgbClr val="0579CC"/>
              </a:solid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7" name="Rectángulo 116">
              <a:extLst>
                <a:ext uri="{FF2B5EF4-FFF2-40B4-BE49-F238E27FC236}">
                  <a16:creationId xmlns:a16="http://schemas.microsoft.com/office/drawing/2014/main" id="{8F6C2644-BDF0-4E45-38BD-27D01A5C068D}"/>
                </a:ext>
              </a:extLst>
            </p:cNvPr>
            <p:cNvSpPr/>
            <p:nvPr/>
          </p:nvSpPr>
          <p:spPr>
            <a:xfrm>
              <a:off x="9112442" y="1192439"/>
              <a:ext cx="2160000" cy="2177162"/>
            </a:xfrm>
            <a:prstGeom prst="rect">
              <a:avLst/>
            </a:prstGeom>
            <a:solidFill>
              <a:srgbClr val="DEEDF1"/>
            </a:solidFill>
            <a:ln w="12700" cap="flat" cmpd="sng" algn="ctr">
              <a:solidFill>
                <a:srgbClr val="0579CC"/>
              </a:solid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18" name="Rectángulo redondeado 18">
              <a:extLst>
                <a:ext uri="{FF2B5EF4-FFF2-40B4-BE49-F238E27FC236}">
                  <a16:creationId xmlns:a16="http://schemas.microsoft.com/office/drawing/2014/main" id="{0598DB88-F8F8-9538-3206-C549DBBC58B9}"/>
                </a:ext>
              </a:extLst>
            </p:cNvPr>
            <p:cNvSpPr/>
            <p:nvPr/>
          </p:nvSpPr>
          <p:spPr>
            <a:xfrm>
              <a:off x="3846239" y="3862325"/>
              <a:ext cx="4551687" cy="583276"/>
            </a:xfrm>
            <a:prstGeom prst="roundRect">
              <a:avLst>
                <a:gd name="adj" fmla="val 8077"/>
              </a:avLst>
            </a:prstGeom>
            <a:solidFill>
              <a:srgbClr val="203864"/>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20" name="CuadroTexto 119">
              <a:extLst>
                <a:ext uri="{FF2B5EF4-FFF2-40B4-BE49-F238E27FC236}">
                  <a16:creationId xmlns:a16="http://schemas.microsoft.com/office/drawing/2014/main" id="{B0149D1A-5982-C4DD-233A-D48622A1FC2A}"/>
                </a:ext>
              </a:extLst>
            </p:cNvPr>
            <p:cNvSpPr txBox="1"/>
            <p:nvPr/>
          </p:nvSpPr>
          <p:spPr>
            <a:xfrm>
              <a:off x="6865139" y="3996495"/>
              <a:ext cx="1480790"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bg1"/>
                  </a:solidFill>
                  <a:effectLst/>
                  <a:uLnTx/>
                  <a:uFillTx/>
                  <a:latin typeface="Calibri" panose="020F0502020204030204"/>
                </a:rPr>
                <a:t>Script de pruebas</a:t>
              </a:r>
              <a:endParaRPr kumimoji="0" lang="es-ES" sz="1400" b="0" i="0" u="none" strike="noStrike" kern="0" cap="none" spc="0" normalizeH="0" baseline="0" noProof="0">
                <a:ln>
                  <a:noFill/>
                </a:ln>
                <a:solidFill>
                  <a:schemeClr val="bg1"/>
                </a:solidFill>
                <a:effectLst/>
                <a:uLnTx/>
                <a:uFillTx/>
                <a:latin typeface="Calibri" panose="020F0502020204030204"/>
              </a:endParaRPr>
            </a:p>
          </p:txBody>
        </p:sp>
        <p:sp>
          <p:nvSpPr>
            <p:cNvPr id="123" name="Rectángulo redondeado 23">
              <a:extLst>
                <a:ext uri="{FF2B5EF4-FFF2-40B4-BE49-F238E27FC236}">
                  <a16:creationId xmlns:a16="http://schemas.microsoft.com/office/drawing/2014/main" id="{AB91263F-1341-F012-3A7E-BF7A06FB0224}"/>
                </a:ext>
              </a:extLst>
            </p:cNvPr>
            <p:cNvSpPr/>
            <p:nvPr/>
          </p:nvSpPr>
          <p:spPr>
            <a:xfrm>
              <a:off x="3831311" y="4490696"/>
              <a:ext cx="2261382" cy="946555"/>
            </a:xfrm>
            <a:prstGeom prst="roundRect">
              <a:avLst>
                <a:gd name="adj" fmla="val 7404"/>
              </a:avLst>
            </a:prstGeom>
            <a:solidFill>
              <a:srgbClr val="203864"/>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45" name="CuadroTexto 144">
              <a:extLst>
                <a:ext uri="{FF2B5EF4-FFF2-40B4-BE49-F238E27FC236}">
                  <a16:creationId xmlns:a16="http://schemas.microsoft.com/office/drawing/2014/main" id="{8F3849C3-B769-571D-CD61-580F9871031F}"/>
                </a:ext>
              </a:extLst>
            </p:cNvPr>
            <p:cNvSpPr txBox="1"/>
            <p:nvPr/>
          </p:nvSpPr>
          <p:spPr>
            <a:xfrm>
              <a:off x="9529110" y="1255910"/>
              <a:ext cx="1355307"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accent5"/>
                  </a:solidFill>
                  <a:effectLst/>
                  <a:uLnTx/>
                  <a:uFillTx/>
                  <a:latin typeface="Calibri" panose="020F0502020204030204"/>
                </a:rPr>
                <a:t>Administració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accent5"/>
                  </a:solidFill>
                  <a:effectLst/>
                  <a:uLnTx/>
                  <a:uFillTx/>
                  <a:latin typeface="Calibri" panose="020F0502020204030204"/>
                </a:rPr>
                <a:t>de Scripts</a:t>
              </a:r>
              <a:endParaRPr kumimoji="0" lang="es-ES" sz="1400" b="0" i="0" u="none" strike="noStrike" kern="0" cap="none" spc="0" normalizeH="0" baseline="0" noProof="0">
                <a:ln>
                  <a:noFill/>
                </a:ln>
                <a:solidFill>
                  <a:schemeClr val="accent5"/>
                </a:solidFill>
                <a:effectLst/>
                <a:uLnTx/>
                <a:uFillTx/>
                <a:latin typeface="Calibri" panose="020F0502020204030204"/>
              </a:endParaRPr>
            </a:p>
          </p:txBody>
        </p:sp>
        <p:sp>
          <p:nvSpPr>
            <p:cNvPr id="146" name="Rectángulo 145">
              <a:extLst>
                <a:ext uri="{FF2B5EF4-FFF2-40B4-BE49-F238E27FC236}">
                  <a16:creationId xmlns:a16="http://schemas.microsoft.com/office/drawing/2014/main" id="{B9C0C268-849D-9AE1-1203-29E1C8EDBF4E}"/>
                </a:ext>
              </a:extLst>
            </p:cNvPr>
            <p:cNvSpPr/>
            <p:nvPr/>
          </p:nvSpPr>
          <p:spPr>
            <a:xfrm>
              <a:off x="9257313" y="1867949"/>
              <a:ext cx="1881359" cy="518990"/>
            </a:xfrm>
            <a:prstGeom prst="rect">
              <a:avLst/>
            </a:prstGeom>
            <a:solidFill>
              <a:srgbClr val="203864"/>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47" name="Freeform 306">
              <a:extLst>
                <a:ext uri="{FF2B5EF4-FFF2-40B4-BE49-F238E27FC236}">
                  <a16:creationId xmlns:a16="http://schemas.microsoft.com/office/drawing/2014/main" id="{9AF84FE8-77BF-25EB-DB89-A63E80255F31}"/>
                </a:ext>
              </a:extLst>
            </p:cNvPr>
            <p:cNvSpPr/>
            <p:nvPr/>
          </p:nvSpPr>
          <p:spPr>
            <a:xfrm>
              <a:off x="9439453" y="1966516"/>
              <a:ext cx="396000" cy="324000"/>
            </a:xfrm>
            <a:custGeom>
              <a:avLst/>
              <a:gdLst>
                <a:gd name="connsiteX0" fmla="*/ 198324 w 529333"/>
                <a:gd name="connsiteY0" fmla="*/ 216354 h 396648"/>
                <a:gd name="connsiteX1" fmla="*/ 504825 w 529333"/>
                <a:gd name="connsiteY1" fmla="*/ 216354 h 396648"/>
                <a:gd name="connsiteX2" fmla="*/ 521868 w 529333"/>
                <a:gd name="connsiteY2" fmla="*/ 220016 h 396648"/>
                <a:gd name="connsiteX3" fmla="*/ 529333 w 529333"/>
                <a:gd name="connsiteY3" fmla="*/ 232130 h 396648"/>
                <a:gd name="connsiteX4" fmla="*/ 520600 w 529333"/>
                <a:gd name="connsiteY4" fmla="*/ 250722 h 396648"/>
                <a:gd name="connsiteX5" fmla="*/ 425945 w 529333"/>
                <a:gd name="connsiteY5" fmla="*/ 362279 h 396648"/>
                <a:gd name="connsiteX6" fmla="*/ 392000 w 529333"/>
                <a:gd name="connsiteY6" fmla="*/ 386647 h 396648"/>
                <a:gd name="connsiteX7" fmla="*/ 351574 w 529333"/>
                <a:gd name="connsiteY7" fmla="*/ 396648 h 396648"/>
                <a:gd name="connsiteX8" fmla="*/ 45073 w 529333"/>
                <a:gd name="connsiteY8" fmla="*/ 396648 h 396648"/>
                <a:gd name="connsiteX9" fmla="*/ 28030 w 529333"/>
                <a:gd name="connsiteY9" fmla="*/ 392986 h 396648"/>
                <a:gd name="connsiteX10" fmla="*/ 20565 w 529333"/>
                <a:gd name="connsiteY10" fmla="*/ 380873 h 396648"/>
                <a:gd name="connsiteX11" fmla="*/ 29297 w 529333"/>
                <a:gd name="connsiteY11" fmla="*/ 362279 h 396648"/>
                <a:gd name="connsiteX12" fmla="*/ 123952 w 529333"/>
                <a:gd name="connsiteY12" fmla="*/ 250722 h 396648"/>
                <a:gd name="connsiteX13" fmla="*/ 157898 w 529333"/>
                <a:gd name="connsiteY13" fmla="*/ 226354 h 396648"/>
                <a:gd name="connsiteX14" fmla="*/ 198324 w 529333"/>
                <a:gd name="connsiteY14" fmla="*/ 216354 h 396648"/>
                <a:gd name="connsiteX15" fmla="*/ 63103 w 529333"/>
                <a:gd name="connsiteY15" fmla="*/ 0 h 396648"/>
                <a:gd name="connsiteX16" fmla="*/ 153251 w 529333"/>
                <a:gd name="connsiteY16" fmla="*/ 0 h 396648"/>
                <a:gd name="connsiteX17" fmla="*/ 197760 w 529333"/>
                <a:gd name="connsiteY17" fmla="*/ 18593 h 396648"/>
                <a:gd name="connsiteX18" fmla="*/ 216354 w 529333"/>
                <a:gd name="connsiteY18" fmla="*/ 63103 h 396648"/>
                <a:gd name="connsiteX19" fmla="*/ 216354 w 529333"/>
                <a:gd name="connsiteY19" fmla="*/ 72118 h 396648"/>
                <a:gd name="connsiteX20" fmla="*/ 369605 w 529333"/>
                <a:gd name="connsiteY20" fmla="*/ 72118 h 396648"/>
                <a:gd name="connsiteX21" fmla="*/ 414114 w 529333"/>
                <a:gd name="connsiteY21" fmla="*/ 90711 h 396648"/>
                <a:gd name="connsiteX22" fmla="*/ 432707 w 529333"/>
                <a:gd name="connsiteY22" fmla="*/ 135221 h 396648"/>
                <a:gd name="connsiteX23" fmla="*/ 432707 w 529333"/>
                <a:gd name="connsiteY23" fmla="*/ 180295 h 396648"/>
                <a:gd name="connsiteX24" fmla="*/ 198325 w 529333"/>
                <a:gd name="connsiteY24" fmla="*/ 180295 h 396648"/>
                <a:gd name="connsiteX25" fmla="*/ 142827 w 529333"/>
                <a:gd name="connsiteY25" fmla="*/ 193676 h 396648"/>
                <a:gd name="connsiteX26" fmla="*/ 96627 w 529333"/>
                <a:gd name="connsiteY26" fmla="*/ 227340 h 396648"/>
                <a:gd name="connsiteX27" fmla="*/ 1691 w 529333"/>
                <a:gd name="connsiteY27" fmla="*/ 338898 h 396648"/>
                <a:gd name="connsiteX28" fmla="*/ 282 w 529333"/>
                <a:gd name="connsiteY28" fmla="*/ 340588 h 396648"/>
                <a:gd name="connsiteX29" fmla="*/ 140 w 529333"/>
                <a:gd name="connsiteY29" fmla="*/ 337067 h 396648"/>
                <a:gd name="connsiteX30" fmla="*/ 0 w 529333"/>
                <a:gd name="connsiteY30" fmla="*/ 333545 h 396648"/>
                <a:gd name="connsiteX31" fmla="*/ 0 w 529333"/>
                <a:gd name="connsiteY31" fmla="*/ 63103 h 396648"/>
                <a:gd name="connsiteX32" fmla="*/ 18593 w 529333"/>
                <a:gd name="connsiteY32" fmla="*/ 18593 h 396648"/>
                <a:gd name="connsiteX33" fmla="*/ 63103 w 529333"/>
                <a:gd name="connsiteY33" fmla="*/ 0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29333" h="396648">
                  <a:moveTo>
                    <a:pt x="198324" y="216354"/>
                  </a:moveTo>
                  <a:lnTo>
                    <a:pt x="504825" y="216354"/>
                  </a:lnTo>
                  <a:cubicBezTo>
                    <a:pt x="511210" y="216354"/>
                    <a:pt x="516890" y="217574"/>
                    <a:pt x="521868" y="220016"/>
                  </a:cubicBezTo>
                  <a:cubicBezTo>
                    <a:pt x="526844" y="222457"/>
                    <a:pt x="529333" y="226495"/>
                    <a:pt x="529333" y="232130"/>
                  </a:cubicBezTo>
                  <a:cubicBezTo>
                    <a:pt x="529333" y="237951"/>
                    <a:pt x="526421" y="244149"/>
                    <a:pt x="520600" y="250722"/>
                  </a:cubicBezTo>
                  <a:lnTo>
                    <a:pt x="425945" y="362279"/>
                  </a:lnTo>
                  <a:cubicBezTo>
                    <a:pt x="417869" y="371858"/>
                    <a:pt x="406554" y="379980"/>
                    <a:pt x="392000" y="386647"/>
                  </a:cubicBezTo>
                  <a:cubicBezTo>
                    <a:pt x="377444" y="393315"/>
                    <a:pt x="363969" y="396648"/>
                    <a:pt x="351574" y="396648"/>
                  </a:cubicBezTo>
                  <a:lnTo>
                    <a:pt x="45073" y="396648"/>
                  </a:lnTo>
                  <a:cubicBezTo>
                    <a:pt x="38687" y="396648"/>
                    <a:pt x="33006" y="395427"/>
                    <a:pt x="28030" y="392986"/>
                  </a:cubicBezTo>
                  <a:cubicBezTo>
                    <a:pt x="23052" y="390544"/>
                    <a:pt x="20565" y="386507"/>
                    <a:pt x="20565" y="380873"/>
                  </a:cubicBezTo>
                  <a:cubicBezTo>
                    <a:pt x="20565" y="375050"/>
                    <a:pt x="23475" y="368853"/>
                    <a:pt x="29297" y="362279"/>
                  </a:cubicBezTo>
                  <a:lnTo>
                    <a:pt x="123952" y="250722"/>
                  </a:lnTo>
                  <a:cubicBezTo>
                    <a:pt x="132027" y="241144"/>
                    <a:pt x="143344" y="233021"/>
                    <a:pt x="157898" y="226354"/>
                  </a:cubicBezTo>
                  <a:cubicBezTo>
                    <a:pt x="172453" y="219687"/>
                    <a:pt x="185928" y="216354"/>
                    <a:pt x="198324" y="216354"/>
                  </a:cubicBezTo>
                  <a:close/>
                  <a:moveTo>
                    <a:pt x="63103" y="0"/>
                  </a:moveTo>
                  <a:lnTo>
                    <a:pt x="153251" y="0"/>
                  </a:lnTo>
                  <a:cubicBezTo>
                    <a:pt x="170529" y="0"/>
                    <a:pt x="185366" y="6198"/>
                    <a:pt x="197760" y="18593"/>
                  </a:cubicBezTo>
                  <a:cubicBezTo>
                    <a:pt x="210155" y="30988"/>
                    <a:pt x="216354" y="45825"/>
                    <a:pt x="216354" y="63103"/>
                  </a:cubicBezTo>
                  <a:lnTo>
                    <a:pt x="216354" y="72118"/>
                  </a:lnTo>
                  <a:lnTo>
                    <a:pt x="369605" y="72118"/>
                  </a:lnTo>
                  <a:cubicBezTo>
                    <a:pt x="386882" y="72118"/>
                    <a:pt x="401719" y="78315"/>
                    <a:pt x="414114" y="90711"/>
                  </a:cubicBezTo>
                  <a:cubicBezTo>
                    <a:pt x="426510" y="103106"/>
                    <a:pt x="432707" y="117943"/>
                    <a:pt x="432707" y="135221"/>
                  </a:cubicBezTo>
                  <a:lnTo>
                    <a:pt x="432707" y="180295"/>
                  </a:lnTo>
                  <a:lnTo>
                    <a:pt x="198325" y="180295"/>
                  </a:lnTo>
                  <a:cubicBezTo>
                    <a:pt x="180671" y="180295"/>
                    <a:pt x="162172" y="184755"/>
                    <a:pt x="142827" y="193676"/>
                  </a:cubicBezTo>
                  <a:cubicBezTo>
                    <a:pt x="123483" y="202597"/>
                    <a:pt x="108084" y="213818"/>
                    <a:pt x="96627" y="227340"/>
                  </a:cubicBezTo>
                  <a:lnTo>
                    <a:pt x="1691" y="338898"/>
                  </a:lnTo>
                  <a:lnTo>
                    <a:pt x="282" y="340588"/>
                  </a:lnTo>
                  <a:cubicBezTo>
                    <a:pt x="282" y="339836"/>
                    <a:pt x="235" y="338663"/>
                    <a:pt x="140" y="337067"/>
                  </a:cubicBezTo>
                  <a:cubicBezTo>
                    <a:pt x="47" y="335470"/>
                    <a:pt x="0" y="334296"/>
                    <a:pt x="0" y="333545"/>
                  </a:cubicBezTo>
                  <a:lnTo>
                    <a:pt x="0" y="63103"/>
                  </a:lnTo>
                  <a:cubicBezTo>
                    <a:pt x="0" y="45825"/>
                    <a:pt x="6198" y="30988"/>
                    <a:pt x="18593" y="18593"/>
                  </a:cubicBezTo>
                  <a:cubicBezTo>
                    <a:pt x="30988" y="6198"/>
                    <a:pt x="45825" y="0"/>
                    <a:pt x="63103" y="0"/>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8" name="Rectángulo 147">
              <a:extLst>
                <a:ext uri="{FF2B5EF4-FFF2-40B4-BE49-F238E27FC236}">
                  <a16:creationId xmlns:a16="http://schemas.microsoft.com/office/drawing/2014/main" id="{834A3D8A-6F8E-6CC1-A339-BD8A94A3845B}"/>
                </a:ext>
              </a:extLst>
            </p:cNvPr>
            <p:cNvSpPr/>
            <p:nvPr/>
          </p:nvSpPr>
          <p:spPr>
            <a:xfrm>
              <a:off x="9257314" y="2515251"/>
              <a:ext cx="1881358" cy="518990"/>
            </a:xfrm>
            <a:prstGeom prst="rect">
              <a:avLst/>
            </a:prstGeom>
            <a:solidFill>
              <a:srgbClr val="203864"/>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49" name="Freeform 410">
              <a:extLst>
                <a:ext uri="{FF2B5EF4-FFF2-40B4-BE49-F238E27FC236}">
                  <a16:creationId xmlns:a16="http://schemas.microsoft.com/office/drawing/2014/main" id="{688C60E3-6318-EA3C-FBA9-920E9746B067}"/>
                </a:ext>
              </a:extLst>
            </p:cNvPr>
            <p:cNvSpPr/>
            <p:nvPr/>
          </p:nvSpPr>
          <p:spPr>
            <a:xfrm>
              <a:off x="9410554" y="2574691"/>
              <a:ext cx="360000" cy="360000"/>
            </a:xfrm>
            <a:custGeom>
              <a:avLst/>
              <a:gdLst>
                <a:gd name="connsiteX0" fmla="*/ 84231 w 462284"/>
                <a:gd name="connsiteY0" fmla="*/ 360589 h 462850"/>
                <a:gd name="connsiteX1" fmla="*/ 71553 w 462284"/>
                <a:gd name="connsiteY1" fmla="*/ 365942 h 462850"/>
                <a:gd name="connsiteX2" fmla="*/ 66201 w 462284"/>
                <a:gd name="connsiteY2" fmla="*/ 378619 h 462850"/>
                <a:gd name="connsiteX3" fmla="*/ 71553 w 462284"/>
                <a:gd name="connsiteY3" fmla="*/ 391296 h 462850"/>
                <a:gd name="connsiteX4" fmla="*/ 84231 w 462284"/>
                <a:gd name="connsiteY4" fmla="*/ 396648 h 462850"/>
                <a:gd name="connsiteX5" fmla="*/ 96908 w 462284"/>
                <a:gd name="connsiteY5" fmla="*/ 391296 h 462850"/>
                <a:gd name="connsiteX6" fmla="*/ 102260 w 462284"/>
                <a:gd name="connsiteY6" fmla="*/ 378619 h 462850"/>
                <a:gd name="connsiteX7" fmla="*/ 96908 w 462284"/>
                <a:gd name="connsiteY7" fmla="*/ 365942 h 462850"/>
                <a:gd name="connsiteX8" fmla="*/ 84231 w 462284"/>
                <a:gd name="connsiteY8" fmla="*/ 360589 h 462850"/>
                <a:gd name="connsiteX9" fmla="*/ 202549 w 462284"/>
                <a:gd name="connsiteY9" fmla="*/ 179168 h 462850"/>
                <a:gd name="connsiteX10" fmla="*/ 234805 w 462284"/>
                <a:gd name="connsiteY10" fmla="*/ 228045 h 462850"/>
                <a:gd name="connsiteX11" fmla="*/ 283681 w 462284"/>
                <a:gd name="connsiteY11" fmla="*/ 260300 h 462850"/>
                <a:gd name="connsiteX12" fmla="*/ 91555 w 462284"/>
                <a:gd name="connsiteY12" fmla="*/ 452427 h 462850"/>
                <a:gd name="connsiteX13" fmla="*/ 66201 w 462284"/>
                <a:gd name="connsiteY13" fmla="*/ 462850 h 462850"/>
                <a:gd name="connsiteX14" fmla="*/ 40566 w 462284"/>
                <a:gd name="connsiteY14" fmla="*/ 452427 h 462850"/>
                <a:gd name="connsiteX15" fmla="*/ 10705 w 462284"/>
                <a:gd name="connsiteY15" fmla="*/ 422002 h 462850"/>
                <a:gd name="connsiteX16" fmla="*/ 0 w 462284"/>
                <a:gd name="connsiteY16" fmla="*/ 396648 h 462850"/>
                <a:gd name="connsiteX17" fmla="*/ 10705 w 462284"/>
                <a:gd name="connsiteY17" fmla="*/ 371013 h 462850"/>
                <a:gd name="connsiteX18" fmla="*/ 336642 w 462284"/>
                <a:gd name="connsiteY18" fmla="*/ 0 h 462850"/>
                <a:gd name="connsiteX19" fmla="*/ 370870 w 462284"/>
                <a:gd name="connsiteY19" fmla="*/ 4648 h 462850"/>
                <a:gd name="connsiteX20" fmla="*/ 401153 w 462284"/>
                <a:gd name="connsiteY20" fmla="*/ 17748 h 462850"/>
                <a:gd name="connsiteX21" fmla="*/ 405661 w 462284"/>
                <a:gd name="connsiteY21" fmla="*/ 25636 h 462850"/>
                <a:gd name="connsiteX22" fmla="*/ 401153 w 462284"/>
                <a:gd name="connsiteY22" fmla="*/ 33524 h 462850"/>
                <a:gd name="connsiteX23" fmla="*/ 318613 w 462284"/>
                <a:gd name="connsiteY23" fmla="*/ 81133 h 462850"/>
                <a:gd name="connsiteX24" fmla="*/ 318613 w 462284"/>
                <a:gd name="connsiteY24" fmla="*/ 144236 h 462850"/>
                <a:gd name="connsiteX25" fmla="*/ 372983 w 462284"/>
                <a:gd name="connsiteY25" fmla="*/ 174379 h 462850"/>
                <a:gd name="connsiteX26" fmla="*/ 395237 w 462284"/>
                <a:gd name="connsiteY26" fmla="*/ 160716 h 462850"/>
                <a:gd name="connsiteX27" fmla="*/ 433409 w 462284"/>
                <a:gd name="connsiteY27" fmla="*/ 137897 h 462850"/>
                <a:gd name="connsiteX28" fmla="*/ 453270 w 462284"/>
                <a:gd name="connsiteY28" fmla="*/ 127896 h 462850"/>
                <a:gd name="connsiteX29" fmla="*/ 459890 w 462284"/>
                <a:gd name="connsiteY29" fmla="*/ 130714 h 462850"/>
                <a:gd name="connsiteX30" fmla="*/ 462284 w 462284"/>
                <a:gd name="connsiteY30" fmla="*/ 137756 h 462850"/>
                <a:gd name="connsiteX31" fmla="*/ 455806 w 462284"/>
                <a:gd name="connsiteY31" fmla="*/ 167618 h 462850"/>
                <a:gd name="connsiteX32" fmla="*/ 409464 w 462284"/>
                <a:gd name="connsiteY32" fmla="*/ 228890 h 462850"/>
                <a:gd name="connsiteX33" fmla="*/ 336642 w 462284"/>
                <a:gd name="connsiteY33" fmla="*/ 252412 h 462850"/>
                <a:gd name="connsiteX34" fmla="*/ 247481 w 462284"/>
                <a:gd name="connsiteY34" fmla="*/ 215368 h 462850"/>
                <a:gd name="connsiteX35" fmla="*/ 210436 w 462284"/>
                <a:gd name="connsiteY35" fmla="*/ 126206 h 462850"/>
                <a:gd name="connsiteX36" fmla="*/ 247481 w 462284"/>
                <a:gd name="connsiteY36" fmla="*/ 37045 h 462850"/>
                <a:gd name="connsiteX37" fmla="*/ 336642 w 462284"/>
                <a:gd name="connsiteY37" fmla="*/ 0 h 46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62284" h="462850">
                  <a:moveTo>
                    <a:pt x="84231" y="360589"/>
                  </a:moveTo>
                  <a:cubicBezTo>
                    <a:pt x="79348" y="360589"/>
                    <a:pt x="75122" y="362373"/>
                    <a:pt x="71553" y="365942"/>
                  </a:cubicBezTo>
                  <a:cubicBezTo>
                    <a:pt x="67986" y="369510"/>
                    <a:pt x="66201" y="373736"/>
                    <a:pt x="66201" y="378619"/>
                  </a:cubicBezTo>
                  <a:cubicBezTo>
                    <a:pt x="66201" y="383502"/>
                    <a:pt x="67986" y="387727"/>
                    <a:pt x="71553" y="391296"/>
                  </a:cubicBezTo>
                  <a:cubicBezTo>
                    <a:pt x="75122" y="394864"/>
                    <a:pt x="79348" y="396648"/>
                    <a:pt x="84231" y="396648"/>
                  </a:cubicBezTo>
                  <a:cubicBezTo>
                    <a:pt x="89114" y="396648"/>
                    <a:pt x="93340" y="394864"/>
                    <a:pt x="96908" y="391296"/>
                  </a:cubicBezTo>
                  <a:cubicBezTo>
                    <a:pt x="100476" y="387727"/>
                    <a:pt x="102260" y="383502"/>
                    <a:pt x="102260" y="378619"/>
                  </a:cubicBezTo>
                  <a:cubicBezTo>
                    <a:pt x="102260" y="373736"/>
                    <a:pt x="100476" y="369510"/>
                    <a:pt x="96908" y="365942"/>
                  </a:cubicBezTo>
                  <a:cubicBezTo>
                    <a:pt x="93340" y="362373"/>
                    <a:pt x="89114" y="360589"/>
                    <a:pt x="84231" y="360589"/>
                  </a:cubicBezTo>
                  <a:close/>
                  <a:moveTo>
                    <a:pt x="202549" y="179168"/>
                  </a:moveTo>
                  <a:cubicBezTo>
                    <a:pt x="209873" y="197573"/>
                    <a:pt x="220626" y="213865"/>
                    <a:pt x="234805" y="228045"/>
                  </a:cubicBezTo>
                  <a:cubicBezTo>
                    <a:pt x="248984" y="242224"/>
                    <a:pt x="265277" y="252976"/>
                    <a:pt x="283681" y="260300"/>
                  </a:cubicBezTo>
                  <a:lnTo>
                    <a:pt x="91555" y="452427"/>
                  </a:lnTo>
                  <a:cubicBezTo>
                    <a:pt x="84607" y="459376"/>
                    <a:pt x="76156" y="462850"/>
                    <a:pt x="66201" y="462850"/>
                  </a:cubicBezTo>
                  <a:cubicBezTo>
                    <a:pt x="56436" y="462850"/>
                    <a:pt x="47890" y="459376"/>
                    <a:pt x="40566" y="452427"/>
                  </a:cubicBezTo>
                  <a:lnTo>
                    <a:pt x="10705" y="422002"/>
                  </a:lnTo>
                  <a:cubicBezTo>
                    <a:pt x="3568" y="415241"/>
                    <a:pt x="0" y="406790"/>
                    <a:pt x="0" y="396648"/>
                  </a:cubicBezTo>
                  <a:cubicBezTo>
                    <a:pt x="0" y="386694"/>
                    <a:pt x="3568" y="378149"/>
                    <a:pt x="10705" y="371013"/>
                  </a:cubicBezTo>
                  <a:close/>
                  <a:moveTo>
                    <a:pt x="336642" y="0"/>
                  </a:moveTo>
                  <a:cubicBezTo>
                    <a:pt x="347536" y="0"/>
                    <a:pt x="358944" y="1549"/>
                    <a:pt x="370870" y="4648"/>
                  </a:cubicBezTo>
                  <a:cubicBezTo>
                    <a:pt x="382796" y="7747"/>
                    <a:pt x="392891" y="12114"/>
                    <a:pt x="401153" y="17748"/>
                  </a:cubicBezTo>
                  <a:cubicBezTo>
                    <a:pt x="404159" y="19814"/>
                    <a:pt x="405661" y="22443"/>
                    <a:pt x="405661" y="25636"/>
                  </a:cubicBezTo>
                  <a:cubicBezTo>
                    <a:pt x="405661" y="28828"/>
                    <a:pt x="404159" y="31458"/>
                    <a:pt x="401153" y="33524"/>
                  </a:cubicBezTo>
                  <a:lnTo>
                    <a:pt x="318613" y="81133"/>
                  </a:lnTo>
                  <a:lnTo>
                    <a:pt x="318613" y="144236"/>
                  </a:lnTo>
                  <a:lnTo>
                    <a:pt x="372983" y="174379"/>
                  </a:lnTo>
                  <a:cubicBezTo>
                    <a:pt x="373922" y="173815"/>
                    <a:pt x="381341" y="169261"/>
                    <a:pt x="395237" y="160716"/>
                  </a:cubicBezTo>
                  <a:cubicBezTo>
                    <a:pt x="409137" y="152171"/>
                    <a:pt x="421859" y="144564"/>
                    <a:pt x="433409" y="137897"/>
                  </a:cubicBezTo>
                  <a:cubicBezTo>
                    <a:pt x="444960" y="131230"/>
                    <a:pt x="451580" y="127896"/>
                    <a:pt x="453270" y="127896"/>
                  </a:cubicBezTo>
                  <a:cubicBezTo>
                    <a:pt x="456087" y="127896"/>
                    <a:pt x="458295" y="128835"/>
                    <a:pt x="459890" y="130714"/>
                  </a:cubicBezTo>
                  <a:cubicBezTo>
                    <a:pt x="461487" y="132592"/>
                    <a:pt x="462284" y="134939"/>
                    <a:pt x="462284" y="137756"/>
                  </a:cubicBezTo>
                  <a:cubicBezTo>
                    <a:pt x="462284" y="145081"/>
                    <a:pt x="460126" y="155035"/>
                    <a:pt x="455806" y="167618"/>
                  </a:cubicBezTo>
                  <a:cubicBezTo>
                    <a:pt x="446980" y="192784"/>
                    <a:pt x="431533" y="213208"/>
                    <a:pt x="409464" y="228890"/>
                  </a:cubicBezTo>
                  <a:cubicBezTo>
                    <a:pt x="387397" y="244572"/>
                    <a:pt x="363123" y="252412"/>
                    <a:pt x="336642" y="252412"/>
                  </a:cubicBezTo>
                  <a:cubicBezTo>
                    <a:pt x="301898" y="252412"/>
                    <a:pt x="272177" y="240064"/>
                    <a:pt x="247481" y="215368"/>
                  </a:cubicBezTo>
                  <a:cubicBezTo>
                    <a:pt x="222785" y="190671"/>
                    <a:pt x="210436" y="160951"/>
                    <a:pt x="210436" y="126206"/>
                  </a:cubicBezTo>
                  <a:cubicBezTo>
                    <a:pt x="210436" y="91462"/>
                    <a:pt x="222785" y="61741"/>
                    <a:pt x="247481" y="37045"/>
                  </a:cubicBezTo>
                  <a:cubicBezTo>
                    <a:pt x="272177" y="12348"/>
                    <a:pt x="301898" y="0"/>
                    <a:pt x="336642" y="0"/>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0" name="Rectángulo 149">
              <a:extLst>
                <a:ext uri="{FF2B5EF4-FFF2-40B4-BE49-F238E27FC236}">
                  <a16:creationId xmlns:a16="http://schemas.microsoft.com/office/drawing/2014/main" id="{9A308F12-692C-FA16-87B5-6029FE2E09A9}"/>
                </a:ext>
              </a:extLst>
            </p:cNvPr>
            <p:cNvSpPr/>
            <p:nvPr/>
          </p:nvSpPr>
          <p:spPr>
            <a:xfrm>
              <a:off x="9112442" y="3526383"/>
              <a:ext cx="2160000" cy="2214582"/>
            </a:xfrm>
            <a:prstGeom prst="rect">
              <a:avLst/>
            </a:prstGeom>
            <a:solidFill>
              <a:schemeClr val="bg1">
                <a:lumMod val="85000"/>
              </a:schemeClr>
            </a:solidFill>
            <a:ln w="12700" cap="flat" cmpd="sng" algn="ctr">
              <a:solidFill>
                <a:srgbClr val="373F5B"/>
              </a:solid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51" name="CuadroTexto 150">
              <a:extLst>
                <a:ext uri="{FF2B5EF4-FFF2-40B4-BE49-F238E27FC236}">
                  <a16:creationId xmlns:a16="http://schemas.microsoft.com/office/drawing/2014/main" id="{975ABDC8-DACF-FCEB-1D1D-952C5861BA43}"/>
                </a:ext>
              </a:extLst>
            </p:cNvPr>
            <p:cNvSpPr txBox="1"/>
            <p:nvPr/>
          </p:nvSpPr>
          <p:spPr>
            <a:xfrm>
              <a:off x="9598700" y="3618309"/>
              <a:ext cx="1186543" cy="523220"/>
            </a:xfrm>
            <a:prstGeom prst="rect">
              <a:avLst/>
            </a:prstGeom>
            <a:noFill/>
          </p:spPr>
          <p:txBody>
            <a:bodyPr wrap="none" rtlCol="0">
              <a:spAutoFit/>
            </a:bodyPr>
            <a:lstStyle>
              <a:defPPr>
                <a:defRPr lang="es-AR"/>
              </a:defPPr>
              <a:lvl1pPr algn="ctr">
                <a:defRPr sz="1400" b="1">
                  <a:solidFill>
                    <a:srgbClr val="AB2F39"/>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accent5"/>
                  </a:solidFill>
                  <a:effectLst/>
                  <a:uLnTx/>
                  <a:uFillTx/>
                  <a:latin typeface="Calibri" panose="020F0502020204030204"/>
                </a:rPr>
                <a:t>Performanc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accent5"/>
                  </a:solidFill>
                  <a:effectLst/>
                  <a:uLnTx/>
                  <a:uFillTx/>
                  <a:latin typeface="Calibri" panose="020F0502020204030204"/>
                </a:rPr>
                <a:t>Continuo</a:t>
              </a:r>
            </a:p>
          </p:txBody>
        </p:sp>
        <p:sp>
          <p:nvSpPr>
            <p:cNvPr id="152" name="Rectángulo 151">
              <a:extLst>
                <a:ext uri="{FF2B5EF4-FFF2-40B4-BE49-F238E27FC236}">
                  <a16:creationId xmlns:a16="http://schemas.microsoft.com/office/drawing/2014/main" id="{D4EFAD57-73C5-D64E-8E83-A22086775B41}"/>
                </a:ext>
              </a:extLst>
            </p:cNvPr>
            <p:cNvSpPr/>
            <p:nvPr/>
          </p:nvSpPr>
          <p:spPr>
            <a:xfrm>
              <a:off x="9257313" y="4228419"/>
              <a:ext cx="1881359" cy="518990"/>
            </a:xfrm>
            <a:prstGeom prst="rect">
              <a:avLst/>
            </a:prstGeom>
            <a:solidFill>
              <a:schemeClr val="bg1">
                <a:lumMod val="65000"/>
              </a:schemeClr>
            </a:solidFill>
            <a:ln w="12700" cap="flat" cmpd="sng" algn="ctr">
              <a:solidFill>
                <a:srgbClr val="373F5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53" name="Rectángulo 152">
              <a:extLst>
                <a:ext uri="{FF2B5EF4-FFF2-40B4-BE49-F238E27FC236}">
                  <a16:creationId xmlns:a16="http://schemas.microsoft.com/office/drawing/2014/main" id="{0C0A4E02-6C2D-3F77-AD0E-C098F29A6D99}"/>
                </a:ext>
              </a:extLst>
            </p:cNvPr>
            <p:cNvSpPr/>
            <p:nvPr/>
          </p:nvSpPr>
          <p:spPr>
            <a:xfrm>
              <a:off x="9257314" y="4875721"/>
              <a:ext cx="1881358" cy="518990"/>
            </a:xfrm>
            <a:prstGeom prst="rect">
              <a:avLst/>
            </a:prstGeom>
            <a:solidFill>
              <a:schemeClr val="bg1">
                <a:lumMod val="65000"/>
              </a:schemeClr>
            </a:solidFill>
            <a:ln w="12700" cap="flat" cmpd="sng" algn="ctr">
              <a:solidFill>
                <a:srgbClr val="373F5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54" name="CuadroTexto 153">
              <a:extLst>
                <a:ext uri="{FF2B5EF4-FFF2-40B4-BE49-F238E27FC236}">
                  <a16:creationId xmlns:a16="http://schemas.microsoft.com/office/drawing/2014/main" id="{04EEBDBE-FFD6-9DFC-E82D-2CC804E1124D}"/>
                </a:ext>
              </a:extLst>
            </p:cNvPr>
            <p:cNvSpPr txBox="1"/>
            <p:nvPr/>
          </p:nvSpPr>
          <p:spPr>
            <a:xfrm>
              <a:off x="9975663" y="1904854"/>
              <a:ext cx="951642"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Control de Repositorio</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55" name="CuadroTexto 154">
              <a:extLst>
                <a:ext uri="{FF2B5EF4-FFF2-40B4-BE49-F238E27FC236}">
                  <a16:creationId xmlns:a16="http://schemas.microsoft.com/office/drawing/2014/main" id="{954C8343-ACC1-F497-73A7-AC96459D2658}"/>
                </a:ext>
              </a:extLst>
            </p:cNvPr>
            <p:cNvSpPr txBox="1"/>
            <p:nvPr/>
          </p:nvSpPr>
          <p:spPr>
            <a:xfrm>
              <a:off x="9976399" y="2546165"/>
              <a:ext cx="1025232" cy="400110"/>
            </a:xfrm>
            <a:prstGeom prst="rect">
              <a:avLst/>
            </a:prstGeom>
            <a:solidFill>
              <a:srgbClr val="203864"/>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Mantenimiento de scripts</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56" name="Freeform 308">
              <a:extLst>
                <a:ext uri="{FF2B5EF4-FFF2-40B4-BE49-F238E27FC236}">
                  <a16:creationId xmlns:a16="http://schemas.microsoft.com/office/drawing/2014/main" id="{0AAA8E93-F0D1-4168-2B71-0739967D0661}"/>
                </a:ext>
              </a:extLst>
            </p:cNvPr>
            <p:cNvSpPr/>
            <p:nvPr/>
          </p:nvSpPr>
          <p:spPr>
            <a:xfrm>
              <a:off x="9410554" y="4348099"/>
              <a:ext cx="360000" cy="360000"/>
            </a:xfrm>
            <a:custGeom>
              <a:avLst/>
              <a:gdLst>
                <a:gd name="connsiteX0" fmla="*/ 432708 w 540885"/>
                <a:gd name="connsiteY0" fmla="*/ 356081 h 496091"/>
                <a:gd name="connsiteX1" fmla="*/ 407355 w 540885"/>
                <a:gd name="connsiteY1" fmla="*/ 366786 h 496091"/>
                <a:gd name="connsiteX2" fmla="*/ 396649 w 540885"/>
                <a:gd name="connsiteY2" fmla="*/ 392140 h 496091"/>
                <a:gd name="connsiteX3" fmla="*/ 407213 w 540885"/>
                <a:gd name="connsiteY3" fmla="*/ 417635 h 496091"/>
                <a:gd name="connsiteX4" fmla="*/ 432708 w 540885"/>
                <a:gd name="connsiteY4" fmla="*/ 428199 h 496091"/>
                <a:gd name="connsiteX5" fmla="*/ 458203 w 540885"/>
                <a:gd name="connsiteY5" fmla="*/ 417635 h 496091"/>
                <a:gd name="connsiteX6" fmla="*/ 468767 w 540885"/>
                <a:gd name="connsiteY6" fmla="*/ 392140 h 496091"/>
                <a:gd name="connsiteX7" fmla="*/ 458063 w 540885"/>
                <a:gd name="connsiteY7" fmla="*/ 366786 h 496091"/>
                <a:gd name="connsiteX8" fmla="*/ 432708 w 540885"/>
                <a:gd name="connsiteY8" fmla="*/ 356081 h 496091"/>
                <a:gd name="connsiteX9" fmla="*/ 396649 w 540885"/>
                <a:gd name="connsiteY9" fmla="*/ 288471 h 496091"/>
                <a:gd name="connsiteX10" fmla="*/ 409608 w 540885"/>
                <a:gd name="connsiteY10" fmla="*/ 301570 h 496091"/>
                <a:gd name="connsiteX11" fmla="*/ 424257 w 540885"/>
                <a:gd name="connsiteY11" fmla="*/ 320586 h 496091"/>
                <a:gd name="connsiteX12" fmla="*/ 432708 w 540885"/>
                <a:gd name="connsiteY12" fmla="*/ 320023 h 496091"/>
                <a:gd name="connsiteX13" fmla="*/ 441160 w 540885"/>
                <a:gd name="connsiteY13" fmla="*/ 320586 h 496091"/>
                <a:gd name="connsiteX14" fmla="*/ 467077 w 540885"/>
                <a:gd name="connsiteY14" fmla="*/ 289034 h 496091"/>
                <a:gd name="connsiteX15" fmla="*/ 468767 w 540885"/>
                <a:gd name="connsiteY15" fmla="*/ 288471 h 496091"/>
                <a:gd name="connsiteX16" fmla="*/ 503699 w 540885"/>
                <a:gd name="connsiteY16" fmla="*/ 308190 h 496091"/>
                <a:gd name="connsiteX17" fmla="*/ 504826 w 540885"/>
                <a:gd name="connsiteY17" fmla="*/ 310163 h 496091"/>
                <a:gd name="connsiteX18" fmla="*/ 490459 w 540885"/>
                <a:gd name="connsiteY18" fmla="*/ 349039 h 496091"/>
                <a:gd name="connsiteX19" fmla="*/ 498910 w 540885"/>
                <a:gd name="connsiteY19" fmla="*/ 363688 h 496091"/>
                <a:gd name="connsiteX20" fmla="*/ 540885 w 540885"/>
                <a:gd name="connsiteY20" fmla="*/ 372421 h 496091"/>
                <a:gd name="connsiteX21" fmla="*/ 540885 w 540885"/>
                <a:gd name="connsiteY21" fmla="*/ 411860 h 496091"/>
                <a:gd name="connsiteX22" fmla="*/ 498910 w 540885"/>
                <a:gd name="connsiteY22" fmla="*/ 420593 h 496091"/>
                <a:gd name="connsiteX23" fmla="*/ 490459 w 540885"/>
                <a:gd name="connsiteY23" fmla="*/ 435242 h 496091"/>
                <a:gd name="connsiteX24" fmla="*/ 504826 w 540885"/>
                <a:gd name="connsiteY24" fmla="*/ 474118 h 496091"/>
                <a:gd name="connsiteX25" fmla="*/ 503699 w 540885"/>
                <a:gd name="connsiteY25" fmla="*/ 476090 h 496091"/>
                <a:gd name="connsiteX26" fmla="*/ 468767 w 540885"/>
                <a:gd name="connsiteY26" fmla="*/ 496091 h 496091"/>
                <a:gd name="connsiteX27" fmla="*/ 455809 w 540885"/>
                <a:gd name="connsiteY27" fmla="*/ 482851 h 496091"/>
                <a:gd name="connsiteX28" fmla="*/ 441160 w 540885"/>
                <a:gd name="connsiteY28" fmla="*/ 463695 h 496091"/>
                <a:gd name="connsiteX29" fmla="*/ 432708 w 540885"/>
                <a:gd name="connsiteY29" fmla="*/ 464258 h 496091"/>
                <a:gd name="connsiteX30" fmla="*/ 424257 w 540885"/>
                <a:gd name="connsiteY30" fmla="*/ 463695 h 496091"/>
                <a:gd name="connsiteX31" fmla="*/ 409608 w 540885"/>
                <a:gd name="connsiteY31" fmla="*/ 482851 h 496091"/>
                <a:gd name="connsiteX32" fmla="*/ 396649 w 540885"/>
                <a:gd name="connsiteY32" fmla="*/ 496091 h 496091"/>
                <a:gd name="connsiteX33" fmla="*/ 361717 w 540885"/>
                <a:gd name="connsiteY33" fmla="*/ 476090 h 496091"/>
                <a:gd name="connsiteX34" fmla="*/ 360591 w 540885"/>
                <a:gd name="connsiteY34" fmla="*/ 474118 h 496091"/>
                <a:gd name="connsiteX35" fmla="*/ 374958 w 540885"/>
                <a:gd name="connsiteY35" fmla="*/ 435242 h 496091"/>
                <a:gd name="connsiteX36" fmla="*/ 366507 w 540885"/>
                <a:gd name="connsiteY36" fmla="*/ 420593 h 496091"/>
                <a:gd name="connsiteX37" fmla="*/ 324532 w 540885"/>
                <a:gd name="connsiteY37" fmla="*/ 411860 h 496091"/>
                <a:gd name="connsiteX38" fmla="*/ 324532 w 540885"/>
                <a:gd name="connsiteY38" fmla="*/ 372421 h 496091"/>
                <a:gd name="connsiteX39" fmla="*/ 366507 w 540885"/>
                <a:gd name="connsiteY39" fmla="*/ 363688 h 496091"/>
                <a:gd name="connsiteX40" fmla="*/ 374958 w 540885"/>
                <a:gd name="connsiteY40" fmla="*/ 349039 h 496091"/>
                <a:gd name="connsiteX41" fmla="*/ 360591 w 540885"/>
                <a:gd name="connsiteY41" fmla="*/ 310163 h 496091"/>
                <a:gd name="connsiteX42" fmla="*/ 361717 w 540885"/>
                <a:gd name="connsiteY42" fmla="*/ 308190 h 496091"/>
                <a:gd name="connsiteX43" fmla="*/ 371577 w 540885"/>
                <a:gd name="connsiteY43" fmla="*/ 302557 h 496091"/>
                <a:gd name="connsiteX44" fmla="*/ 388198 w 540885"/>
                <a:gd name="connsiteY44" fmla="*/ 292978 h 496091"/>
                <a:gd name="connsiteX45" fmla="*/ 396649 w 540885"/>
                <a:gd name="connsiteY45" fmla="*/ 288471 h 496091"/>
                <a:gd name="connsiteX46" fmla="*/ 180295 w 540885"/>
                <a:gd name="connsiteY46" fmla="*/ 175788 h 496091"/>
                <a:gd name="connsiteX47" fmla="*/ 129305 w 540885"/>
                <a:gd name="connsiteY47" fmla="*/ 196916 h 496091"/>
                <a:gd name="connsiteX48" fmla="*/ 108177 w 540885"/>
                <a:gd name="connsiteY48" fmla="*/ 247906 h 496091"/>
                <a:gd name="connsiteX49" fmla="*/ 129305 w 540885"/>
                <a:gd name="connsiteY49" fmla="*/ 298895 h 496091"/>
                <a:gd name="connsiteX50" fmla="*/ 180295 w 540885"/>
                <a:gd name="connsiteY50" fmla="*/ 320024 h 496091"/>
                <a:gd name="connsiteX51" fmla="*/ 231285 w 540885"/>
                <a:gd name="connsiteY51" fmla="*/ 298895 h 496091"/>
                <a:gd name="connsiteX52" fmla="*/ 252413 w 540885"/>
                <a:gd name="connsiteY52" fmla="*/ 247906 h 496091"/>
                <a:gd name="connsiteX53" fmla="*/ 231285 w 540885"/>
                <a:gd name="connsiteY53" fmla="*/ 196916 h 496091"/>
                <a:gd name="connsiteX54" fmla="*/ 180295 w 540885"/>
                <a:gd name="connsiteY54" fmla="*/ 175788 h 496091"/>
                <a:gd name="connsiteX55" fmla="*/ 432708 w 540885"/>
                <a:gd name="connsiteY55" fmla="*/ 67611 h 496091"/>
                <a:gd name="connsiteX56" fmla="*/ 407355 w 540885"/>
                <a:gd name="connsiteY56" fmla="*/ 78316 h 496091"/>
                <a:gd name="connsiteX57" fmla="*/ 396649 w 540885"/>
                <a:gd name="connsiteY57" fmla="*/ 103670 h 496091"/>
                <a:gd name="connsiteX58" fmla="*/ 407213 w 540885"/>
                <a:gd name="connsiteY58" fmla="*/ 129165 h 496091"/>
                <a:gd name="connsiteX59" fmla="*/ 432708 w 540885"/>
                <a:gd name="connsiteY59" fmla="*/ 139729 h 496091"/>
                <a:gd name="connsiteX60" fmla="*/ 458203 w 540885"/>
                <a:gd name="connsiteY60" fmla="*/ 129165 h 496091"/>
                <a:gd name="connsiteX61" fmla="*/ 468767 w 540885"/>
                <a:gd name="connsiteY61" fmla="*/ 103670 h 496091"/>
                <a:gd name="connsiteX62" fmla="*/ 458063 w 540885"/>
                <a:gd name="connsiteY62" fmla="*/ 78316 h 496091"/>
                <a:gd name="connsiteX63" fmla="*/ 432708 w 540885"/>
                <a:gd name="connsiteY63" fmla="*/ 67611 h 496091"/>
                <a:gd name="connsiteX64" fmla="*/ 154096 w 540885"/>
                <a:gd name="connsiteY64" fmla="*/ 67611 h 496091"/>
                <a:gd name="connsiteX65" fmla="*/ 206494 w 540885"/>
                <a:gd name="connsiteY65" fmla="*/ 67611 h 496091"/>
                <a:gd name="connsiteX66" fmla="*/ 212128 w 540885"/>
                <a:gd name="connsiteY66" fmla="*/ 69724 h 496091"/>
                <a:gd name="connsiteX67" fmla="*/ 214945 w 540885"/>
                <a:gd name="connsiteY67" fmla="*/ 74654 h 496091"/>
                <a:gd name="connsiteX68" fmla="*/ 221425 w 540885"/>
                <a:gd name="connsiteY68" fmla="*/ 117755 h 496091"/>
                <a:gd name="connsiteX69" fmla="*/ 242553 w 540885"/>
                <a:gd name="connsiteY69" fmla="*/ 126488 h 496091"/>
                <a:gd name="connsiteX70" fmla="*/ 275795 w 540885"/>
                <a:gd name="connsiteY70" fmla="*/ 101416 h 496091"/>
                <a:gd name="connsiteX71" fmla="*/ 281429 w 540885"/>
                <a:gd name="connsiteY71" fmla="*/ 99444 h 496091"/>
                <a:gd name="connsiteX72" fmla="*/ 287345 w 540885"/>
                <a:gd name="connsiteY72" fmla="*/ 101698 h 496091"/>
                <a:gd name="connsiteX73" fmla="*/ 327911 w 540885"/>
                <a:gd name="connsiteY73" fmla="*/ 146772 h 496091"/>
                <a:gd name="connsiteX74" fmla="*/ 325939 w 540885"/>
                <a:gd name="connsiteY74" fmla="*/ 152124 h 496091"/>
                <a:gd name="connsiteX75" fmla="*/ 314108 w 540885"/>
                <a:gd name="connsiteY75" fmla="*/ 167337 h 496091"/>
                <a:gd name="connsiteX76" fmla="*/ 301430 w 540885"/>
                <a:gd name="connsiteY76" fmla="*/ 184239 h 496091"/>
                <a:gd name="connsiteX77" fmla="*/ 311008 w 540885"/>
                <a:gd name="connsiteY77" fmla="*/ 207339 h 496091"/>
                <a:gd name="connsiteX78" fmla="*/ 353828 w 540885"/>
                <a:gd name="connsiteY78" fmla="*/ 213819 h 496091"/>
                <a:gd name="connsiteX79" fmla="*/ 358618 w 540885"/>
                <a:gd name="connsiteY79" fmla="*/ 216777 h 496091"/>
                <a:gd name="connsiteX80" fmla="*/ 360590 w 540885"/>
                <a:gd name="connsiteY80" fmla="*/ 222270 h 496091"/>
                <a:gd name="connsiteX81" fmla="*/ 360590 w 540885"/>
                <a:gd name="connsiteY81" fmla="*/ 274386 h 496091"/>
                <a:gd name="connsiteX82" fmla="*/ 358618 w 540885"/>
                <a:gd name="connsiteY82" fmla="*/ 279880 h 496091"/>
                <a:gd name="connsiteX83" fmla="*/ 354110 w 540885"/>
                <a:gd name="connsiteY83" fmla="*/ 282838 h 496091"/>
                <a:gd name="connsiteX84" fmla="*/ 310445 w 540885"/>
                <a:gd name="connsiteY84" fmla="*/ 289599 h 496091"/>
                <a:gd name="connsiteX85" fmla="*/ 301430 w 540885"/>
                <a:gd name="connsiteY85" fmla="*/ 311009 h 496091"/>
                <a:gd name="connsiteX86" fmla="*/ 326784 w 540885"/>
                <a:gd name="connsiteY86" fmla="*/ 343405 h 496091"/>
                <a:gd name="connsiteX87" fmla="*/ 328756 w 540885"/>
                <a:gd name="connsiteY87" fmla="*/ 349040 h 496091"/>
                <a:gd name="connsiteX88" fmla="*/ 326784 w 540885"/>
                <a:gd name="connsiteY88" fmla="*/ 354392 h 496091"/>
                <a:gd name="connsiteX89" fmla="*/ 303543 w 540885"/>
                <a:gd name="connsiteY89" fmla="*/ 379605 h 496091"/>
                <a:gd name="connsiteX90" fmla="*/ 281429 w 540885"/>
                <a:gd name="connsiteY90" fmla="*/ 396367 h 496091"/>
                <a:gd name="connsiteX91" fmla="*/ 275513 w 540885"/>
                <a:gd name="connsiteY91" fmla="*/ 394395 h 496091"/>
                <a:gd name="connsiteX92" fmla="*/ 243117 w 540885"/>
                <a:gd name="connsiteY92" fmla="*/ 369041 h 496091"/>
                <a:gd name="connsiteX93" fmla="*/ 221425 w 540885"/>
                <a:gd name="connsiteY93" fmla="*/ 377774 h 496091"/>
                <a:gd name="connsiteX94" fmla="*/ 214945 w 540885"/>
                <a:gd name="connsiteY94" fmla="*/ 421439 h 496091"/>
                <a:gd name="connsiteX95" fmla="*/ 206494 w 540885"/>
                <a:gd name="connsiteY95" fmla="*/ 428200 h 496091"/>
                <a:gd name="connsiteX96" fmla="*/ 154096 w 540885"/>
                <a:gd name="connsiteY96" fmla="*/ 428200 h 496091"/>
                <a:gd name="connsiteX97" fmla="*/ 148462 w 540885"/>
                <a:gd name="connsiteY97" fmla="*/ 426087 h 496091"/>
                <a:gd name="connsiteX98" fmla="*/ 145645 w 540885"/>
                <a:gd name="connsiteY98" fmla="*/ 421158 h 496091"/>
                <a:gd name="connsiteX99" fmla="*/ 139165 w 540885"/>
                <a:gd name="connsiteY99" fmla="*/ 378056 h 496091"/>
                <a:gd name="connsiteX100" fmla="*/ 118037 w 540885"/>
                <a:gd name="connsiteY100" fmla="*/ 369323 h 496091"/>
                <a:gd name="connsiteX101" fmla="*/ 84795 w 540885"/>
                <a:gd name="connsiteY101" fmla="*/ 394395 h 496091"/>
                <a:gd name="connsiteX102" fmla="*/ 79161 w 540885"/>
                <a:gd name="connsiteY102" fmla="*/ 396367 h 496091"/>
                <a:gd name="connsiteX103" fmla="*/ 73245 w 540885"/>
                <a:gd name="connsiteY103" fmla="*/ 394113 h 496091"/>
                <a:gd name="connsiteX104" fmla="*/ 32679 w 540885"/>
                <a:gd name="connsiteY104" fmla="*/ 349040 h 496091"/>
                <a:gd name="connsiteX105" fmla="*/ 34651 w 540885"/>
                <a:gd name="connsiteY105" fmla="*/ 343687 h 496091"/>
                <a:gd name="connsiteX106" fmla="*/ 46201 w 540885"/>
                <a:gd name="connsiteY106" fmla="*/ 328756 h 496091"/>
                <a:gd name="connsiteX107" fmla="*/ 59441 w 540885"/>
                <a:gd name="connsiteY107" fmla="*/ 311572 h 496091"/>
                <a:gd name="connsiteX108" fmla="*/ 49581 w 540885"/>
                <a:gd name="connsiteY108" fmla="*/ 288472 h 496091"/>
                <a:gd name="connsiteX109" fmla="*/ 6761 w 540885"/>
                <a:gd name="connsiteY109" fmla="*/ 281711 h 496091"/>
                <a:gd name="connsiteX110" fmla="*/ 1972 w 540885"/>
                <a:gd name="connsiteY110" fmla="*/ 279034 h 496091"/>
                <a:gd name="connsiteX111" fmla="*/ 0 w 540885"/>
                <a:gd name="connsiteY111" fmla="*/ 273541 h 496091"/>
                <a:gd name="connsiteX112" fmla="*/ 0 w 540885"/>
                <a:gd name="connsiteY112" fmla="*/ 221425 h 496091"/>
                <a:gd name="connsiteX113" fmla="*/ 1972 w 540885"/>
                <a:gd name="connsiteY113" fmla="*/ 215932 h 496091"/>
                <a:gd name="connsiteX114" fmla="*/ 6480 w 540885"/>
                <a:gd name="connsiteY114" fmla="*/ 212973 h 496091"/>
                <a:gd name="connsiteX115" fmla="*/ 50145 w 540885"/>
                <a:gd name="connsiteY115" fmla="*/ 206213 h 496091"/>
                <a:gd name="connsiteX116" fmla="*/ 59159 w 540885"/>
                <a:gd name="connsiteY116" fmla="*/ 184802 h 496091"/>
                <a:gd name="connsiteX117" fmla="*/ 33806 w 540885"/>
                <a:gd name="connsiteY117" fmla="*/ 152406 h 496091"/>
                <a:gd name="connsiteX118" fmla="*/ 31834 w 540885"/>
                <a:gd name="connsiteY118" fmla="*/ 146772 h 496091"/>
                <a:gd name="connsiteX119" fmla="*/ 33806 w 540885"/>
                <a:gd name="connsiteY119" fmla="*/ 141137 h 496091"/>
                <a:gd name="connsiteX120" fmla="*/ 56906 w 540885"/>
                <a:gd name="connsiteY120" fmla="*/ 116065 h 496091"/>
                <a:gd name="connsiteX121" fmla="*/ 79161 w 540885"/>
                <a:gd name="connsiteY121" fmla="*/ 99444 h 496091"/>
                <a:gd name="connsiteX122" fmla="*/ 85077 w 540885"/>
                <a:gd name="connsiteY122" fmla="*/ 101416 h 496091"/>
                <a:gd name="connsiteX123" fmla="*/ 117474 w 540885"/>
                <a:gd name="connsiteY123" fmla="*/ 126770 h 496091"/>
                <a:gd name="connsiteX124" fmla="*/ 139165 w 540885"/>
                <a:gd name="connsiteY124" fmla="*/ 117755 h 496091"/>
                <a:gd name="connsiteX125" fmla="*/ 145645 w 540885"/>
                <a:gd name="connsiteY125" fmla="*/ 74372 h 496091"/>
                <a:gd name="connsiteX126" fmla="*/ 154096 w 540885"/>
                <a:gd name="connsiteY126" fmla="*/ 67611 h 496091"/>
                <a:gd name="connsiteX127" fmla="*/ 396649 w 540885"/>
                <a:gd name="connsiteY127" fmla="*/ 0 h 496091"/>
                <a:gd name="connsiteX128" fmla="*/ 409608 w 540885"/>
                <a:gd name="connsiteY128" fmla="*/ 13100 h 496091"/>
                <a:gd name="connsiteX129" fmla="*/ 424257 w 540885"/>
                <a:gd name="connsiteY129" fmla="*/ 32116 h 496091"/>
                <a:gd name="connsiteX130" fmla="*/ 432708 w 540885"/>
                <a:gd name="connsiteY130" fmla="*/ 31552 h 496091"/>
                <a:gd name="connsiteX131" fmla="*/ 441160 w 540885"/>
                <a:gd name="connsiteY131" fmla="*/ 32116 h 496091"/>
                <a:gd name="connsiteX132" fmla="*/ 467077 w 540885"/>
                <a:gd name="connsiteY132" fmla="*/ 564 h 496091"/>
                <a:gd name="connsiteX133" fmla="*/ 468767 w 540885"/>
                <a:gd name="connsiteY133" fmla="*/ 0 h 496091"/>
                <a:gd name="connsiteX134" fmla="*/ 503699 w 540885"/>
                <a:gd name="connsiteY134" fmla="*/ 19720 h 496091"/>
                <a:gd name="connsiteX135" fmla="*/ 504826 w 540885"/>
                <a:gd name="connsiteY135" fmla="*/ 21692 h 496091"/>
                <a:gd name="connsiteX136" fmla="*/ 490459 w 540885"/>
                <a:gd name="connsiteY136" fmla="*/ 60568 h 496091"/>
                <a:gd name="connsiteX137" fmla="*/ 498910 w 540885"/>
                <a:gd name="connsiteY137" fmla="*/ 75217 h 496091"/>
                <a:gd name="connsiteX138" fmla="*/ 540885 w 540885"/>
                <a:gd name="connsiteY138" fmla="*/ 83950 h 496091"/>
                <a:gd name="connsiteX139" fmla="*/ 540885 w 540885"/>
                <a:gd name="connsiteY139" fmla="*/ 123390 h 496091"/>
                <a:gd name="connsiteX140" fmla="*/ 498910 w 540885"/>
                <a:gd name="connsiteY140" fmla="*/ 132123 h 496091"/>
                <a:gd name="connsiteX141" fmla="*/ 490459 w 540885"/>
                <a:gd name="connsiteY141" fmla="*/ 146772 h 496091"/>
                <a:gd name="connsiteX142" fmla="*/ 504826 w 540885"/>
                <a:gd name="connsiteY142" fmla="*/ 185648 h 496091"/>
                <a:gd name="connsiteX143" fmla="*/ 503699 w 540885"/>
                <a:gd name="connsiteY143" fmla="*/ 187619 h 496091"/>
                <a:gd name="connsiteX144" fmla="*/ 468767 w 540885"/>
                <a:gd name="connsiteY144" fmla="*/ 207621 h 496091"/>
                <a:gd name="connsiteX145" fmla="*/ 455809 w 540885"/>
                <a:gd name="connsiteY145" fmla="*/ 194381 h 496091"/>
                <a:gd name="connsiteX146" fmla="*/ 441160 w 540885"/>
                <a:gd name="connsiteY146" fmla="*/ 175224 h 496091"/>
                <a:gd name="connsiteX147" fmla="*/ 432708 w 540885"/>
                <a:gd name="connsiteY147" fmla="*/ 175788 h 496091"/>
                <a:gd name="connsiteX148" fmla="*/ 424257 w 540885"/>
                <a:gd name="connsiteY148" fmla="*/ 175224 h 496091"/>
                <a:gd name="connsiteX149" fmla="*/ 409608 w 540885"/>
                <a:gd name="connsiteY149" fmla="*/ 194381 h 496091"/>
                <a:gd name="connsiteX150" fmla="*/ 396649 w 540885"/>
                <a:gd name="connsiteY150" fmla="*/ 207621 h 496091"/>
                <a:gd name="connsiteX151" fmla="*/ 361717 w 540885"/>
                <a:gd name="connsiteY151" fmla="*/ 187619 h 496091"/>
                <a:gd name="connsiteX152" fmla="*/ 360591 w 540885"/>
                <a:gd name="connsiteY152" fmla="*/ 185648 h 496091"/>
                <a:gd name="connsiteX153" fmla="*/ 374958 w 540885"/>
                <a:gd name="connsiteY153" fmla="*/ 146772 h 496091"/>
                <a:gd name="connsiteX154" fmla="*/ 366507 w 540885"/>
                <a:gd name="connsiteY154" fmla="*/ 132123 h 496091"/>
                <a:gd name="connsiteX155" fmla="*/ 324532 w 540885"/>
                <a:gd name="connsiteY155" fmla="*/ 123390 h 496091"/>
                <a:gd name="connsiteX156" fmla="*/ 324532 w 540885"/>
                <a:gd name="connsiteY156" fmla="*/ 83950 h 496091"/>
                <a:gd name="connsiteX157" fmla="*/ 366507 w 540885"/>
                <a:gd name="connsiteY157" fmla="*/ 75217 h 496091"/>
                <a:gd name="connsiteX158" fmla="*/ 374958 w 540885"/>
                <a:gd name="connsiteY158" fmla="*/ 60568 h 496091"/>
                <a:gd name="connsiteX159" fmla="*/ 360591 w 540885"/>
                <a:gd name="connsiteY159" fmla="*/ 21692 h 496091"/>
                <a:gd name="connsiteX160" fmla="*/ 361717 w 540885"/>
                <a:gd name="connsiteY160" fmla="*/ 19720 h 496091"/>
                <a:gd name="connsiteX161" fmla="*/ 371577 w 540885"/>
                <a:gd name="connsiteY161" fmla="*/ 14086 h 496091"/>
                <a:gd name="connsiteX162" fmla="*/ 388198 w 540885"/>
                <a:gd name="connsiteY162" fmla="*/ 4508 h 496091"/>
                <a:gd name="connsiteX163" fmla="*/ 396649 w 540885"/>
                <a:gd name="connsiteY163" fmla="*/ 0 h 49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40885" h="496091">
                  <a:moveTo>
                    <a:pt x="432708" y="356081"/>
                  </a:moveTo>
                  <a:cubicBezTo>
                    <a:pt x="422942" y="356081"/>
                    <a:pt x="414491" y="359650"/>
                    <a:pt x="407355" y="366786"/>
                  </a:cubicBezTo>
                  <a:cubicBezTo>
                    <a:pt x="400218" y="373923"/>
                    <a:pt x="396649" y="382375"/>
                    <a:pt x="396649" y="392140"/>
                  </a:cubicBezTo>
                  <a:cubicBezTo>
                    <a:pt x="396649" y="402094"/>
                    <a:pt x="400171" y="410592"/>
                    <a:pt x="407213" y="417635"/>
                  </a:cubicBezTo>
                  <a:cubicBezTo>
                    <a:pt x="414257" y="424678"/>
                    <a:pt x="422754" y="428199"/>
                    <a:pt x="432708" y="428199"/>
                  </a:cubicBezTo>
                  <a:cubicBezTo>
                    <a:pt x="442662" y="428199"/>
                    <a:pt x="451161" y="424678"/>
                    <a:pt x="458203" y="417635"/>
                  </a:cubicBezTo>
                  <a:cubicBezTo>
                    <a:pt x="465246" y="410592"/>
                    <a:pt x="468767" y="402094"/>
                    <a:pt x="468767" y="392140"/>
                  </a:cubicBezTo>
                  <a:cubicBezTo>
                    <a:pt x="468767" y="382375"/>
                    <a:pt x="465199" y="373923"/>
                    <a:pt x="458063" y="366786"/>
                  </a:cubicBezTo>
                  <a:cubicBezTo>
                    <a:pt x="450925" y="359650"/>
                    <a:pt x="442474" y="356081"/>
                    <a:pt x="432708" y="356081"/>
                  </a:cubicBezTo>
                  <a:close/>
                  <a:moveTo>
                    <a:pt x="396649" y="288471"/>
                  </a:moveTo>
                  <a:cubicBezTo>
                    <a:pt x="398152" y="288471"/>
                    <a:pt x="402471" y="292838"/>
                    <a:pt x="409608" y="301570"/>
                  </a:cubicBezTo>
                  <a:cubicBezTo>
                    <a:pt x="416744" y="310303"/>
                    <a:pt x="421628" y="316642"/>
                    <a:pt x="424257" y="320586"/>
                  </a:cubicBezTo>
                  <a:cubicBezTo>
                    <a:pt x="428013" y="320210"/>
                    <a:pt x="430830" y="320023"/>
                    <a:pt x="432708" y="320023"/>
                  </a:cubicBezTo>
                  <a:cubicBezTo>
                    <a:pt x="434586" y="320023"/>
                    <a:pt x="437403" y="320210"/>
                    <a:pt x="441160" y="320586"/>
                  </a:cubicBezTo>
                  <a:cubicBezTo>
                    <a:pt x="450738" y="307251"/>
                    <a:pt x="459377" y="296734"/>
                    <a:pt x="467077" y="289034"/>
                  </a:cubicBezTo>
                  <a:lnTo>
                    <a:pt x="468767" y="288471"/>
                  </a:lnTo>
                  <a:cubicBezTo>
                    <a:pt x="469518" y="288471"/>
                    <a:pt x="481162" y="295044"/>
                    <a:pt x="503699" y="308190"/>
                  </a:cubicBezTo>
                  <a:cubicBezTo>
                    <a:pt x="504450" y="308754"/>
                    <a:pt x="504826" y="309412"/>
                    <a:pt x="504826" y="310163"/>
                  </a:cubicBezTo>
                  <a:cubicBezTo>
                    <a:pt x="504826" y="314858"/>
                    <a:pt x="500037" y="327816"/>
                    <a:pt x="490459" y="349039"/>
                  </a:cubicBezTo>
                  <a:cubicBezTo>
                    <a:pt x="493651" y="353358"/>
                    <a:pt x="496468" y="358241"/>
                    <a:pt x="498910" y="363688"/>
                  </a:cubicBezTo>
                  <a:cubicBezTo>
                    <a:pt x="526893" y="366505"/>
                    <a:pt x="540885" y="369416"/>
                    <a:pt x="540885" y="372421"/>
                  </a:cubicBezTo>
                  <a:lnTo>
                    <a:pt x="540885" y="411860"/>
                  </a:lnTo>
                  <a:cubicBezTo>
                    <a:pt x="540885" y="414865"/>
                    <a:pt x="526893" y="417776"/>
                    <a:pt x="498910" y="420593"/>
                  </a:cubicBezTo>
                  <a:cubicBezTo>
                    <a:pt x="496657" y="425664"/>
                    <a:pt x="493839" y="430547"/>
                    <a:pt x="490459" y="435242"/>
                  </a:cubicBezTo>
                  <a:cubicBezTo>
                    <a:pt x="500037" y="456464"/>
                    <a:pt x="504826" y="469423"/>
                    <a:pt x="504826" y="474118"/>
                  </a:cubicBezTo>
                  <a:cubicBezTo>
                    <a:pt x="504826" y="474869"/>
                    <a:pt x="504450" y="475527"/>
                    <a:pt x="503699" y="476090"/>
                  </a:cubicBezTo>
                  <a:cubicBezTo>
                    <a:pt x="480787" y="489424"/>
                    <a:pt x="469143" y="496091"/>
                    <a:pt x="468767" y="496091"/>
                  </a:cubicBezTo>
                  <a:cubicBezTo>
                    <a:pt x="467265" y="496091"/>
                    <a:pt x="462945" y="491678"/>
                    <a:pt x="455809" y="482851"/>
                  </a:cubicBezTo>
                  <a:cubicBezTo>
                    <a:pt x="448672" y="474024"/>
                    <a:pt x="443788" y="467639"/>
                    <a:pt x="441160" y="463695"/>
                  </a:cubicBezTo>
                  <a:cubicBezTo>
                    <a:pt x="437403" y="464070"/>
                    <a:pt x="434586" y="464258"/>
                    <a:pt x="432708" y="464258"/>
                  </a:cubicBezTo>
                  <a:cubicBezTo>
                    <a:pt x="430830" y="464258"/>
                    <a:pt x="428013" y="464070"/>
                    <a:pt x="424257" y="463695"/>
                  </a:cubicBezTo>
                  <a:cubicBezTo>
                    <a:pt x="421628" y="467639"/>
                    <a:pt x="416744" y="474024"/>
                    <a:pt x="409608" y="482851"/>
                  </a:cubicBezTo>
                  <a:cubicBezTo>
                    <a:pt x="402471" y="491678"/>
                    <a:pt x="398152" y="496091"/>
                    <a:pt x="396649" y="496091"/>
                  </a:cubicBezTo>
                  <a:cubicBezTo>
                    <a:pt x="396274" y="496091"/>
                    <a:pt x="384629" y="489424"/>
                    <a:pt x="361717" y="476090"/>
                  </a:cubicBezTo>
                  <a:cubicBezTo>
                    <a:pt x="360966" y="475527"/>
                    <a:pt x="360591" y="474869"/>
                    <a:pt x="360591" y="474118"/>
                  </a:cubicBezTo>
                  <a:cubicBezTo>
                    <a:pt x="360591" y="469423"/>
                    <a:pt x="365380" y="456464"/>
                    <a:pt x="374958" y="435242"/>
                  </a:cubicBezTo>
                  <a:cubicBezTo>
                    <a:pt x="371577" y="430547"/>
                    <a:pt x="368760" y="425664"/>
                    <a:pt x="366507" y="420593"/>
                  </a:cubicBezTo>
                  <a:cubicBezTo>
                    <a:pt x="338523" y="417776"/>
                    <a:pt x="324532" y="414865"/>
                    <a:pt x="324532" y="411860"/>
                  </a:cubicBezTo>
                  <a:lnTo>
                    <a:pt x="324532" y="372421"/>
                  </a:lnTo>
                  <a:cubicBezTo>
                    <a:pt x="324532" y="369416"/>
                    <a:pt x="338523" y="366505"/>
                    <a:pt x="366507" y="363688"/>
                  </a:cubicBezTo>
                  <a:cubicBezTo>
                    <a:pt x="368948" y="358241"/>
                    <a:pt x="371765" y="353358"/>
                    <a:pt x="374958" y="349039"/>
                  </a:cubicBezTo>
                  <a:cubicBezTo>
                    <a:pt x="365380" y="327816"/>
                    <a:pt x="360591" y="314858"/>
                    <a:pt x="360591" y="310163"/>
                  </a:cubicBezTo>
                  <a:cubicBezTo>
                    <a:pt x="360591" y="309412"/>
                    <a:pt x="360966" y="308754"/>
                    <a:pt x="361717" y="308190"/>
                  </a:cubicBezTo>
                  <a:cubicBezTo>
                    <a:pt x="362468" y="307815"/>
                    <a:pt x="365755" y="305937"/>
                    <a:pt x="371577" y="302557"/>
                  </a:cubicBezTo>
                  <a:cubicBezTo>
                    <a:pt x="377399" y="299176"/>
                    <a:pt x="382939" y="295983"/>
                    <a:pt x="388198" y="292978"/>
                  </a:cubicBezTo>
                  <a:cubicBezTo>
                    <a:pt x="393457" y="289974"/>
                    <a:pt x="396274" y="288471"/>
                    <a:pt x="396649" y="288471"/>
                  </a:cubicBezTo>
                  <a:close/>
                  <a:moveTo>
                    <a:pt x="180295" y="175788"/>
                  </a:moveTo>
                  <a:cubicBezTo>
                    <a:pt x="160387" y="175788"/>
                    <a:pt x="143391" y="182830"/>
                    <a:pt x="129305" y="196916"/>
                  </a:cubicBezTo>
                  <a:cubicBezTo>
                    <a:pt x="115220" y="211002"/>
                    <a:pt x="108177" y="227998"/>
                    <a:pt x="108177" y="247906"/>
                  </a:cubicBezTo>
                  <a:cubicBezTo>
                    <a:pt x="108177" y="267813"/>
                    <a:pt x="115220" y="284810"/>
                    <a:pt x="129305" y="298895"/>
                  </a:cubicBezTo>
                  <a:cubicBezTo>
                    <a:pt x="143391" y="312981"/>
                    <a:pt x="160387" y="320024"/>
                    <a:pt x="180295" y="320024"/>
                  </a:cubicBezTo>
                  <a:cubicBezTo>
                    <a:pt x="200202" y="320024"/>
                    <a:pt x="217199" y="312981"/>
                    <a:pt x="231285" y="298895"/>
                  </a:cubicBezTo>
                  <a:cubicBezTo>
                    <a:pt x="245370" y="284810"/>
                    <a:pt x="252413" y="267813"/>
                    <a:pt x="252413" y="247906"/>
                  </a:cubicBezTo>
                  <a:cubicBezTo>
                    <a:pt x="252413" y="227998"/>
                    <a:pt x="245370" y="211002"/>
                    <a:pt x="231285" y="196916"/>
                  </a:cubicBezTo>
                  <a:cubicBezTo>
                    <a:pt x="217199" y="182830"/>
                    <a:pt x="200202" y="175788"/>
                    <a:pt x="180295" y="175788"/>
                  </a:cubicBezTo>
                  <a:close/>
                  <a:moveTo>
                    <a:pt x="432708" y="67611"/>
                  </a:moveTo>
                  <a:cubicBezTo>
                    <a:pt x="422942" y="67611"/>
                    <a:pt x="414491" y="71179"/>
                    <a:pt x="407355" y="78316"/>
                  </a:cubicBezTo>
                  <a:cubicBezTo>
                    <a:pt x="400218" y="85453"/>
                    <a:pt x="396649" y="93904"/>
                    <a:pt x="396649" y="103670"/>
                  </a:cubicBezTo>
                  <a:cubicBezTo>
                    <a:pt x="396649" y="113624"/>
                    <a:pt x="400171" y="122122"/>
                    <a:pt x="407213" y="129165"/>
                  </a:cubicBezTo>
                  <a:cubicBezTo>
                    <a:pt x="414257" y="136207"/>
                    <a:pt x="422754" y="139729"/>
                    <a:pt x="432708" y="139729"/>
                  </a:cubicBezTo>
                  <a:cubicBezTo>
                    <a:pt x="442662" y="139729"/>
                    <a:pt x="451161" y="136207"/>
                    <a:pt x="458203" y="129165"/>
                  </a:cubicBezTo>
                  <a:cubicBezTo>
                    <a:pt x="465246" y="122122"/>
                    <a:pt x="468767" y="113624"/>
                    <a:pt x="468767" y="103670"/>
                  </a:cubicBezTo>
                  <a:cubicBezTo>
                    <a:pt x="468767" y="93904"/>
                    <a:pt x="465199" y="85453"/>
                    <a:pt x="458063" y="78316"/>
                  </a:cubicBezTo>
                  <a:cubicBezTo>
                    <a:pt x="450925" y="71179"/>
                    <a:pt x="442474" y="67611"/>
                    <a:pt x="432708" y="67611"/>
                  </a:cubicBezTo>
                  <a:close/>
                  <a:moveTo>
                    <a:pt x="154096" y="67611"/>
                  </a:moveTo>
                  <a:lnTo>
                    <a:pt x="206494" y="67611"/>
                  </a:lnTo>
                  <a:cubicBezTo>
                    <a:pt x="208559" y="67611"/>
                    <a:pt x="210438" y="68315"/>
                    <a:pt x="212128" y="69724"/>
                  </a:cubicBezTo>
                  <a:cubicBezTo>
                    <a:pt x="213818" y="71132"/>
                    <a:pt x="214757" y="72775"/>
                    <a:pt x="214945" y="74654"/>
                  </a:cubicBezTo>
                  <a:lnTo>
                    <a:pt x="221425" y="117755"/>
                  </a:lnTo>
                  <a:cubicBezTo>
                    <a:pt x="227810" y="119633"/>
                    <a:pt x="234853" y="122545"/>
                    <a:pt x="242553" y="126488"/>
                  </a:cubicBezTo>
                  <a:lnTo>
                    <a:pt x="275795" y="101416"/>
                  </a:lnTo>
                  <a:cubicBezTo>
                    <a:pt x="277297" y="100102"/>
                    <a:pt x="279175" y="99444"/>
                    <a:pt x="281429" y="99444"/>
                  </a:cubicBezTo>
                  <a:cubicBezTo>
                    <a:pt x="283494" y="99444"/>
                    <a:pt x="285466" y="100195"/>
                    <a:pt x="287345" y="101698"/>
                  </a:cubicBezTo>
                  <a:cubicBezTo>
                    <a:pt x="314389" y="126676"/>
                    <a:pt x="327911" y="141701"/>
                    <a:pt x="327911" y="146772"/>
                  </a:cubicBezTo>
                  <a:cubicBezTo>
                    <a:pt x="327911" y="148462"/>
                    <a:pt x="327254" y="150246"/>
                    <a:pt x="325939" y="152124"/>
                  </a:cubicBezTo>
                  <a:cubicBezTo>
                    <a:pt x="323685" y="155129"/>
                    <a:pt x="319742" y="160200"/>
                    <a:pt x="314108" y="167337"/>
                  </a:cubicBezTo>
                  <a:cubicBezTo>
                    <a:pt x="308473" y="174473"/>
                    <a:pt x="304248" y="180107"/>
                    <a:pt x="301430" y="184239"/>
                  </a:cubicBezTo>
                  <a:cubicBezTo>
                    <a:pt x="305749" y="193254"/>
                    <a:pt x="308942" y="200954"/>
                    <a:pt x="311008" y="207339"/>
                  </a:cubicBezTo>
                  <a:lnTo>
                    <a:pt x="353828" y="213819"/>
                  </a:lnTo>
                  <a:cubicBezTo>
                    <a:pt x="355706" y="214194"/>
                    <a:pt x="357303" y="215180"/>
                    <a:pt x="358618" y="216777"/>
                  </a:cubicBezTo>
                  <a:cubicBezTo>
                    <a:pt x="359932" y="218373"/>
                    <a:pt x="360590" y="220204"/>
                    <a:pt x="360590" y="222270"/>
                  </a:cubicBezTo>
                  <a:lnTo>
                    <a:pt x="360590" y="274386"/>
                  </a:lnTo>
                  <a:cubicBezTo>
                    <a:pt x="360590" y="276265"/>
                    <a:pt x="359932" y="278095"/>
                    <a:pt x="358618" y="279880"/>
                  </a:cubicBezTo>
                  <a:cubicBezTo>
                    <a:pt x="357303" y="281664"/>
                    <a:pt x="355800" y="282650"/>
                    <a:pt x="354110" y="282838"/>
                  </a:cubicBezTo>
                  <a:lnTo>
                    <a:pt x="310445" y="289599"/>
                  </a:lnTo>
                  <a:cubicBezTo>
                    <a:pt x="308379" y="296172"/>
                    <a:pt x="305374" y="303309"/>
                    <a:pt x="301430" y="311009"/>
                  </a:cubicBezTo>
                  <a:cubicBezTo>
                    <a:pt x="307816" y="320024"/>
                    <a:pt x="316267" y="330822"/>
                    <a:pt x="326784" y="343405"/>
                  </a:cubicBezTo>
                  <a:cubicBezTo>
                    <a:pt x="328099" y="345283"/>
                    <a:pt x="328756" y="347161"/>
                    <a:pt x="328756" y="349040"/>
                  </a:cubicBezTo>
                  <a:cubicBezTo>
                    <a:pt x="328756" y="351293"/>
                    <a:pt x="328099" y="353077"/>
                    <a:pt x="326784" y="354392"/>
                  </a:cubicBezTo>
                  <a:cubicBezTo>
                    <a:pt x="322465" y="360026"/>
                    <a:pt x="314717" y="368431"/>
                    <a:pt x="303543" y="379605"/>
                  </a:cubicBezTo>
                  <a:cubicBezTo>
                    <a:pt x="292368" y="390780"/>
                    <a:pt x="284997" y="396367"/>
                    <a:pt x="281429" y="396367"/>
                  </a:cubicBezTo>
                  <a:cubicBezTo>
                    <a:pt x="279363" y="396367"/>
                    <a:pt x="277391" y="395710"/>
                    <a:pt x="275513" y="394395"/>
                  </a:cubicBezTo>
                  <a:lnTo>
                    <a:pt x="243117" y="369041"/>
                  </a:lnTo>
                  <a:cubicBezTo>
                    <a:pt x="236167" y="372609"/>
                    <a:pt x="228937" y="375520"/>
                    <a:pt x="221425" y="377774"/>
                  </a:cubicBezTo>
                  <a:cubicBezTo>
                    <a:pt x="219359" y="398057"/>
                    <a:pt x="217199" y="412612"/>
                    <a:pt x="214945" y="421439"/>
                  </a:cubicBezTo>
                  <a:cubicBezTo>
                    <a:pt x="213630" y="425947"/>
                    <a:pt x="210813" y="428200"/>
                    <a:pt x="206494" y="428200"/>
                  </a:cubicBezTo>
                  <a:lnTo>
                    <a:pt x="154096" y="428200"/>
                  </a:lnTo>
                  <a:cubicBezTo>
                    <a:pt x="152030" y="428200"/>
                    <a:pt x="150152" y="427496"/>
                    <a:pt x="148462" y="426087"/>
                  </a:cubicBezTo>
                  <a:cubicBezTo>
                    <a:pt x="146771" y="424679"/>
                    <a:pt x="145832" y="423035"/>
                    <a:pt x="145645" y="421158"/>
                  </a:cubicBezTo>
                  <a:lnTo>
                    <a:pt x="139165" y="378056"/>
                  </a:lnTo>
                  <a:cubicBezTo>
                    <a:pt x="132779" y="376178"/>
                    <a:pt x="125737" y="373267"/>
                    <a:pt x="118037" y="369323"/>
                  </a:cubicBezTo>
                  <a:lnTo>
                    <a:pt x="84795" y="394395"/>
                  </a:lnTo>
                  <a:cubicBezTo>
                    <a:pt x="83480" y="395710"/>
                    <a:pt x="81602" y="396367"/>
                    <a:pt x="79161" y="396367"/>
                  </a:cubicBezTo>
                  <a:cubicBezTo>
                    <a:pt x="77095" y="396367"/>
                    <a:pt x="75123" y="395616"/>
                    <a:pt x="73245" y="394113"/>
                  </a:cubicBezTo>
                  <a:cubicBezTo>
                    <a:pt x="46201" y="369135"/>
                    <a:pt x="32679" y="354110"/>
                    <a:pt x="32679" y="349040"/>
                  </a:cubicBezTo>
                  <a:cubicBezTo>
                    <a:pt x="32679" y="347349"/>
                    <a:pt x="33336" y="345565"/>
                    <a:pt x="34651" y="343687"/>
                  </a:cubicBezTo>
                  <a:cubicBezTo>
                    <a:pt x="36529" y="341058"/>
                    <a:pt x="40378" y="336081"/>
                    <a:pt x="46201" y="328756"/>
                  </a:cubicBezTo>
                  <a:cubicBezTo>
                    <a:pt x="52022" y="321432"/>
                    <a:pt x="56436" y="315704"/>
                    <a:pt x="59441" y="311572"/>
                  </a:cubicBezTo>
                  <a:cubicBezTo>
                    <a:pt x="55122" y="303309"/>
                    <a:pt x="51835" y="295608"/>
                    <a:pt x="49581" y="288472"/>
                  </a:cubicBezTo>
                  <a:lnTo>
                    <a:pt x="6761" y="281711"/>
                  </a:lnTo>
                  <a:cubicBezTo>
                    <a:pt x="4883" y="281523"/>
                    <a:pt x="3286" y="280631"/>
                    <a:pt x="1972" y="279034"/>
                  </a:cubicBezTo>
                  <a:cubicBezTo>
                    <a:pt x="657" y="277438"/>
                    <a:pt x="0" y="275607"/>
                    <a:pt x="0" y="273541"/>
                  </a:cubicBezTo>
                  <a:lnTo>
                    <a:pt x="0" y="221425"/>
                  </a:lnTo>
                  <a:cubicBezTo>
                    <a:pt x="0" y="219547"/>
                    <a:pt x="657" y="217715"/>
                    <a:pt x="1972" y="215932"/>
                  </a:cubicBezTo>
                  <a:cubicBezTo>
                    <a:pt x="3286" y="214147"/>
                    <a:pt x="4789" y="213161"/>
                    <a:pt x="6480" y="212973"/>
                  </a:cubicBezTo>
                  <a:lnTo>
                    <a:pt x="50145" y="206213"/>
                  </a:lnTo>
                  <a:cubicBezTo>
                    <a:pt x="52210" y="199639"/>
                    <a:pt x="55215" y="192503"/>
                    <a:pt x="59159" y="184802"/>
                  </a:cubicBezTo>
                  <a:cubicBezTo>
                    <a:pt x="52774" y="175788"/>
                    <a:pt x="44322" y="164989"/>
                    <a:pt x="33806" y="152406"/>
                  </a:cubicBezTo>
                  <a:cubicBezTo>
                    <a:pt x="32490" y="150340"/>
                    <a:pt x="31834" y="148462"/>
                    <a:pt x="31834" y="146772"/>
                  </a:cubicBezTo>
                  <a:cubicBezTo>
                    <a:pt x="31834" y="144518"/>
                    <a:pt x="32490" y="142640"/>
                    <a:pt x="33806" y="141137"/>
                  </a:cubicBezTo>
                  <a:cubicBezTo>
                    <a:pt x="37937" y="135503"/>
                    <a:pt x="45637" y="127146"/>
                    <a:pt x="56906" y="116065"/>
                  </a:cubicBezTo>
                  <a:cubicBezTo>
                    <a:pt x="68174" y="104984"/>
                    <a:pt x="75592" y="99444"/>
                    <a:pt x="79161" y="99444"/>
                  </a:cubicBezTo>
                  <a:cubicBezTo>
                    <a:pt x="81226" y="99444"/>
                    <a:pt x="83198" y="100102"/>
                    <a:pt x="85077" y="101416"/>
                  </a:cubicBezTo>
                  <a:lnTo>
                    <a:pt x="117474" y="126770"/>
                  </a:lnTo>
                  <a:cubicBezTo>
                    <a:pt x="123859" y="123390"/>
                    <a:pt x="131089" y="120385"/>
                    <a:pt x="139165" y="117755"/>
                  </a:cubicBezTo>
                  <a:cubicBezTo>
                    <a:pt x="141231" y="97472"/>
                    <a:pt x="143391" y="83011"/>
                    <a:pt x="145645" y="74372"/>
                  </a:cubicBezTo>
                  <a:cubicBezTo>
                    <a:pt x="146959" y="69865"/>
                    <a:pt x="149776" y="67611"/>
                    <a:pt x="154096" y="67611"/>
                  </a:cubicBezTo>
                  <a:close/>
                  <a:moveTo>
                    <a:pt x="396649" y="0"/>
                  </a:moveTo>
                  <a:cubicBezTo>
                    <a:pt x="398152" y="0"/>
                    <a:pt x="402471" y="4367"/>
                    <a:pt x="409608" y="13100"/>
                  </a:cubicBezTo>
                  <a:cubicBezTo>
                    <a:pt x="416744" y="21833"/>
                    <a:pt x="421628" y="28171"/>
                    <a:pt x="424257" y="32116"/>
                  </a:cubicBezTo>
                  <a:cubicBezTo>
                    <a:pt x="428013" y="31740"/>
                    <a:pt x="430830" y="31552"/>
                    <a:pt x="432708" y="31552"/>
                  </a:cubicBezTo>
                  <a:cubicBezTo>
                    <a:pt x="434586" y="31552"/>
                    <a:pt x="437403" y="31740"/>
                    <a:pt x="441160" y="32116"/>
                  </a:cubicBezTo>
                  <a:cubicBezTo>
                    <a:pt x="450738" y="18781"/>
                    <a:pt x="459377" y="8264"/>
                    <a:pt x="467077" y="564"/>
                  </a:cubicBezTo>
                  <a:lnTo>
                    <a:pt x="468767" y="0"/>
                  </a:lnTo>
                  <a:cubicBezTo>
                    <a:pt x="469518" y="0"/>
                    <a:pt x="481162" y="6574"/>
                    <a:pt x="503699" y="19720"/>
                  </a:cubicBezTo>
                  <a:cubicBezTo>
                    <a:pt x="504450" y="20284"/>
                    <a:pt x="504826" y="20941"/>
                    <a:pt x="504826" y="21692"/>
                  </a:cubicBezTo>
                  <a:cubicBezTo>
                    <a:pt x="504826" y="26387"/>
                    <a:pt x="500037" y="39346"/>
                    <a:pt x="490459" y="60568"/>
                  </a:cubicBezTo>
                  <a:cubicBezTo>
                    <a:pt x="493651" y="64888"/>
                    <a:pt x="496468" y="69771"/>
                    <a:pt x="498910" y="75217"/>
                  </a:cubicBezTo>
                  <a:cubicBezTo>
                    <a:pt x="526893" y="78034"/>
                    <a:pt x="540885" y="80945"/>
                    <a:pt x="540885" y="83950"/>
                  </a:cubicBezTo>
                  <a:lnTo>
                    <a:pt x="540885" y="123390"/>
                  </a:lnTo>
                  <a:cubicBezTo>
                    <a:pt x="540885" y="126395"/>
                    <a:pt x="526893" y="129305"/>
                    <a:pt x="498910" y="132123"/>
                  </a:cubicBezTo>
                  <a:cubicBezTo>
                    <a:pt x="496657" y="137194"/>
                    <a:pt x="493839" y="142076"/>
                    <a:pt x="490459" y="146772"/>
                  </a:cubicBezTo>
                  <a:cubicBezTo>
                    <a:pt x="500037" y="167994"/>
                    <a:pt x="504826" y="180952"/>
                    <a:pt x="504826" y="185648"/>
                  </a:cubicBezTo>
                  <a:cubicBezTo>
                    <a:pt x="504826" y="186399"/>
                    <a:pt x="504450" y="187056"/>
                    <a:pt x="503699" y="187619"/>
                  </a:cubicBezTo>
                  <a:cubicBezTo>
                    <a:pt x="480787" y="200954"/>
                    <a:pt x="469143" y="207621"/>
                    <a:pt x="468767" y="207621"/>
                  </a:cubicBezTo>
                  <a:cubicBezTo>
                    <a:pt x="467265" y="207621"/>
                    <a:pt x="462945" y="203207"/>
                    <a:pt x="455809" y="194381"/>
                  </a:cubicBezTo>
                  <a:cubicBezTo>
                    <a:pt x="448672" y="185554"/>
                    <a:pt x="443788" y="179168"/>
                    <a:pt x="441160" y="175224"/>
                  </a:cubicBezTo>
                  <a:cubicBezTo>
                    <a:pt x="437403" y="175600"/>
                    <a:pt x="434586" y="175788"/>
                    <a:pt x="432708" y="175788"/>
                  </a:cubicBezTo>
                  <a:cubicBezTo>
                    <a:pt x="430830" y="175788"/>
                    <a:pt x="428013" y="175600"/>
                    <a:pt x="424257" y="175224"/>
                  </a:cubicBezTo>
                  <a:cubicBezTo>
                    <a:pt x="421628" y="179168"/>
                    <a:pt x="416744" y="185554"/>
                    <a:pt x="409608" y="194381"/>
                  </a:cubicBezTo>
                  <a:cubicBezTo>
                    <a:pt x="402471" y="203207"/>
                    <a:pt x="398152" y="207621"/>
                    <a:pt x="396649" y="207621"/>
                  </a:cubicBezTo>
                  <a:cubicBezTo>
                    <a:pt x="396274" y="207621"/>
                    <a:pt x="384629" y="200954"/>
                    <a:pt x="361717" y="187619"/>
                  </a:cubicBezTo>
                  <a:cubicBezTo>
                    <a:pt x="360966" y="187056"/>
                    <a:pt x="360591" y="186399"/>
                    <a:pt x="360591" y="185648"/>
                  </a:cubicBezTo>
                  <a:cubicBezTo>
                    <a:pt x="360591" y="180952"/>
                    <a:pt x="365380" y="167994"/>
                    <a:pt x="374958" y="146772"/>
                  </a:cubicBezTo>
                  <a:cubicBezTo>
                    <a:pt x="371577" y="142076"/>
                    <a:pt x="368760" y="137194"/>
                    <a:pt x="366507" y="132123"/>
                  </a:cubicBezTo>
                  <a:cubicBezTo>
                    <a:pt x="338523" y="129305"/>
                    <a:pt x="324532" y="126395"/>
                    <a:pt x="324532" y="123390"/>
                  </a:cubicBezTo>
                  <a:lnTo>
                    <a:pt x="324532" y="83950"/>
                  </a:lnTo>
                  <a:cubicBezTo>
                    <a:pt x="324532" y="80945"/>
                    <a:pt x="338523" y="78034"/>
                    <a:pt x="366507" y="75217"/>
                  </a:cubicBezTo>
                  <a:cubicBezTo>
                    <a:pt x="368948" y="69771"/>
                    <a:pt x="371765" y="64888"/>
                    <a:pt x="374958" y="60568"/>
                  </a:cubicBezTo>
                  <a:cubicBezTo>
                    <a:pt x="365380" y="39346"/>
                    <a:pt x="360591" y="26387"/>
                    <a:pt x="360591" y="21692"/>
                  </a:cubicBezTo>
                  <a:cubicBezTo>
                    <a:pt x="360591" y="20941"/>
                    <a:pt x="360966" y="20284"/>
                    <a:pt x="361717" y="19720"/>
                  </a:cubicBezTo>
                  <a:cubicBezTo>
                    <a:pt x="362468" y="19345"/>
                    <a:pt x="365755" y="17467"/>
                    <a:pt x="371577" y="14086"/>
                  </a:cubicBezTo>
                  <a:cubicBezTo>
                    <a:pt x="377399" y="10705"/>
                    <a:pt x="382939" y="7513"/>
                    <a:pt x="388198" y="4508"/>
                  </a:cubicBezTo>
                  <a:cubicBezTo>
                    <a:pt x="393457" y="1503"/>
                    <a:pt x="396274" y="0"/>
                    <a:pt x="396649" y="0"/>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7" name="CuadroTexto 156">
              <a:extLst>
                <a:ext uri="{FF2B5EF4-FFF2-40B4-BE49-F238E27FC236}">
                  <a16:creationId xmlns:a16="http://schemas.microsoft.com/office/drawing/2014/main" id="{1705A204-2C50-1493-ED8F-C4CDBED9B545}"/>
                </a:ext>
              </a:extLst>
            </p:cNvPr>
            <p:cNvSpPr txBox="1"/>
            <p:nvPr/>
          </p:nvSpPr>
          <p:spPr>
            <a:xfrm>
              <a:off x="9908025" y="4293850"/>
              <a:ext cx="1179209"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Automatización de ejecuciones</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58" name="Freeform 345">
              <a:extLst>
                <a:ext uri="{FF2B5EF4-FFF2-40B4-BE49-F238E27FC236}">
                  <a16:creationId xmlns:a16="http://schemas.microsoft.com/office/drawing/2014/main" id="{64787F1C-46BE-415B-3322-38FDEACCC402}"/>
                </a:ext>
              </a:extLst>
            </p:cNvPr>
            <p:cNvSpPr/>
            <p:nvPr/>
          </p:nvSpPr>
          <p:spPr>
            <a:xfrm>
              <a:off x="9403038" y="4954368"/>
              <a:ext cx="360000" cy="360000"/>
            </a:xfrm>
            <a:custGeom>
              <a:avLst/>
              <a:gdLst/>
              <a:ahLst/>
              <a:cxnLst/>
              <a:rect l="l" t="t" r="r" b="b"/>
              <a:pathLst>
                <a:path w="432707" h="432707">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216072" y="70991"/>
                  </a:moveTo>
                  <a:cubicBezTo>
                    <a:pt x="211001" y="70991"/>
                    <a:pt x="206776" y="72681"/>
                    <a:pt x="203395" y="76062"/>
                  </a:cubicBezTo>
                  <a:lnTo>
                    <a:pt x="101416" y="178041"/>
                  </a:lnTo>
                  <a:lnTo>
                    <a:pt x="75780" y="203677"/>
                  </a:lnTo>
                  <a:cubicBezTo>
                    <a:pt x="72400" y="207057"/>
                    <a:pt x="70710" y="211283"/>
                    <a:pt x="70710" y="216354"/>
                  </a:cubicBezTo>
                  <a:cubicBezTo>
                    <a:pt x="70710" y="221424"/>
                    <a:pt x="72400" y="225650"/>
                    <a:pt x="75780" y="229031"/>
                  </a:cubicBezTo>
                  <a:lnTo>
                    <a:pt x="101416" y="254666"/>
                  </a:lnTo>
                  <a:lnTo>
                    <a:pt x="203395" y="356645"/>
                  </a:lnTo>
                  <a:cubicBezTo>
                    <a:pt x="206776" y="360026"/>
                    <a:pt x="211001" y="361716"/>
                    <a:pt x="216072" y="361716"/>
                  </a:cubicBezTo>
                  <a:cubicBezTo>
                    <a:pt x="221143" y="361716"/>
                    <a:pt x="225368" y="360026"/>
                    <a:pt x="228749" y="356645"/>
                  </a:cubicBezTo>
                  <a:lnTo>
                    <a:pt x="254384" y="331010"/>
                  </a:lnTo>
                  <a:cubicBezTo>
                    <a:pt x="257765" y="327629"/>
                    <a:pt x="259455" y="323404"/>
                    <a:pt x="259455" y="318333"/>
                  </a:cubicBezTo>
                  <a:cubicBezTo>
                    <a:pt x="259455" y="313262"/>
                    <a:pt x="257765" y="309036"/>
                    <a:pt x="254384" y="305656"/>
                  </a:cubicBezTo>
                  <a:lnTo>
                    <a:pt x="201141" y="252412"/>
                  </a:lnTo>
                  <a:lnTo>
                    <a:pt x="342560" y="252412"/>
                  </a:lnTo>
                  <a:cubicBezTo>
                    <a:pt x="347443" y="252412"/>
                    <a:pt x="351668" y="250628"/>
                    <a:pt x="355237" y="247060"/>
                  </a:cubicBezTo>
                  <a:cubicBezTo>
                    <a:pt x="358805" y="243492"/>
                    <a:pt x="360590" y="239266"/>
                    <a:pt x="360590" y="234383"/>
                  </a:cubicBezTo>
                  <a:lnTo>
                    <a:pt x="360590" y="198324"/>
                  </a:lnTo>
                  <a:cubicBezTo>
                    <a:pt x="360590" y="193441"/>
                    <a:pt x="358805" y="189215"/>
                    <a:pt x="355237" y="185647"/>
                  </a:cubicBezTo>
                  <a:cubicBezTo>
                    <a:pt x="351668" y="182079"/>
                    <a:pt x="347443" y="180295"/>
                    <a:pt x="342560" y="180295"/>
                  </a:cubicBezTo>
                  <a:lnTo>
                    <a:pt x="201141" y="180295"/>
                  </a:lnTo>
                  <a:lnTo>
                    <a:pt x="254384" y="127051"/>
                  </a:lnTo>
                  <a:cubicBezTo>
                    <a:pt x="257953" y="123483"/>
                    <a:pt x="259737" y="119257"/>
                    <a:pt x="259737" y="114374"/>
                  </a:cubicBezTo>
                  <a:cubicBezTo>
                    <a:pt x="259737" y="109491"/>
                    <a:pt x="257953" y="105266"/>
                    <a:pt x="254384" y="101697"/>
                  </a:cubicBezTo>
                  <a:lnTo>
                    <a:pt x="228749" y="76062"/>
                  </a:lnTo>
                  <a:cubicBezTo>
                    <a:pt x="225368" y="72681"/>
                    <a:pt x="221143" y="70991"/>
                    <a:pt x="216072" y="70991"/>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9" name="CuadroTexto 158">
              <a:extLst>
                <a:ext uri="{FF2B5EF4-FFF2-40B4-BE49-F238E27FC236}">
                  <a16:creationId xmlns:a16="http://schemas.microsoft.com/office/drawing/2014/main" id="{698BD92E-F886-F50C-F474-803ABE926528}"/>
                </a:ext>
              </a:extLst>
            </p:cNvPr>
            <p:cNvSpPr txBox="1"/>
            <p:nvPr/>
          </p:nvSpPr>
          <p:spPr>
            <a:xfrm>
              <a:off x="9908762" y="4935161"/>
              <a:ext cx="975655"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Regresión</a:t>
              </a:r>
            </a:p>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Continua</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60" name="CuadroTexto 159">
              <a:extLst>
                <a:ext uri="{FF2B5EF4-FFF2-40B4-BE49-F238E27FC236}">
                  <a16:creationId xmlns:a16="http://schemas.microsoft.com/office/drawing/2014/main" id="{0AC3B565-BC3F-38B6-C214-6B6322C89F1A}"/>
                </a:ext>
              </a:extLst>
            </p:cNvPr>
            <p:cNvSpPr txBox="1"/>
            <p:nvPr/>
          </p:nvSpPr>
          <p:spPr>
            <a:xfrm>
              <a:off x="3213552" y="3560936"/>
              <a:ext cx="2491388"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a:ln>
                    <a:noFill/>
                  </a:ln>
                  <a:solidFill>
                    <a:schemeClr val="accent5"/>
                  </a:solidFill>
                  <a:effectLst/>
                  <a:uLnTx/>
                  <a:uFillTx/>
                  <a:latin typeface="Calibri" panose="020F0502020204030204"/>
                </a:rPr>
                <a:t>Framework Técnico de Performance</a:t>
              </a:r>
              <a:endParaRPr kumimoji="0" lang="es-ES" sz="1200" b="0" i="0" u="none" strike="noStrike" kern="0" cap="none" spc="0" normalizeH="0" baseline="0" noProof="0">
                <a:ln>
                  <a:noFill/>
                </a:ln>
                <a:solidFill>
                  <a:schemeClr val="accent5"/>
                </a:solidFill>
                <a:effectLst/>
                <a:uLnTx/>
                <a:uFillTx/>
                <a:latin typeface="Calibri" panose="020F0502020204030204"/>
              </a:endParaRPr>
            </a:p>
          </p:txBody>
        </p:sp>
        <p:sp>
          <p:nvSpPr>
            <p:cNvPr id="161" name="CuadroTexto 160">
              <a:extLst>
                <a:ext uri="{FF2B5EF4-FFF2-40B4-BE49-F238E27FC236}">
                  <a16:creationId xmlns:a16="http://schemas.microsoft.com/office/drawing/2014/main" id="{9CD70F6A-2ABD-2679-CE45-DEE0D72D911C}"/>
                </a:ext>
              </a:extLst>
            </p:cNvPr>
            <p:cNvSpPr txBox="1"/>
            <p:nvPr/>
          </p:nvSpPr>
          <p:spPr>
            <a:xfrm>
              <a:off x="3241710" y="2720298"/>
              <a:ext cx="843244"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a:ln>
                    <a:noFill/>
                  </a:ln>
                  <a:solidFill>
                    <a:schemeClr val="accent5"/>
                  </a:solidFill>
                  <a:effectLst/>
                  <a:uLnTx/>
                  <a:uFillTx/>
                  <a:latin typeface="Calibri" panose="020F0502020204030204"/>
                </a:rPr>
                <a:t>Capa de </a:t>
              </a:r>
            </a:p>
            <a:p>
              <a:pPr marL="0" marR="0" lvl="0" indent="0"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a:ln>
                    <a:noFill/>
                  </a:ln>
                  <a:solidFill>
                    <a:schemeClr val="accent5"/>
                  </a:solidFill>
                  <a:effectLst/>
                  <a:uLnTx/>
                  <a:uFillTx/>
                  <a:latin typeface="Calibri" panose="020F0502020204030204"/>
                </a:rPr>
                <a:t>Soporte TI</a:t>
              </a:r>
            </a:p>
          </p:txBody>
        </p:sp>
        <p:sp>
          <p:nvSpPr>
            <p:cNvPr id="162" name="Rectángulo 161">
              <a:extLst>
                <a:ext uri="{FF2B5EF4-FFF2-40B4-BE49-F238E27FC236}">
                  <a16:creationId xmlns:a16="http://schemas.microsoft.com/office/drawing/2014/main" id="{F5E58850-EAA8-6C82-2794-E7DCF350F1B4}"/>
                </a:ext>
              </a:extLst>
            </p:cNvPr>
            <p:cNvSpPr/>
            <p:nvPr/>
          </p:nvSpPr>
          <p:spPr>
            <a:xfrm>
              <a:off x="4130226" y="2731704"/>
              <a:ext cx="1390581" cy="518990"/>
            </a:xfrm>
            <a:prstGeom prst="rect">
              <a:avLst/>
            </a:prstGeom>
            <a:solidFill>
              <a:srgbClr val="4472C4">
                <a:lumMod val="50000"/>
              </a:srgbClr>
            </a:solidFill>
            <a:ln w="12700" cap="flat" cmpd="sng" algn="ctr">
              <a:solidFill>
                <a:srgbClr val="4472C4">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63" name="CuadroTexto 162">
              <a:extLst>
                <a:ext uri="{FF2B5EF4-FFF2-40B4-BE49-F238E27FC236}">
                  <a16:creationId xmlns:a16="http://schemas.microsoft.com/office/drawing/2014/main" id="{EEE7ABC4-9DBC-079F-559C-39CBE0169A89}"/>
                </a:ext>
              </a:extLst>
            </p:cNvPr>
            <p:cNvSpPr txBox="1"/>
            <p:nvPr/>
          </p:nvSpPr>
          <p:spPr>
            <a:xfrm>
              <a:off x="4792338" y="2878285"/>
              <a:ext cx="717805" cy="246221"/>
            </a:xfrm>
            <a:prstGeom prst="rect">
              <a:avLst/>
            </a:prstGeom>
            <a:solidFill>
              <a:srgbClr val="4472C4">
                <a:lumMod val="50000"/>
              </a:srgbClr>
            </a:solidFill>
            <a:ln>
              <a:solidFill>
                <a:srgbClr val="4472C4">
                  <a:lumMod val="50000"/>
                </a:srgbClr>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Gestión</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64" name="Rectángulo 163">
              <a:extLst>
                <a:ext uri="{FF2B5EF4-FFF2-40B4-BE49-F238E27FC236}">
                  <a16:creationId xmlns:a16="http://schemas.microsoft.com/office/drawing/2014/main" id="{9A53490C-7C94-A598-CB11-45A9F88F715E}"/>
                </a:ext>
              </a:extLst>
            </p:cNvPr>
            <p:cNvSpPr/>
            <p:nvPr/>
          </p:nvSpPr>
          <p:spPr>
            <a:xfrm>
              <a:off x="5638629" y="2720298"/>
              <a:ext cx="1508403" cy="518990"/>
            </a:xfrm>
            <a:prstGeom prst="rect">
              <a:avLst/>
            </a:prstGeom>
            <a:solidFill>
              <a:srgbClr val="4472C4">
                <a:lumMod val="50000"/>
              </a:srgbClr>
            </a:solidFill>
            <a:ln w="12700" cap="flat" cmpd="sng" algn="ctr">
              <a:solidFill>
                <a:srgbClr val="4472C4">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65" name="CuadroTexto 164">
              <a:extLst>
                <a:ext uri="{FF2B5EF4-FFF2-40B4-BE49-F238E27FC236}">
                  <a16:creationId xmlns:a16="http://schemas.microsoft.com/office/drawing/2014/main" id="{616DED00-D531-305D-9C39-42C6FAB389D4}"/>
                </a:ext>
              </a:extLst>
            </p:cNvPr>
            <p:cNvSpPr txBox="1"/>
            <p:nvPr/>
          </p:nvSpPr>
          <p:spPr>
            <a:xfrm>
              <a:off x="6096000" y="2850519"/>
              <a:ext cx="1051032" cy="246221"/>
            </a:xfrm>
            <a:prstGeom prst="rect">
              <a:avLst/>
            </a:prstGeom>
            <a:solidFill>
              <a:srgbClr val="4472C4">
                <a:lumMod val="50000"/>
              </a:srgbClr>
            </a:solidFill>
            <a:ln>
              <a:solidFill>
                <a:srgbClr val="4472C4">
                  <a:lumMod val="50000"/>
                </a:srgbClr>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Performance</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66" name="Rectángulo 165">
              <a:extLst>
                <a:ext uri="{FF2B5EF4-FFF2-40B4-BE49-F238E27FC236}">
                  <a16:creationId xmlns:a16="http://schemas.microsoft.com/office/drawing/2014/main" id="{14122453-1AC8-3D89-B328-61FC48E855A3}"/>
                </a:ext>
              </a:extLst>
            </p:cNvPr>
            <p:cNvSpPr/>
            <p:nvPr/>
          </p:nvSpPr>
          <p:spPr>
            <a:xfrm>
              <a:off x="7264854" y="2720298"/>
              <a:ext cx="1390581" cy="518990"/>
            </a:xfrm>
            <a:prstGeom prst="rect">
              <a:avLst/>
            </a:prstGeom>
            <a:solidFill>
              <a:srgbClr val="4472C4">
                <a:lumMod val="50000"/>
              </a:srgbClr>
            </a:solidFill>
            <a:ln w="12700" cap="flat" cmpd="sng" algn="ctr">
              <a:solidFill>
                <a:srgbClr val="4472C4">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67" name="CuadroTexto 166">
              <a:extLst>
                <a:ext uri="{FF2B5EF4-FFF2-40B4-BE49-F238E27FC236}">
                  <a16:creationId xmlns:a16="http://schemas.microsoft.com/office/drawing/2014/main" id="{6B71F5D5-0C77-93A5-1703-47CC9287D4C9}"/>
                </a:ext>
              </a:extLst>
            </p:cNvPr>
            <p:cNvSpPr txBox="1"/>
            <p:nvPr/>
          </p:nvSpPr>
          <p:spPr>
            <a:xfrm>
              <a:off x="7926966" y="2866879"/>
              <a:ext cx="717805" cy="246221"/>
            </a:xfrm>
            <a:prstGeom prst="rect">
              <a:avLst/>
            </a:prstGeom>
            <a:solidFill>
              <a:srgbClr val="4472C4">
                <a:lumMod val="50000"/>
              </a:srgbClr>
            </a:solidFill>
            <a:ln>
              <a:solidFill>
                <a:srgbClr val="4472C4">
                  <a:lumMod val="50000"/>
                </a:srgbClr>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Reporte</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68" name="Freeform 423">
              <a:extLst>
                <a:ext uri="{FF2B5EF4-FFF2-40B4-BE49-F238E27FC236}">
                  <a16:creationId xmlns:a16="http://schemas.microsoft.com/office/drawing/2014/main" id="{7BEF2FDE-CAB6-81E1-CA8B-12FB4E3FBF29}"/>
                </a:ext>
              </a:extLst>
            </p:cNvPr>
            <p:cNvSpPr/>
            <p:nvPr/>
          </p:nvSpPr>
          <p:spPr>
            <a:xfrm>
              <a:off x="4275970" y="2806778"/>
              <a:ext cx="398546" cy="360000"/>
            </a:xfrm>
            <a:custGeom>
              <a:avLst/>
              <a:gdLst>
                <a:gd name="connsiteX0" fmla="*/ 216352 w 504825"/>
                <a:gd name="connsiteY0" fmla="*/ 252413 h 432708"/>
                <a:gd name="connsiteX1" fmla="*/ 288470 w 504825"/>
                <a:gd name="connsiteY1" fmla="*/ 252413 h 432708"/>
                <a:gd name="connsiteX2" fmla="*/ 288470 w 504825"/>
                <a:gd name="connsiteY2" fmla="*/ 288472 h 432708"/>
                <a:gd name="connsiteX3" fmla="*/ 216352 w 504825"/>
                <a:gd name="connsiteY3" fmla="*/ 288472 h 432708"/>
                <a:gd name="connsiteX4" fmla="*/ 0 w 504825"/>
                <a:gd name="connsiteY4" fmla="*/ 252413 h 432708"/>
                <a:gd name="connsiteX5" fmla="*/ 189309 w 504825"/>
                <a:gd name="connsiteY5" fmla="*/ 252413 h 432708"/>
                <a:gd name="connsiteX6" fmla="*/ 189309 w 504825"/>
                <a:gd name="connsiteY6" fmla="*/ 297487 h 432708"/>
                <a:gd name="connsiteX7" fmla="*/ 194661 w 504825"/>
                <a:gd name="connsiteY7" fmla="*/ 310164 h 432708"/>
                <a:gd name="connsiteX8" fmla="*/ 207339 w 504825"/>
                <a:gd name="connsiteY8" fmla="*/ 315517 h 432708"/>
                <a:gd name="connsiteX9" fmla="*/ 297486 w 504825"/>
                <a:gd name="connsiteY9" fmla="*/ 315517 h 432708"/>
                <a:gd name="connsiteX10" fmla="*/ 310163 w 504825"/>
                <a:gd name="connsiteY10" fmla="*/ 310164 h 432708"/>
                <a:gd name="connsiteX11" fmla="*/ 315515 w 504825"/>
                <a:gd name="connsiteY11" fmla="*/ 297487 h 432708"/>
                <a:gd name="connsiteX12" fmla="*/ 315515 w 504825"/>
                <a:gd name="connsiteY12" fmla="*/ 252413 h 432708"/>
                <a:gd name="connsiteX13" fmla="*/ 504825 w 504825"/>
                <a:gd name="connsiteY13" fmla="*/ 252413 h 432708"/>
                <a:gd name="connsiteX14" fmla="*/ 504825 w 504825"/>
                <a:gd name="connsiteY14" fmla="*/ 387634 h 432708"/>
                <a:gd name="connsiteX15" fmla="*/ 491585 w 504825"/>
                <a:gd name="connsiteY15" fmla="*/ 419468 h 432708"/>
                <a:gd name="connsiteX16" fmla="*/ 459751 w 504825"/>
                <a:gd name="connsiteY16" fmla="*/ 432708 h 432708"/>
                <a:gd name="connsiteX17" fmla="*/ 45074 w 504825"/>
                <a:gd name="connsiteY17" fmla="*/ 432708 h 432708"/>
                <a:gd name="connsiteX18" fmla="*/ 13240 w 504825"/>
                <a:gd name="connsiteY18" fmla="*/ 419468 h 432708"/>
                <a:gd name="connsiteX19" fmla="*/ 0 w 504825"/>
                <a:gd name="connsiteY19" fmla="*/ 387634 h 432708"/>
                <a:gd name="connsiteX20" fmla="*/ 180295 w 504825"/>
                <a:gd name="connsiteY20" fmla="*/ 36059 h 432708"/>
                <a:gd name="connsiteX21" fmla="*/ 180295 w 504825"/>
                <a:gd name="connsiteY21" fmla="*/ 72118 h 432708"/>
                <a:gd name="connsiteX22" fmla="*/ 324530 w 504825"/>
                <a:gd name="connsiteY22" fmla="*/ 72118 h 432708"/>
                <a:gd name="connsiteX23" fmla="*/ 324530 w 504825"/>
                <a:gd name="connsiteY23" fmla="*/ 36059 h 432708"/>
                <a:gd name="connsiteX24" fmla="*/ 171280 w 504825"/>
                <a:gd name="connsiteY24" fmla="*/ 0 h 432708"/>
                <a:gd name="connsiteX25" fmla="*/ 333545 w 504825"/>
                <a:gd name="connsiteY25" fmla="*/ 0 h 432708"/>
                <a:gd name="connsiteX26" fmla="*/ 352701 w 504825"/>
                <a:gd name="connsiteY26" fmla="*/ 7888 h 432708"/>
                <a:gd name="connsiteX27" fmla="*/ 360589 w 504825"/>
                <a:gd name="connsiteY27" fmla="*/ 27044 h 432708"/>
                <a:gd name="connsiteX28" fmla="*/ 360589 w 504825"/>
                <a:gd name="connsiteY28" fmla="*/ 72118 h 432708"/>
                <a:gd name="connsiteX29" fmla="*/ 459751 w 504825"/>
                <a:gd name="connsiteY29" fmla="*/ 72118 h 432708"/>
                <a:gd name="connsiteX30" fmla="*/ 491585 w 504825"/>
                <a:gd name="connsiteY30" fmla="*/ 85358 h 432708"/>
                <a:gd name="connsiteX31" fmla="*/ 504825 w 504825"/>
                <a:gd name="connsiteY31" fmla="*/ 117192 h 432708"/>
                <a:gd name="connsiteX32" fmla="*/ 504825 w 504825"/>
                <a:gd name="connsiteY32" fmla="*/ 225368 h 432708"/>
                <a:gd name="connsiteX33" fmla="*/ 0 w 504825"/>
                <a:gd name="connsiteY33" fmla="*/ 225368 h 432708"/>
                <a:gd name="connsiteX34" fmla="*/ 0 w 504825"/>
                <a:gd name="connsiteY34" fmla="*/ 117192 h 432708"/>
                <a:gd name="connsiteX35" fmla="*/ 13240 w 504825"/>
                <a:gd name="connsiteY35" fmla="*/ 85358 h 432708"/>
                <a:gd name="connsiteX36" fmla="*/ 45074 w 504825"/>
                <a:gd name="connsiteY36" fmla="*/ 72118 h 432708"/>
                <a:gd name="connsiteX37" fmla="*/ 144236 w 504825"/>
                <a:gd name="connsiteY37" fmla="*/ 72118 h 432708"/>
                <a:gd name="connsiteX38" fmla="*/ 144236 w 504825"/>
                <a:gd name="connsiteY38" fmla="*/ 27044 h 432708"/>
                <a:gd name="connsiteX39" fmla="*/ 152123 w 504825"/>
                <a:gd name="connsiteY39" fmla="*/ 7888 h 432708"/>
                <a:gd name="connsiteX40" fmla="*/ 171280 w 504825"/>
                <a:gd name="connsiteY40" fmla="*/ 0 h 43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04825" h="432708">
                  <a:moveTo>
                    <a:pt x="216352" y="252413"/>
                  </a:moveTo>
                  <a:lnTo>
                    <a:pt x="288470" y="252413"/>
                  </a:lnTo>
                  <a:lnTo>
                    <a:pt x="288470" y="288472"/>
                  </a:lnTo>
                  <a:lnTo>
                    <a:pt x="216352" y="288472"/>
                  </a:lnTo>
                  <a:close/>
                  <a:moveTo>
                    <a:pt x="0" y="252413"/>
                  </a:moveTo>
                  <a:lnTo>
                    <a:pt x="189309" y="252413"/>
                  </a:lnTo>
                  <a:lnTo>
                    <a:pt x="189309" y="297487"/>
                  </a:lnTo>
                  <a:cubicBezTo>
                    <a:pt x="189309" y="302370"/>
                    <a:pt x="191093" y="306596"/>
                    <a:pt x="194661" y="310164"/>
                  </a:cubicBezTo>
                  <a:cubicBezTo>
                    <a:pt x="198230" y="313732"/>
                    <a:pt x="202455" y="315517"/>
                    <a:pt x="207339" y="315517"/>
                  </a:cubicBezTo>
                  <a:lnTo>
                    <a:pt x="297486" y="315517"/>
                  </a:lnTo>
                  <a:cubicBezTo>
                    <a:pt x="302370" y="315517"/>
                    <a:pt x="306595" y="313732"/>
                    <a:pt x="310163" y="310164"/>
                  </a:cubicBezTo>
                  <a:cubicBezTo>
                    <a:pt x="313731" y="306596"/>
                    <a:pt x="315515" y="302370"/>
                    <a:pt x="315515" y="297487"/>
                  </a:cubicBezTo>
                  <a:lnTo>
                    <a:pt x="315515" y="252413"/>
                  </a:lnTo>
                  <a:lnTo>
                    <a:pt x="504825" y="252413"/>
                  </a:lnTo>
                  <a:lnTo>
                    <a:pt x="504825" y="387634"/>
                  </a:lnTo>
                  <a:cubicBezTo>
                    <a:pt x="504825" y="400030"/>
                    <a:pt x="500411" y="410641"/>
                    <a:pt x="491585" y="419468"/>
                  </a:cubicBezTo>
                  <a:cubicBezTo>
                    <a:pt x="482757" y="428295"/>
                    <a:pt x="472147" y="432708"/>
                    <a:pt x="459751" y="432708"/>
                  </a:cubicBezTo>
                  <a:lnTo>
                    <a:pt x="45074" y="432708"/>
                  </a:lnTo>
                  <a:cubicBezTo>
                    <a:pt x="32678" y="432708"/>
                    <a:pt x="22068" y="428295"/>
                    <a:pt x="13240" y="419468"/>
                  </a:cubicBezTo>
                  <a:cubicBezTo>
                    <a:pt x="4414" y="410641"/>
                    <a:pt x="0" y="400030"/>
                    <a:pt x="0" y="387634"/>
                  </a:cubicBezTo>
                  <a:close/>
                  <a:moveTo>
                    <a:pt x="180295" y="36059"/>
                  </a:moveTo>
                  <a:lnTo>
                    <a:pt x="180295" y="72118"/>
                  </a:lnTo>
                  <a:lnTo>
                    <a:pt x="324530" y="72118"/>
                  </a:lnTo>
                  <a:lnTo>
                    <a:pt x="324530" y="36059"/>
                  </a:lnTo>
                  <a:close/>
                  <a:moveTo>
                    <a:pt x="171280" y="0"/>
                  </a:moveTo>
                  <a:lnTo>
                    <a:pt x="333545" y="0"/>
                  </a:lnTo>
                  <a:cubicBezTo>
                    <a:pt x="341057" y="0"/>
                    <a:pt x="347443" y="2629"/>
                    <a:pt x="352701" y="7888"/>
                  </a:cubicBezTo>
                  <a:cubicBezTo>
                    <a:pt x="357959" y="13146"/>
                    <a:pt x="360589" y="19532"/>
                    <a:pt x="360589" y="27044"/>
                  </a:cubicBezTo>
                  <a:lnTo>
                    <a:pt x="360589" y="72118"/>
                  </a:lnTo>
                  <a:lnTo>
                    <a:pt x="459751" y="72118"/>
                  </a:lnTo>
                  <a:cubicBezTo>
                    <a:pt x="472147" y="72118"/>
                    <a:pt x="482757" y="76531"/>
                    <a:pt x="491585" y="85358"/>
                  </a:cubicBezTo>
                  <a:cubicBezTo>
                    <a:pt x="500411" y="94185"/>
                    <a:pt x="504825" y="104796"/>
                    <a:pt x="504825" y="117192"/>
                  </a:cubicBezTo>
                  <a:lnTo>
                    <a:pt x="504825" y="225368"/>
                  </a:lnTo>
                  <a:lnTo>
                    <a:pt x="0" y="225368"/>
                  </a:lnTo>
                  <a:lnTo>
                    <a:pt x="0" y="117192"/>
                  </a:lnTo>
                  <a:cubicBezTo>
                    <a:pt x="0" y="104796"/>
                    <a:pt x="4414" y="94185"/>
                    <a:pt x="13240" y="85358"/>
                  </a:cubicBezTo>
                  <a:cubicBezTo>
                    <a:pt x="22068" y="76531"/>
                    <a:pt x="32678" y="72118"/>
                    <a:pt x="45074" y="72118"/>
                  </a:cubicBezTo>
                  <a:lnTo>
                    <a:pt x="144236" y="72118"/>
                  </a:lnTo>
                  <a:lnTo>
                    <a:pt x="144236" y="27044"/>
                  </a:lnTo>
                  <a:cubicBezTo>
                    <a:pt x="144236" y="19532"/>
                    <a:pt x="146865" y="13146"/>
                    <a:pt x="152123" y="7888"/>
                  </a:cubicBezTo>
                  <a:cubicBezTo>
                    <a:pt x="157382" y="2629"/>
                    <a:pt x="163767" y="0"/>
                    <a:pt x="171280" y="0"/>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9" name="Freeform 304">
              <a:extLst>
                <a:ext uri="{FF2B5EF4-FFF2-40B4-BE49-F238E27FC236}">
                  <a16:creationId xmlns:a16="http://schemas.microsoft.com/office/drawing/2014/main" id="{A1036001-4C3F-D5F7-2986-4DAD5F116BD7}"/>
                </a:ext>
              </a:extLst>
            </p:cNvPr>
            <p:cNvSpPr/>
            <p:nvPr/>
          </p:nvSpPr>
          <p:spPr>
            <a:xfrm>
              <a:off x="5759237" y="2806958"/>
              <a:ext cx="360000" cy="360000"/>
            </a:xfrm>
            <a:custGeom>
              <a:avLst/>
              <a:gdLst/>
              <a:ahLst/>
              <a:cxnLst/>
              <a:rect l="l" t="t" r="r" b="b"/>
              <a:pathLst>
                <a:path w="432707" h="432707">
                  <a:moveTo>
                    <a:pt x="185084" y="0"/>
                  </a:moveTo>
                  <a:lnTo>
                    <a:pt x="247624" y="0"/>
                  </a:lnTo>
                  <a:cubicBezTo>
                    <a:pt x="250253" y="0"/>
                    <a:pt x="252554" y="798"/>
                    <a:pt x="254525" y="2394"/>
                  </a:cubicBezTo>
                  <a:cubicBezTo>
                    <a:pt x="256498" y="3991"/>
                    <a:pt x="257578" y="6010"/>
                    <a:pt x="257765" y="8451"/>
                  </a:cubicBezTo>
                  <a:lnTo>
                    <a:pt x="265653" y="60286"/>
                  </a:lnTo>
                  <a:cubicBezTo>
                    <a:pt x="274855" y="63291"/>
                    <a:pt x="283306" y="66765"/>
                    <a:pt x="291006" y="70709"/>
                  </a:cubicBezTo>
                  <a:lnTo>
                    <a:pt x="331010" y="40566"/>
                  </a:lnTo>
                  <a:cubicBezTo>
                    <a:pt x="332700" y="38876"/>
                    <a:pt x="334953" y="38031"/>
                    <a:pt x="337771" y="38031"/>
                  </a:cubicBezTo>
                  <a:cubicBezTo>
                    <a:pt x="340212" y="38031"/>
                    <a:pt x="342560" y="38970"/>
                    <a:pt x="344814" y="40848"/>
                  </a:cubicBezTo>
                  <a:cubicBezTo>
                    <a:pt x="369041" y="63197"/>
                    <a:pt x="384535" y="79161"/>
                    <a:pt x="391295" y="88739"/>
                  </a:cubicBezTo>
                  <a:cubicBezTo>
                    <a:pt x="392610" y="90241"/>
                    <a:pt x="393268" y="92307"/>
                    <a:pt x="393268" y="94936"/>
                  </a:cubicBezTo>
                  <a:cubicBezTo>
                    <a:pt x="393268" y="97190"/>
                    <a:pt x="392516" y="99350"/>
                    <a:pt x="391014" y="101416"/>
                  </a:cubicBezTo>
                  <a:cubicBezTo>
                    <a:pt x="388197" y="105360"/>
                    <a:pt x="383408" y="111604"/>
                    <a:pt x="376647" y="120149"/>
                  </a:cubicBezTo>
                  <a:cubicBezTo>
                    <a:pt x="369885" y="128695"/>
                    <a:pt x="364815" y="135315"/>
                    <a:pt x="361434" y="140010"/>
                  </a:cubicBezTo>
                  <a:cubicBezTo>
                    <a:pt x="366317" y="149400"/>
                    <a:pt x="370168" y="158603"/>
                    <a:pt x="372985" y="167618"/>
                  </a:cubicBezTo>
                  <a:lnTo>
                    <a:pt x="424537" y="175506"/>
                  </a:lnTo>
                  <a:cubicBezTo>
                    <a:pt x="426979" y="175881"/>
                    <a:pt x="428951" y="177055"/>
                    <a:pt x="430453" y="179027"/>
                  </a:cubicBezTo>
                  <a:cubicBezTo>
                    <a:pt x="431956" y="180999"/>
                    <a:pt x="432707" y="183206"/>
                    <a:pt x="432707" y="185647"/>
                  </a:cubicBezTo>
                  <a:lnTo>
                    <a:pt x="432707" y="248187"/>
                  </a:lnTo>
                  <a:cubicBezTo>
                    <a:pt x="432707" y="250440"/>
                    <a:pt x="431956" y="252600"/>
                    <a:pt x="430453" y="254666"/>
                  </a:cubicBezTo>
                  <a:cubicBezTo>
                    <a:pt x="428951" y="256732"/>
                    <a:pt x="427072" y="257953"/>
                    <a:pt x="424819" y="258328"/>
                  </a:cubicBezTo>
                  <a:lnTo>
                    <a:pt x="372703" y="266216"/>
                  </a:lnTo>
                  <a:cubicBezTo>
                    <a:pt x="369134" y="276358"/>
                    <a:pt x="365472" y="284903"/>
                    <a:pt x="361716" y="291852"/>
                  </a:cubicBezTo>
                  <a:cubicBezTo>
                    <a:pt x="368289" y="301242"/>
                    <a:pt x="378337" y="314201"/>
                    <a:pt x="391859" y="330728"/>
                  </a:cubicBezTo>
                  <a:cubicBezTo>
                    <a:pt x="393737" y="332982"/>
                    <a:pt x="394676" y="335329"/>
                    <a:pt x="394676" y="337771"/>
                  </a:cubicBezTo>
                  <a:cubicBezTo>
                    <a:pt x="394676" y="340212"/>
                    <a:pt x="393832" y="342372"/>
                    <a:pt x="392140" y="344250"/>
                  </a:cubicBezTo>
                  <a:cubicBezTo>
                    <a:pt x="387070" y="351199"/>
                    <a:pt x="377773" y="361340"/>
                    <a:pt x="364251" y="374675"/>
                  </a:cubicBezTo>
                  <a:cubicBezTo>
                    <a:pt x="350729" y="388009"/>
                    <a:pt x="341903" y="394676"/>
                    <a:pt x="337771" y="394676"/>
                  </a:cubicBezTo>
                  <a:cubicBezTo>
                    <a:pt x="335517" y="394676"/>
                    <a:pt x="333075" y="393831"/>
                    <a:pt x="330446" y="392141"/>
                  </a:cubicBezTo>
                  <a:lnTo>
                    <a:pt x="291570" y="361716"/>
                  </a:lnTo>
                  <a:cubicBezTo>
                    <a:pt x="283306" y="366036"/>
                    <a:pt x="274762" y="369604"/>
                    <a:pt x="265934" y="372421"/>
                  </a:cubicBezTo>
                  <a:cubicBezTo>
                    <a:pt x="262929" y="397963"/>
                    <a:pt x="260206" y="415429"/>
                    <a:pt x="257765" y="424819"/>
                  </a:cubicBezTo>
                  <a:cubicBezTo>
                    <a:pt x="256450" y="430078"/>
                    <a:pt x="253070" y="432707"/>
                    <a:pt x="247624" y="432707"/>
                  </a:cubicBezTo>
                  <a:lnTo>
                    <a:pt x="185084" y="432707"/>
                  </a:lnTo>
                  <a:cubicBezTo>
                    <a:pt x="182454" y="432707"/>
                    <a:pt x="180153" y="431909"/>
                    <a:pt x="178182" y="430313"/>
                  </a:cubicBezTo>
                  <a:cubicBezTo>
                    <a:pt x="176210" y="428716"/>
                    <a:pt x="175130" y="426697"/>
                    <a:pt x="174942" y="424256"/>
                  </a:cubicBezTo>
                  <a:lnTo>
                    <a:pt x="167054" y="372421"/>
                  </a:lnTo>
                  <a:cubicBezTo>
                    <a:pt x="157852" y="369416"/>
                    <a:pt x="149401" y="365942"/>
                    <a:pt x="141700" y="361998"/>
                  </a:cubicBezTo>
                  <a:lnTo>
                    <a:pt x="101979" y="392141"/>
                  </a:lnTo>
                  <a:cubicBezTo>
                    <a:pt x="100101" y="393831"/>
                    <a:pt x="97753" y="394676"/>
                    <a:pt x="94936" y="394676"/>
                  </a:cubicBezTo>
                  <a:cubicBezTo>
                    <a:pt x="92307" y="394676"/>
                    <a:pt x="89959" y="393643"/>
                    <a:pt x="87893" y="391577"/>
                  </a:cubicBezTo>
                  <a:cubicBezTo>
                    <a:pt x="64230" y="370167"/>
                    <a:pt x="48735" y="354392"/>
                    <a:pt x="41411" y="344250"/>
                  </a:cubicBezTo>
                  <a:cubicBezTo>
                    <a:pt x="40097" y="342372"/>
                    <a:pt x="39439" y="340212"/>
                    <a:pt x="39439" y="337771"/>
                  </a:cubicBezTo>
                  <a:cubicBezTo>
                    <a:pt x="39439" y="335517"/>
                    <a:pt x="40191" y="333357"/>
                    <a:pt x="41694" y="331291"/>
                  </a:cubicBezTo>
                  <a:cubicBezTo>
                    <a:pt x="44510" y="327347"/>
                    <a:pt x="49299" y="321103"/>
                    <a:pt x="56060" y="312558"/>
                  </a:cubicBezTo>
                  <a:cubicBezTo>
                    <a:pt x="62821" y="304012"/>
                    <a:pt x="67892" y="297392"/>
                    <a:pt x="71273" y="292697"/>
                  </a:cubicBezTo>
                  <a:cubicBezTo>
                    <a:pt x="66202" y="283307"/>
                    <a:pt x="62352" y="274010"/>
                    <a:pt x="59723" y="264808"/>
                  </a:cubicBezTo>
                  <a:lnTo>
                    <a:pt x="8169" y="257202"/>
                  </a:lnTo>
                  <a:cubicBezTo>
                    <a:pt x="5728" y="256826"/>
                    <a:pt x="3756" y="255652"/>
                    <a:pt x="2254" y="253680"/>
                  </a:cubicBezTo>
                  <a:cubicBezTo>
                    <a:pt x="751" y="251708"/>
                    <a:pt x="0" y="249501"/>
                    <a:pt x="0" y="247060"/>
                  </a:cubicBezTo>
                  <a:lnTo>
                    <a:pt x="0" y="184520"/>
                  </a:lnTo>
                  <a:cubicBezTo>
                    <a:pt x="0" y="182267"/>
                    <a:pt x="751" y="180107"/>
                    <a:pt x="2254" y="178041"/>
                  </a:cubicBezTo>
                  <a:cubicBezTo>
                    <a:pt x="3756" y="175975"/>
                    <a:pt x="5540" y="174754"/>
                    <a:pt x="7606" y="174379"/>
                  </a:cubicBezTo>
                  <a:lnTo>
                    <a:pt x="60004" y="166491"/>
                  </a:lnTo>
                  <a:cubicBezTo>
                    <a:pt x="62633" y="157852"/>
                    <a:pt x="66295" y="149213"/>
                    <a:pt x="70991" y="140573"/>
                  </a:cubicBezTo>
                  <a:cubicBezTo>
                    <a:pt x="63478" y="129868"/>
                    <a:pt x="53431" y="116910"/>
                    <a:pt x="40848" y="101697"/>
                  </a:cubicBezTo>
                  <a:cubicBezTo>
                    <a:pt x="38970" y="99444"/>
                    <a:pt x="38030" y="97190"/>
                    <a:pt x="38030" y="94936"/>
                  </a:cubicBezTo>
                  <a:cubicBezTo>
                    <a:pt x="38030" y="93058"/>
                    <a:pt x="38876" y="90898"/>
                    <a:pt x="40567" y="88457"/>
                  </a:cubicBezTo>
                  <a:cubicBezTo>
                    <a:pt x="45449" y="81696"/>
                    <a:pt x="54699" y="71601"/>
                    <a:pt x="68314" y="58173"/>
                  </a:cubicBezTo>
                  <a:cubicBezTo>
                    <a:pt x="81931" y="44745"/>
                    <a:pt x="90805" y="38031"/>
                    <a:pt x="94936" y="38031"/>
                  </a:cubicBezTo>
                  <a:cubicBezTo>
                    <a:pt x="97377" y="38031"/>
                    <a:pt x="99819" y="38970"/>
                    <a:pt x="102260" y="40848"/>
                  </a:cubicBezTo>
                  <a:lnTo>
                    <a:pt x="141137" y="70991"/>
                  </a:lnTo>
                  <a:cubicBezTo>
                    <a:pt x="149401" y="66671"/>
                    <a:pt x="157945" y="63103"/>
                    <a:pt x="166773" y="60286"/>
                  </a:cubicBezTo>
                  <a:cubicBezTo>
                    <a:pt x="169777" y="34744"/>
                    <a:pt x="172501" y="17278"/>
                    <a:pt x="174942" y="7888"/>
                  </a:cubicBezTo>
                  <a:cubicBezTo>
                    <a:pt x="176257" y="2629"/>
                    <a:pt x="179637" y="0"/>
                    <a:pt x="185084" y="0"/>
                  </a:cubicBezTo>
                  <a:close/>
                  <a:moveTo>
                    <a:pt x="216354" y="144236"/>
                  </a:moveTo>
                  <a:cubicBezTo>
                    <a:pt x="196446" y="144236"/>
                    <a:pt x="179449" y="151278"/>
                    <a:pt x="165364" y="165364"/>
                  </a:cubicBezTo>
                  <a:cubicBezTo>
                    <a:pt x="151278" y="179449"/>
                    <a:pt x="144235" y="196446"/>
                    <a:pt x="144235" y="216354"/>
                  </a:cubicBezTo>
                  <a:cubicBezTo>
                    <a:pt x="144235" y="236261"/>
                    <a:pt x="151278" y="253258"/>
                    <a:pt x="165364" y="267343"/>
                  </a:cubicBezTo>
                  <a:cubicBezTo>
                    <a:pt x="179449" y="281429"/>
                    <a:pt x="196446" y="288471"/>
                    <a:pt x="216354" y="288471"/>
                  </a:cubicBezTo>
                  <a:cubicBezTo>
                    <a:pt x="236261" y="288471"/>
                    <a:pt x="253258" y="281429"/>
                    <a:pt x="267343" y="267343"/>
                  </a:cubicBezTo>
                  <a:cubicBezTo>
                    <a:pt x="281429" y="253258"/>
                    <a:pt x="288471" y="236261"/>
                    <a:pt x="288471" y="216354"/>
                  </a:cubicBezTo>
                  <a:cubicBezTo>
                    <a:pt x="288471" y="196446"/>
                    <a:pt x="281429" y="179449"/>
                    <a:pt x="267343" y="165364"/>
                  </a:cubicBezTo>
                  <a:cubicBezTo>
                    <a:pt x="253258" y="151278"/>
                    <a:pt x="236261" y="144236"/>
                    <a:pt x="216354" y="144236"/>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0" name="Rectángulo 169">
              <a:extLst>
                <a:ext uri="{FF2B5EF4-FFF2-40B4-BE49-F238E27FC236}">
                  <a16:creationId xmlns:a16="http://schemas.microsoft.com/office/drawing/2014/main" id="{B0D25945-3A03-9C98-ECF3-B3920EF00A44}"/>
                </a:ext>
              </a:extLst>
            </p:cNvPr>
            <p:cNvSpPr/>
            <p:nvPr/>
          </p:nvSpPr>
          <p:spPr>
            <a:xfrm>
              <a:off x="6517241" y="1256245"/>
              <a:ext cx="2250000" cy="518990"/>
            </a:xfrm>
            <a:prstGeom prst="rect">
              <a:avLst/>
            </a:prstGeom>
            <a:solidFill>
              <a:srgbClr val="002060"/>
            </a:solidFill>
            <a:ln w="1270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71" name="CuadroTexto 170">
              <a:extLst>
                <a:ext uri="{FF2B5EF4-FFF2-40B4-BE49-F238E27FC236}">
                  <a16:creationId xmlns:a16="http://schemas.microsoft.com/office/drawing/2014/main" id="{0FEDFE27-C0B4-E0EC-4479-176A941E5B4A}"/>
                </a:ext>
              </a:extLst>
            </p:cNvPr>
            <p:cNvSpPr txBox="1"/>
            <p:nvPr/>
          </p:nvSpPr>
          <p:spPr>
            <a:xfrm>
              <a:off x="7165996" y="1383441"/>
              <a:ext cx="1601245" cy="24622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Aplicaciones</a:t>
              </a:r>
              <a:r>
                <a:rPr kumimoji="0" lang="es-ES" sz="1000" b="0" i="0" u="none" strike="noStrike" kern="0" cap="none" spc="0" normalizeH="0" baseline="0" noProof="0">
                  <a:ln>
                    <a:noFill/>
                  </a:ln>
                  <a:solidFill>
                    <a:prstClr val="white"/>
                  </a:solidFill>
                  <a:effectLst/>
                  <a:uLnTx/>
                  <a:uFillTx/>
                  <a:latin typeface="Calibri" panose="020F0502020204030204"/>
                </a:rPr>
                <a:t> </a:t>
              </a:r>
              <a:r>
                <a:rPr lang="es-ES" sz="1000" b="1" kern="0">
                  <a:solidFill>
                    <a:prstClr val="white"/>
                  </a:solidFill>
                  <a:latin typeface="Calibri" panose="020F0502020204030204"/>
                </a:rPr>
                <a:t>SAAS</a:t>
              </a:r>
              <a:endParaRPr kumimoji="0" lang="es-ES" sz="1000" b="1" i="0" u="none" strike="noStrike" kern="0" cap="none" spc="0" normalizeH="0" baseline="0" noProof="0">
                <a:ln>
                  <a:noFill/>
                </a:ln>
                <a:solidFill>
                  <a:prstClr val="white"/>
                </a:solidFill>
                <a:effectLst/>
                <a:uLnTx/>
                <a:uFillTx/>
                <a:latin typeface="Calibri" panose="020F0502020204030204"/>
              </a:endParaRPr>
            </a:p>
          </p:txBody>
        </p:sp>
        <p:sp>
          <p:nvSpPr>
            <p:cNvPr id="172" name="Rectángulo 171">
              <a:extLst>
                <a:ext uri="{FF2B5EF4-FFF2-40B4-BE49-F238E27FC236}">
                  <a16:creationId xmlns:a16="http://schemas.microsoft.com/office/drawing/2014/main" id="{1366BB46-D649-F150-77DC-DE436BB76B29}"/>
                </a:ext>
              </a:extLst>
            </p:cNvPr>
            <p:cNvSpPr/>
            <p:nvPr/>
          </p:nvSpPr>
          <p:spPr>
            <a:xfrm>
              <a:off x="4123110" y="1277789"/>
              <a:ext cx="2251122" cy="518990"/>
            </a:xfrm>
            <a:prstGeom prst="rect">
              <a:avLst/>
            </a:prstGeom>
            <a:solidFill>
              <a:srgbClr val="002060"/>
            </a:solidFill>
            <a:ln w="1270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73" name="CuadroTexto 172">
              <a:extLst>
                <a:ext uri="{FF2B5EF4-FFF2-40B4-BE49-F238E27FC236}">
                  <a16:creationId xmlns:a16="http://schemas.microsoft.com/office/drawing/2014/main" id="{4E065AC8-ED4A-D0F2-2FBB-72603F67620C}"/>
                </a:ext>
              </a:extLst>
            </p:cNvPr>
            <p:cNvSpPr txBox="1"/>
            <p:nvPr/>
          </p:nvSpPr>
          <p:spPr>
            <a:xfrm>
              <a:off x="4812731" y="1408263"/>
              <a:ext cx="1525878" cy="24622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Aplicaciones móviles</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74" name="Rectángulo 173">
              <a:extLst>
                <a:ext uri="{FF2B5EF4-FFF2-40B4-BE49-F238E27FC236}">
                  <a16:creationId xmlns:a16="http://schemas.microsoft.com/office/drawing/2014/main" id="{733902FE-7D67-24F0-751C-67705546CC47}"/>
                </a:ext>
              </a:extLst>
            </p:cNvPr>
            <p:cNvSpPr/>
            <p:nvPr/>
          </p:nvSpPr>
          <p:spPr>
            <a:xfrm>
              <a:off x="6520799" y="1822324"/>
              <a:ext cx="2250000" cy="518990"/>
            </a:xfrm>
            <a:prstGeom prst="rect">
              <a:avLst/>
            </a:prstGeom>
            <a:solidFill>
              <a:srgbClr val="002060"/>
            </a:solidFill>
            <a:ln w="1270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75" name="CuadroTexto 174">
              <a:extLst>
                <a:ext uri="{FF2B5EF4-FFF2-40B4-BE49-F238E27FC236}">
                  <a16:creationId xmlns:a16="http://schemas.microsoft.com/office/drawing/2014/main" id="{287780EB-5518-475F-A620-E536E875464E}"/>
                </a:ext>
              </a:extLst>
            </p:cNvPr>
            <p:cNvSpPr txBox="1"/>
            <p:nvPr/>
          </p:nvSpPr>
          <p:spPr>
            <a:xfrm>
              <a:off x="7169554" y="1949520"/>
              <a:ext cx="1601245" cy="24622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Servicios / Apis / MS</a:t>
              </a:r>
            </a:p>
          </p:txBody>
        </p:sp>
        <p:sp>
          <p:nvSpPr>
            <p:cNvPr id="176" name="Rectángulo 175">
              <a:extLst>
                <a:ext uri="{FF2B5EF4-FFF2-40B4-BE49-F238E27FC236}">
                  <a16:creationId xmlns:a16="http://schemas.microsoft.com/office/drawing/2014/main" id="{C66E768A-83A0-6C4F-568B-9C240246EA55}"/>
                </a:ext>
              </a:extLst>
            </p:cNvPr>
            <p:cNvSpPr/>
            <p:nvPr/>
          </p:nvSpPr>
          <p:spPr>
            <a:xfrm>
              <a:off x="4126668" y="1843868"/>
              <a:ext cx="2251122" cy="518990"/>
            </a:xfrm>
            <a:prstGeom prst="rect">
              <a:avLst/>
            </a:prstGeom>
            <a:solidFill>
              <a:srgbClr val="002060"/>
            </a:solidFill>
            <a:ln w="1270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77" name="CuadroTexto 176">
              <a:extLst>
                <a:ext uri="{FF2B5EF4-FFF2-40B4-BE49-F238E27FC236}">
                  <a16:creationId xmlns:a16="http://schemas.microsoft.com/office/drawing/2014/main" id="{C3A25C08-DEC7-B57C-96EC-EE7D84313334}"/>
                </a:ext>
              </a:extLst>
            </p:cNvPr>
            <p:cNvSpPr txBox="1"/>
            <p:nvPr/>
          </p:nvSpPr>
          <p:spPr>
            <a:xfrm>
              <a:off x="4816289" y="1974342"/>
              <a:ext cx="1525878" cy="24622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Aplicaciones web</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78" name="CuadroTexto 177">
              <a:extLst>
                <a:ext uri="{FF2B5EF4-FFF2-40B4-BE49-F238E27FC236}">
                  <a16:creationId xmlns:a16="http://schemas.microsoft.com/office/drawing/2014/main" id="{512E6780-A1E9-208D-C33E-A0E0DC7CF810}"/>
                </a:ext>
              </a:extLst>
            </p:cNvPr>
            <p:cNvSpPr txBox="1"/>
            <p:nvPr/>
          </p:nvSpPr>
          <p:spPr>
            <a:xfrm>
              <a:off x="3230848" y="1524837"/>
              <a:ext cx="827278"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a:ln>
                    <a:noFill/>
                  </a:ln>
                  <a:solidFill>
                    <a:schemeClr val="accent5"/>
                  </a:solidFill>
                  <a:effectLst/>
                  <a:uLnTx/>
                  <a:uFillTx/>
                  <a:latin typeface="Calibri" panose="020F0502020204030204"/>
                </a:rPr>
                <a:t>Cobertura</a:t>
              </a:r>
            </a:p>
            <a:p>
              <a:pPr marL="0" marR="0" lvl="0" indent="0"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a:ln>
                    <a:noFill/>
                  </a:ln>
                  <a:solidFill>
                    <a:schemeClr val="accent5"/>
                  </a:solidFill>
                  <a:effectLst/>
                  <a:uLnTx/>
                  <a:uFillTx/>
                  <a:latin typeface="Calibri" panose="020F0502020204030204"/>
                </a:rPr>
                <a:t>de</a:t>
              </a:r>
            </a:p>
            <a:p>
              <a:pPr marL="0" marR="0" lvl="0" indent="0"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a:ln>
                    <a:noFill/>
                  </a:ln>
                  <a:solidFill>
                    <a:schemeClr val="accent5"/>
                  </a:solidFill>
                  <a:effectLst/>
                  <a:uLnTx/>
                  <a:uFillTx/>
                  <a:latin typeface="Calibri" panose="020F0502020204030204"/>
                </a:rPr>
                <a:t>ejecución</a:t>
              </a:r>
            </a:p>
          </p:txBody>
        </p:sp>
        <p:sp>
          <p:nvSpPr>
            <p:cNvPr id="179" name="Freeform 320">
              <a:extLst>
                <a:ext uri="{FF2B5EF4-FFF2-40B4-BE49-F238E27FC236}">
                  <a16:creationId xmlns:a16="http://schemas.microsoft.com/office/drawing/2014/main" id="{588CD97B-2D01-CF9C-B35F-07BB76C9DD1A}"/>
                </a:ext>
              </a:extLst>
            </p:cNvPr>
            <p:cNvSpPr/>
            <p:nvPr/>
          </p:nvSpPr>
          <p:spPr>
            <a:xfrm>
              <a:off x="4359763" y="1349483"/>
              <a:ext cx="216316" cy="360423"/>
            </a:xfrm>
            <a:custGeom>
              <a:avLst/>
              <a:gdLst/>
              <a:ahLst/>
              <a:cxnLst/>
              <a:rect l="l" t="t" r="r" b="b"/>
              <a:pathLst>
                <a:path w="216353" h="360589">
                  <a:moveTo>
                    <a:pt x="36058" y="0"/>
                  </a:moveTo>
                  <a:lnTo>
                    <a:pt x="180294" y="0"/>
                  </a:lnTo>
                  <a:cubicBezTo>
                    <a:pt x="190060" y="0"/>
                    <a:pt x="198512" y="3568"/>
                    <a:pt x="205648" y="10705"/>
                  </a:cubicBezTo>
                  <a:cubicBezTo>
                    <a:pt x="212785" y="17841"/>
                    <a:pt x="216353" y="26293"/>
                    <a:pt x="216353" y="36059"/>
                  </a:cubicBezTo>
                  <a:lnTo>
                    <a:pt x="216353" y="324530"/>
                  </a:lnTo>
                  <a:cubicBezTo>
                    <a:pt x="216353" y="334296"/>
                    <a:pt x="212785" y="342748"/>
                    <a:pt x="205648" y="349884"/>
                  </a:cubicBezTo>
                  <a:cubicBezTo>
                    <a:pt x="198512" y="357021"/>
                    <a:pt x="190060" y="360589"/>
                    <a:pt x="180294" y="360589"/>
                  </a:cubicBezTo>
                  <a:lnTo>
                    <a:pt x="36058" y="360589"/>
                  </a:lnTo>
                  <a:cubicBezTo>
                    <a:pt x="26292" y="360589"/>
                    <a:pt x="17841" y="357021"/>
                    <a:pt x="10704" y="349884"/>
                  </a:cubicBezTo>
                  <a:cubicBezTo>
                    <a:pt x="3568" y="342748"/>
                    <a:pt x="0" y="334296"/>
                    <a:pt x="0" y="324530"/>
                  </a:cubicBezTo>
                  <a:lnTo>
                    <a:pt x="0" y="36059"/>
                  </a:lnTo>
                  <a:cubicBezTo>
                    <a:pt x="0" y="26293"/>
                    <a:pt x="3568" y="17841"/>
                    <a:pt x="10704" y="10705"/>
                  </a:cubicBezTo>
                  <a:cubicBezTo>
                    <a:pt x="17841" y="3568"/>
                    <a:pt x="26292" y="0"/>
                    <a:pt x="36058" y="0"/>
                  </a:cubicBezTo>
                  <a:close/>
                  <a:moveTo>
                    <a:pt x="85639" y="36059"/>
                  </a:moveTo>
                  <a:cubicBezTo>
                    <a:pt x="82635" y="36059"/>
                    <a:pt x="81132" y="37561"/>
                    <a:pt x="81132" y="40566"/>
                  </a:cubicBezTo>
                  <a:cubicBezTo>
                    <a:pt x="81132" y="43571"/>
                    <a:pt x="82635" y="45073"/>
                    <a:pt x="85639" y="45073"/>
                  </a:cubicBezTo>
                  <a:lnTo>
                    <a:pt x="130713" y="45073"/>
                  </a:lnTo>
                  <a:cubicBezTo>
                    <a:pt x="133718" y="45073"/>
                    <a:pt x="135220" y="43571"/>
                    <a:pt x="135220" y="40566"/>
                  </a:cubicBezTo>
                  <a:cubicBezTo>
                    <a:pt x="135220" y="37561"/>
                    <a:pt x="133718" y="36059"/>
                    <a:pt x="130713" y="36059"/>
                  </a:cubicBezTo>
                  <a:lnTo>
                    <a:pt x="85639" y="36059"/>
                  </a:lnTo>
                  <a:close/>
                  <a:moveTo>
                    <a:pt x="36058" y="72118"/>
                  </a:moveTo>
                  <a:cubicBezTo>
                    <a:pt x="33617" y="72118"/>
                    <a:pt x="31504" y="73010"/>
                    <a:pt x="29720" y="74794"/>
                  </a:cubicBezTo>
                  <a:cubicBezTo>
                    <a:pt x="27936" y="76578"/>
                    <a:pt x="27044" y="78691"/>
                    <a:pt x="27044" y="81132"/>
                  </a:cubicBezTo>
                  <a:lnTo>
                    <a:pt x="27044" y="279457"/>
                  </a:lnTo>
                  <a:cubicBezTo>
                    <a:pt x="27044" y="281898"/>
                    <a:pt x="27936" y="284011"/>
                    <a:pt x="29720" y="285795"/>
                  </a:cubicBezTo>
                  <a:cubicBezTo>
                    <a:pt x="31504" y="287579"/>
                    <a:pt x="33617" y="288471"/>
                    <a:pt x="36058" y="288471"/>
                  </a:cubicBezTo>
                  <a:lnTo>
                    <a:pt x="180294" y="288471"/>
                  </a:lnTo>
                  <a:cubicBezTo>
                    <a:pt x="182736" y="288471"/>
                    <a:pt x="184848" y="287579"/>
                    <a:pt x="186632" y="285795"/>
                  </a:cubicBezTo>
                  <a:cubicBezTo>
                    <a:pt x="188417" y="284011"/>
                    <a:pt x="189309" y="281898"/>
                    <a:pt x="189309" y="279457"/>
                  </a:cubicBezTo>
                  <a:lnTo>
                    <a:pt x="189309" y="81132"/>
                  </a:lnTo>
                  <a:cubicBezTo>
                    <a:pt x="189309" y="78691"/>
                    <a:pt x="188417" y="76578"/>
                    <a:pt x="186632" y="74794"/>
                  </a:cubicBezTo>
                  <a:cubicBezTo>
                    <a:pt x="184848" y="73010"/>
                    <a:pt x="182736" y="72118"/>
                    <a:pt x="180294" y="72118"/>
                  </a:cubicBezTo>
                  <a:lnTo>
                    <a:pt x="36058" y="72118"/>
                  </a:lnTo>
                  <a:close/>
                  <a:moveTo>
                    <a:pt x="108176" y="301994"/>
                  </a:moveTo>
                  <a:cubicBezTo>
                    <a:pt x="101979" y="301994"/>
                    <a:pt x="96673" y="304200"/>
                    <a:pt x="92260" y="308614"/>
                  </a:cubicBezTo>
                  <a:cubicBezTo>
                    <a:pt x="87846" y="313027"/>
                    <a:pt x="85639" y="318333"/>
                    <a:pt x="85639" y="324530"/>
                  </a:cubicBezTo>
                  <a:cubicBezTo>
                    <a:pt x="85639" y="330728"/>
                    <a:pt x="87846" y="336033"/>
                    <a:pt x="92260" y="340447"/>
                  </a:cubicBezTo>
                  <a:cubicBezTo>
                    <a:pt x="96673" y="344860"/>
                    <a:pt x="101979" y="347067"/>
                    <a:pt x="108176" y="347067"/>
                  </a:cubicBezTo>
                  <a:cubicBezTo>
                    <a:pt x="114374" y="347067"/>
                    <a:pt x="119679" y="344860"/>
                    <a:pt x="124093" y="340447"/>
                  </a:cubicBezTo>
                  <a:cubicBezTo>
                    <a:pt x="128507" y="336033"/>
                    <a:pt x="130713" y="330728"/>
                    <a:pt x="130713" y="324530"/>
                  </a:cubicBezTo>
                  <a:cubicBezTo>
                    <a:pt x="130713" y="318333"/>
                    <a:pt x="128507" y="313027"/>
                    <a:pt x="124093" y="308614"/>
                  </a:cubicBezTo>
                  <a:cubicBezTo>
                    <a:pt x="119679" y="304200"/>
                    <a:pt x="114374" y="301994"/>
                    <a:pt x="108176" y="301994"/>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0" name="Freeform 327">
              <a:extLst>
                <a:ext uri="{FF2B5EF4-FFF2-40B4-BE49-F238E27FC236}">
                  <a16:creationId xmlns:a16="http://schemas.microsoft.com/office/drawing/2014/main" id="{CA073B58-E06F-FE74-364F-864D514017DA}"/>
                </a:ext>
              </a:extLst>
            </p:cNvPr>
            <p:cNvSpPr/>
            <p:nvPr/>
          </p:nvSpPr>
          <p:spPr>
            <a:xfrm>
              <a:off x="6606242" y="1335202"/>
              <a:ext cx="540790" cy="360423"/>
            </a:xfrm>
            <a:custGeom>
              <a:avLst/>
              <a:gdLst>
                <a:gd name="connsiteX0" fmla="*/ 247905 w 540882"/>
                <a:gd name="connsiteY0" fmla="*/ 324530 h 360589"/>
                <a:gd name="connsiteX1" fmla="*/ 243397 w 540882"/>
                <a:gd name="connsiteY1" fmla="*/ 329038 h 360589"/>
                <a:gd name="connsiteX2" fmla="*/ 247905 w 540882"/>
                <a:gd name="connsiteY2" fmla="*/ 333545 h 360589"/>
                <a:gd name="connsiteX3" fmla="*/ 292978 w 540882"/>
                <a:gd name="connsiteY3" fmla="*/ 333545 h 360589"/>
                <a:gd name="connsiteX4" fmla="*/ 297486 w 540882"/>
                <a:gd name="connsiteY4" fmla="*/ 329038 h 360589"/>
                <a:gd name="connsiteX5" fmla="*/ 292978 w 540882"/>
                <a:gd name="connsiteY5" fmla="*/ 324530 h 360589"/>
                <a:gd name="connsiteX6" fmla="*/ 0 w 540882"/>
                <a:gd name="connsiteY6" fmla="*/ 306501 h 360589"/>
                <a:gd name="connsiteX7" fmla="*/ 45074 w 540882"/>
                <a:gd name="connsiteY7" fmla="*/ 306501 h 360589"/>
                <a:gd name="connsiteX8" fmla="*/ 495808 w 540882"/>
                <a:gd name="connsiteY8" fmla="*/ 306501 h 360589"/>
                <a:gd name="connsiteX9" fmla="*/ 540882 w 540882"/>
                <a:gd name="connsiteY9" fmla="*/ 306501 h 360589"/>
                <a:gd name="connsiteX10" fmla="*/ 540882 w 540882"/>
                <a:gd name="connsiteY10" fmla="*/ 333545 h 360589"/>
                <a:gd name="connsiteX11" fmla="*/ 527642 w 540882"/>
                <a:gd name="connsiteY11" fmla="*/ 352701 h 360589"/>
                <a:gd name="connsiteX12" fmla="*/ 495808 w 540882"/>
                <a:gd name="connsiteY12" fmla="*/ 360589 h 360589"/>
                <a:gd name="connsiteX13" fmla="*/ 45074 w 540882"/>
                <a:gd name="connsiteY13" fmla="*/ 360589 h 360589"/>
                <a:gd name="connsiteX14" fmla="*/ 13240 w 540882"/>
                <a:gd name="connsiteY14" fmla="*/ 352701 h 360589"/>
                <a:gd name="connsiteX15" fmla="*/ 0 w 540882"/>
                <a:gd name="connsiteY15" fmla="*/ 333545 h 360589"/>
                <a:gd name="connsiteX16" fmla="*/ 117191 w 540882"/>
                <a:gd name="connsiteY16" fmla="*/ 36059 h 360589"/>
                <a:gd name="connsiteX17" fmla="*/ 110853 w 540882"/>
                <a:gd name="connsiteY17" fmla="*/ 38735 h 360589"/>
                <a:gd name="connsiteX18" fmla="*/ 108177 w 540882"/>
                <a:gd name="connsiteY18" fmla="*/ 45073 h 360589"/>
                <a:gd name="connsiteX19" fmla="*/ 108177 w 540882"/>
                <a:gd name="connsiteY19" fmla="*/ 243398 h 360589"/>
                <a:gd name="connsiteX20" fmla="*/ 110853 w 540882"/>
                <a:gd name="connsiteY20" fmla="*/ 249736 h 360589"/>
                <a:gd name="connsiteX21" fmla="*/ 117191 w 540882"/>
                <a:gd name="connsiteY21" fmla="*/ 252412 h 360589"/>
                <a:gd name="connsiteX22" fmla="*/ 423691 w 540882"/>
                <a:gd name="connsiteY22" fmla="*/ 252412 h 360589"/>
                <a:gd name="connsiteX23" fmla="*/ 430029 w 540882"/>
                <a:gd name="connsiteY23" fmla="*/ 249736 h 360589"/>
                <a:gd name="connsiteX24" fmla="*/ 432705 w 540882"/>
                <a:gd name="connsiteY24" fmla="*/ 243398 h 360589"/>
                <a:gd name="connsiteX25" fmla="*/ 432705 w 540882"/>
                <a:gd name="connsiteY25" fmla="*/ 45073 h 360589"/>
                <a:gd name="connsiteX26" fmla="*/ 430029 w 540882"/>
                <a:gd name="connsiteY26" fmla="*/ 38735 h 360589"/>
                <a:gd name="connsiteX27" fmla="*/ 423691 w 540882"/>
                <a:gd name="connsiteY27" fmla="*/ 36059 h 360589"/>
                <a:gd name="connsiteX28" fmla="*/ 117191 w 540882"/>
                <a:gd name="connsiteY28" fmla="*/ 0 h 360589"/>
                <a:gd name="connsiteX29" fmla="*/ 423691 w 540882"/>
                <a:gd name="connsiteY29" fmla="*/ 0 h 360589"/>
                <a:gd name="connsiteX30" fmla="*/ 455524 w 540882"/>
                <a:gd name="connsiteY30" fmla="*/ 13240 h 360589"/>
                <a:gd name="connsiteX31" fmla="*/ 468765 w 540882"/>
                <a:gd name="connsiteY31" fmla="*/ 45073 h 360589"/>
                <a:gd name="connsiteX32" fmla="*/ 468765 w 540882"/>
                <a:gd name="connsiteY32" fmla="*/ 243398 h 360589"/>
                <a:gd name="connsiteX33" fmla="*/ 455524 w 540882"/>
                <a:gd name="connsiteY33" fmla="*/ 275231 h 360589"/>
                <a:gd name="connsiteX34" fmla="*/ 423691 w 540882"/>
                <a:gd name="connsiteY34" fmla="*/ 288471 h 360589"/>
                <a:gd name="connsiteX35" fmla="*/ 117191 w 540882"/>
                <a:gd name="connsiteY35" fmla="*/ 288471 h 360589"/>
                <a:gd name="connsiteX36" fmla="*/ 85357 w 540882"/>
                <a:gd name="connsiteY36" fmla="*/ 275231 h 360589"/>
                <a:gd name="connsiteX37" fmla="*/ 72117 w 540882"/>
                <a:gd name="connsiteY37" fmla="*/ 243398 h 360589"/>
                <a:gd name="connsiteX38" fmla="*/ 72117 w 540882"/>
                <a:gd name="connsiteY38" fmla="*/ 45073 h 360589"/>
                <a:gd name="connsiteX39" fmla="*/ 85357 w 540882"/>
                <a:gd name="connsiteY39" fmla="*/ 13240 h 360589"/>
                <a:gd name="connsiteX40" fmla="*/ 117191 w 540882"/>
                <a:gd name="connsiteY40" fmla="*/ 0 h 36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40882" h="360589">
                  <a:moveTo>
                    <a:pt x="247905" y="324530"/>
                  </a:moveTo>
                  <a:cubicBezTo>
                    <a:pt x="244900" y="324530"/>
                    <a:pt x="243397" y="326033"/>
                    <a:pt x="243397" y="329038"/>
                  </a:cubicBezTo>
                  <a:cubicBezTo>
                    <a:pt x="243397" y="332042"/>
                    <a:pt x="244900" y="333545"/>
                    <a:pt x="247905" y="333545"/>
                  </a:cubicBezTo>
                  <a:lnTo>
                    <a:pt x="292978" y="333545"/>
                  </a:lnTo>
                  <a:cubicBezTo>
                    <a:pt x="295983" y="333545"/>
                    <a:pt x="297486" y="332042"/>
                    <a:pt x="297486" y="329038"/>
                  </a:cubicBezTo>
                  <a:cubicBezTo>
                    <a:pt x="297486" y="326033"/>
                    <a:pt x="295983" y="324530"/>
                    <a:pt x="292978" y="324530"/>
                  </a:cubicBezTo>
                  <a:close/>
                  <a:moveTo>
                    <a:pt x="0" y="306501"/>
                  </a:moveTo>
                  <a:lnTo>
                    <a:pt x="45074" y="306501"/>
                  </a:lnTo>
                  <a:lnTo>
                    <a:pt x="495808" y="306501"/>
                  </a:lnTo>
                  <a:lnTo>
                    <a:pt x="540882" y="306501"/>
                  </a:lnTo>
                  <a:lnTo>
                    <a:pt x="540882" y="333545"/>
                  </a:lnTo>
                  <a:cubicBezTo>
                    <a:pt x="540882" y="341057"/>
                    <a:pt x="536469" y="347443"/>
                    <a:pt x="527642" y="352701"/>
                  </a:cubicBezTo>
                  <a:cubicBezTo>
                    <a:pt x="518815" y="357960"/>
                    <a:pt x="508204" y="360589"/>
                    <a:pt x="495808" y="360589"/>
                  </a:cubicBezTo>
                  <a:lnTo>
                    <a:pt x="45074" y="360589"/>
                  </a:lnTo>
                  <a:cubicBezTo>
                    <a:pt x="32678" y="360589"/>
                    <a:pt x="22067" y="357960"/>
                    <a:pt x="13240" y="352701"/>
                  </a:cubicBezTo>
                  <a:cubicBezTo>
                    <a:pt x="4413" y="347443"/>
                    <a:pt x="0" y="341057"/>
                    <a:pt x="0" y="333545"/>
                  </a:cubicBezTo>
                  <a:close/>
                  <a:moveTo>
                    <a:pt x="117191" y="36059"/>
                  </a:moveTo>
                  <a:cubicBezTo>
                    <a:pt x="114750" y="36059"/>
                    <a:pt x="112637" y="36951"/>
                    <a:pt x="110853" y="38735"/>
                  </a:cubicBezTo>
                  <a:cubicBezTo>
                    <a:pt x="109068" y="40519"/>
                    <a:pt x="108177" y="42632"/>
                    <a:pt x="108177" y="45073"/>
                  </a:cubicBezTo>
                  <a:lnTo>
                    <a:pt x="108177" y="243398"/>
                  </a:lnTo>
                  <a:cubicBezTo>
                    <a:pt x="108177" y="245839"/>
                    <a:pt x="109068" y="247952"/>
                    <a:pt x="110853" y="249736"/>
                  </a:cubicBezTo>
                  <a:cubicBezTo>
                    <a:pt x="112637" y="251520"/>
                    <a:pt x="114750" y="252412"/>
                    <a:pt x="117191" y="252412"/>
                  </a:cubicBezTo>
                  <a:lnTo>
                    <a:pt x="423691" y="252412"/>
                  </a:lnTo>
                  <a:cubicBezTo>
                    <a:pt x="426132" y="252412"/>
                    <a:pt x="428245" y="251520"/>
                    <a:pt x="430029" y="249736"/>
                  </a:cubicBezTo>
                  <a:cubicBezTo>
                    <a:pt x="431814" y="247952"/>
                    <a:pt x="432705" y="245839"/>
                    <a:pt x="432705" y="243398"/>
                  </a:cubicBezTo>
                  <a:lnTo>
                    <a:pt x="432705" y="45073"/>
                  </a:lnTo>
                  <a:cubicBezTo>
                    <a:pt x="432705" y="42632"/>
                    <a:pt x="431814" y="40519"/>
                    <a:pt x="430029" y="38735"/>
                  </a:cubicBezTo>
                  <a:cubicBezTo>
                    <a:pt x="428245" y="36951"/>
                    <a:pt x="426132" y="36059"/>
                    <a:pt x="423691" y="36059"/>
                  </a:cubicBezTo>
                  <a:close/>
                  <a:moveTo>
                    <a:pt x="117191" y="0"/>
                  </a:moveTo>
                  <a:lnTo>
                    <a:pt x="423691" y="0"/>
                  </a:lnTo>
                  <a:cubicBezTo>
                    <a:pt x="436086" y="0"/>
                    <a:pt x="446697" y="4413"/>
                    <a:pt x="455524" y="13240"/>
                  </a:cubicBezTo>
                  <a:cubicBezTo>
                    <a:pt x="464351" y="22067"/>
                    <a:pt x="468765" y="32678"/>
                    <a:pt x="468765" y="45073"/>
                  </a:cubicBezTo>
                  <a:lnTo>
                    <a:pt x="468765" y="243398"/>
                  </a:lnTo>
                  <a:cubicBezTo>
                    <a:pt x="468765" y="255793"/>
                    <a:pt x="464351" y="266404"/>
                    <a:pt x="455524" y="275231"/>
                  </a:cubicBezTo>
                  <a:cubicBezTo>
                    <a:pt x="446697" y="284058"/>
                    <a:pt x="436086" y="288471"/>
                    <a:pt x="423691" y="288471"/>
                  </a:cubicBezTo>
                  <a:lnTo>
                    <a:pt x="117191" y="288471"/>
                  </a:lnTo>
                  <a:cubicBezTo>
                    <a:pt x="104796" y="288471"/>
                    <a:pt x="94185" y="284058"/>
                    <a:pt x="85357" y="275231"/>
                  </a:cubicBezTo>
                  <a:cubicBezTo>
                    <a:pt x="76531" y="266404"/>
                    <a:pt x="72117" y="255793"/>
                    <a:pt x="72117" y="243398"/>
                  </a:cubicBezTo>
                  <a:lnTo>
                    <a:pt x="72117" y="45073"/>
                  </a:lnTo>
                  <a:cubicBezTo>
                    <a:pt x="72117" y="32678"/>
                    <a:pt x="76531" y="22067"/>
                    <a:pt x="85357" y="13240"/>
                  </a:cubicBezTo>
                  <a:cubicBezTo>
                    <a:pt x="94185" y="4413"/>
                    <a:pt x="104796" y="0"/>
                    <a:pt x="117191" y="0"/>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1" name="Freeform 356">
              <a:extLst>
                <a:ext uri="{FF2B5EF4-FFF2-40B4-BE49-F238E27FC236}">
                  <a16:creationId xmlns:a16="http://schemas.microsoft.com/office/drawing/2014/main" id="{FDDAFB3C-1429-42D3-9B29-5FE6AF8F3F00}"/>
                </a:ext>
              </a:extLst>
            </p:cNvPr>
            <p:cNvSpPr/>
            <p:nvPr/>
          </p:nvSpPr>
          <p:spPr>
            <a:xfrm>
              <a:off x="4308254" y="1895695"/>
              <a:ext cx="360000" cy="360000"/>
            </a:xfrm>
            <a:custGeom>
              <a:avLst/>
              <a:gdLst/>
              <a:ahLst/>
              <a:cxnLst/>
              <a:rect l="l" t="t" r="r" b="b"/>
              <a:pathLst>
                <a:path w="432706" h="432707">
                  <a:moveTo>
                    <a:pt x="216353" y="0"/>
                  </a:moveTo>
                  <a:cubicBezTo>
                    <a:pt x="255605" y="0"/>
                    <a:pt x="291805" y="9672"/>
                    <a:pt x="324953" y="29016"/>
                  </a:cubicBezTo>
                  <a:cubicBezTo>
                    <a:pt x="358101" y="48360"/>
                    <a:pt x="384347" y="74606"/>
                    <a:pt x="403690" y="107754"/>
                  </a:cubicBezTo>
                  <a:cubicBezTo>
                    <a:pt x="423035" y="140902"/>
                    <a:pt x="432706" y="177102"/>
                    <a:pt x="432706" y="216354"/>
                  </a:cubicBezTo>
                  <a:cubicBezTo>
                    <a:pt x="432706" y="255605"/>
                    <a:pt x="423035" y="291805"/>
                    <a:pt x="403690" y="324953"/>
                  </a:cubicBezTo>
                  <a:cubicBezTo>
                    <a:pt x="384347" y="358101"/>
                    <a:pt x="358101" y="384347"/>
                    <a:pt x="324953" y="403691"/>
                  </a:cubicBezTo>
                  <a:cubicBezTo>
                    <a:pt x="291805" y="423035"/>
                    <a:pt x="255605" y="432707"/>
                    <a:pt x="216353"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3" y="0"/>
                  </a:cubicBezTo>
                  <a:close/>
                  <a:moveTo>
                    <a:pt x="194520" y="41130"/>
                  </a:moveTo>
                  <a:cubicBezTo>
                    <a:pt x="191985" y="40942"/>
                    <a:pt x="190154" y="41317"/>
                    <a:pt x="189027" y="42256"/>
                  </a:cubicBezTo>
                  <a:cubicBezTo>
                    <a:pt x="188088" y="43571"/>
                    <a:pt x="187572" y="44651"/>
                    <a:pt x="187478" y="45496"/>
                  </a:cubicBezTo>
                  <a:cubicBezTo>
                    <a:pt x="187384" y="46341"/>
                    <a:pt x="187854" y="47093"/>
                    <a:pt x="188886" y="47750"/>
                  </a:cubicBezTo>
                  <a:cubicBezTo>
                    <a:pt x="189920" y="48407"/>
                    <a:pt x="190906" y="48924"/>
                    <a:pt x="191844" y="49299"/>
                  </a:cubicBezTo>
                  <a:cubicBezTo>
                    <a:pt x="192784" y="49675"/>
                    <a:pt x="193864" y="50050"/>
                    <a:pt x="195084" y="50426"/>
                  </a:cubicBezTo>
                  <a:cubicBezTo>
                    <a:pt x="196305" y="50802"/>
                    <a:pt x="197103" y="51083"/>
                    <a:pt x="197478" y="51271"/>
                  </a:cubicBezTo>
                  <a:cubicBezTo>
                    <a:pt x="200108" y="53149"/>
                    <a:pt x="200859" y="54464"/>
                    <a:pt x="199732" y="55215"/>
                  </a:cubicBezTo>
                  <a:cubicBezTo>
                    <a:pt x="199357" y="55403"/>
                    <a:pt x="198559" y="55732"/>
                    <a:pt x="197338" y="56201"/>
                  </a:cubicBezTo>
                  <a:cubicBezTo>
                    <a:pt x="196117" y="56671"/>
                    <a:pt x="195038" y="57093"/>
                    <a:pt x="194098" y="57469"/>
                  </a:cubicBezTo>
                  <a:cubicBezTo>
                    <a:pt x="193159" y="57844"/>
                    <a:pt x="192596" y="58220"/>
                    <a:pt x="192408" y="58596"/>
                  </a:cubicBezTo>
                  <a:cubicBezTo>
                    <a:pt x="191844" y="59347"/>
                    <a:pt x="191844" y="60662"/>
                    <a:pt x="192408" y="62540"/>
                  </a:cubicBezTo>
                  <a:cubicBezTo>
                    <a:pt x="192971" y="64418"/>
                    <a:pt x="192784" y="65732"/>
                    <a:pt x="191844" y="66484"/>
                  </a:cubicBezTo>
                  <a:cubicBezTo>
                    <a:pt x="190906" y="65545"/>
                    <a:pt x="190060" y="63901"/>
                    <a:pt x="189309" y="61554"/>
                  </a:cubicBezTo>
                  <a:cubicBezTo>
                    <a:pt x="188558" y="59206"/>
                    <a:pt x="187901" y="57657"/>
                    <a:pt x="187337" y="56905"/>
                  </a:cubicBezTo>
                  <a:cubicBezTo>
                    <a:pt x="188652" y="58596"/>
                    <a:pt x="186305" y="59159"/>
                    <a:pt x="180294" y="58596"/>
                  </a:cubicBezTo>
                  <a:lnTo>
                    <a:pt x="177477" y="58314"/>
                  </a:lnTo>
                  <a:cubicBezTo>
                    <a:pt x="176726" y="58314"/>
                    <a:pt x="175223" y="58502"/>
                    <a:pt x="172969" y="58877"/>
                  </a:cubicBezTo>
                  <a:cubicBezTo>
                    <a:pt x="170716" y="59253"/>
                    <a:pt x="168791" y="59347"/>
                    <a:pt x="167195" y="59159"/>
                  </a:cubicBezTo>
                  <a:cubicBezTo>
                    <a:pt x="165599" y="58971"/>
                    <a:pt x="164331" y="58220"/>
                    <a:pt x="163392" y="56905"/>
                  </a:cubicBezTo>
                  <a:cubicBezTo>
                    <a:pt x="162641" y="55403"/>
                    <a:pt x="162641" y="53525"/>
                    <a:pt x="163392" y="51271"/>
                  </a:cubicBezTo>
                  <a:cubicBezTo>
                    <a:pt x="163580" y="50520"/>
                    <a:pt x="163955" y="50332"/>
                    <a:pt x="164518" y="50708"/>
                  </a:cubicBezTo>
                  <a:cubicBezTo>
                    <a:pt x="163768" y="50144"/>
                    <a:pt x="162735" y="49252"/>
                    <a:pt x="161420" y="48032"/>
                  </a:cubicBezTo>
                  <a:cubicBezTo>
                    <a:pt x="160106" y="46811"/>
                    <a:pt x="159166" y="46013"/>
                    <a:pt x="158602" y="45637"/>
                  </a:cubicBezTo>
                  <a:cubicBezTo>
                    <a:pt x="149963" y="48454"/>
                    <a:pt x="141137" y="52304"/>
                    <a:pt x="132122" y="57187"/>
                  </a:cubicBezTo>
                  <a:cubicBezTo>
                    <a:pt x="133249" y="57375"/>
                    <a:pt x="134376" y="57281"/>
                    <a:pt x="135503" y="56905"/>
                  </a:cubicBezTo>
                  <a:cubicBezTo>
                    <a:pt x="136441" y="56530"/>
                    <a:pt x="137662" y="55919"/>
                    <a:pt x="139165" y="55074"/>
                  </a:cubicBezTo>
                  <a:cubicBezTo>
                    <a:pt x="140667" y="54229"/>
                    <a:pt x="141606" y="53713"/>
                    <a:pt x="141982" y="53525"/>
                  </a:cubicBezTo>
                  <a:cubicBezTo>
                    <a:pt x="148367" y="50896"/>
                    <a:pt x="152311" y="50238"/>
                    <a:pt x="153813" y="51553"/>
                  </a:cubicBezTo>
                  <a:lnTo>
                    <a:pt x="155222" y="50144"/>
                  </a:lnTo>
                  <a:cubicBezTo>
                    <a:pt x="157852" y="53149"/>
                    <a:pt x="159729" y="55497"/>
                    <a:pt x="160856" y="57187"/>
                  </a:cubicBezTo>
                  <a:cubicBezTo>
                    <a:pt x="159542" y="56436"/>
                    <a:pt x="156725" y="56342"/>
                    <a:pt x="152406" y="56905"/>
                  </a:cubicBezTo>
                  <a:cubicBezTo>
                    <a:pt x="148649" y="58032"/>
                    <a:pt x="146583" y="59159"/>
                    <a:pt x="146208" y="60286"/>
                  </a:cubicBezTo>
                  <a:cubicBezTo>
                    <a:pt x="147522" y="62540"/>
                    <a:pt x="147991" y="64230"/>
                    <a:pt x="147616" y="65357"/>
                  </a:cubicBezTo>
                  <a:cubicBezTo>
                    <a:pt x="146865" y="64793"/>
                    <a:pt x="145785" y="63854"/>
                    <a:pt x="144376" y="62540"/>
                  </a:cubicBezTo>
                  <a:cubicBezTo>
                    <a:pt x="142968" y="61225"/>
                    <a:pt x="141606" y="60192"/>
                    <a:pt x="140292" y="59441"/>
                  </a:cubicBezTo>
                  <a:cubicBezTo>
                    <a:pt x="138977" y="58690"/>
                    <a:pt x="137568" y="58220"/>
                    <a:pt x="136066" y="58032"/>
                  </a:cubicBezTo>
                  <a:cubicBezTo>
                    <a:pt x="133061" y="58032"/>
                    <a:pt x="130995" y="58126"/>
                    <a:pt x="129869" y="58314"/>
                  </a:cubicBezTo>
                  <a:cubicBezTo>
                    <a:pt x="102449" y="73339"/>
                    <a:pt x="80381" y="94185"/>
                    <a:pt x="63667" y="120854"/>
                  </a:cubicBezTo>
                  <a:cubicBezTo>
                    <a:pt x="64981" y="122168"/>
                    <a:pt x="66108" y="122920"/>
                    <a:pt x="67047" y="123107"/>
                  </a:cubicBezTo>
                  <a:cubicBezTo>
                    <a:pt x="67798" y="123295"/>
                    <a:pt x="68268" y="124140"/>
                    <a:pt x="68455" y="125643"/>
                  </a:cubicBezTo>
                  <a:cubicBezTo>
                    <a:pt x="68643" y="127145"/>
                    <a:pt x="68878" y="128178"/>
                    <a:pt x="69160" y="128742"/>
                  </a:cubicBezTo>
                  <a:cubicBezTo>
                    <a:pt x="69441" y="129305"/>
                    <a:pt x="70521" y="129023"/>
                    <a:pt x="72399" y="127896"/>
                  </a:cubicBezTo>
                  <a:cubicBezTo>
                    <a:pt x="74090" y="129399"/>
                    <a:pt x="74371" y="131183"/>
                    <a:pt x="73245" y="133249"/>
                  </a:cubicBezTo>
                  <a:cubicBezTo>
                    <a:pt x="73432" y="133061"/>
                    <a:pt x="77564" y="135597"/>
                    <a:pt x="85640" y="140855"/>
                  </a:cubicBezTo>
                  <a:cubicBezTo>
                    <a:pt x="89208" y="144048"/>
                    <a:pt x="91180" y="146020"/>
                    <a:pt x="91556" y="146771"/>
                  </a:cubicBezTo>
                  <a:cubicBezTo>
                    <a:pt x="92119" y="148837"/>
                    <a:pt x="91180" y="150527"/>
                    <a:pt x="88739" y="151842"/>
                  </a:cubicBezTo>
                  <a:cubicBezTo>
                    <a:pt x="88551" y="151466"/>
                    <a:pt x="87705" y="150621"/>
                    <a:pt x="86203" y="149306"/>
                  </a:cubicBezTo>
                  <a:cubicBezTo>
                    <a:pt x="84701" y="147992"/>
                    <a:pt x="83856" y="147616"/>
                    <a:pt x="83668" y="148180"/>
                  </a:cubicBezTo>
                  <a:cubicBezTo>
                    <a:pt x="83105" y="149119"/>
                    <a:pt x="83151" y="150856"/>
                    <a:pt x="83809" y="153391"/>
                  </a:cubicBezTo>
                  <a:cubicBezTo>
                    <a:pt x="84466" y="155927"/>
                    <a:pt x="85452" y="157100"/>
                    <a:pt x="86767" y="156913"/>
                  </a:cubicBezTo>
                  <a:cubicBezTo>
                    <a:pt x="85452" y="156913"/>
                    <a:pt x="84560" y="158415"/>
                    <a:pt x="84091" y="161420"/>
                  </a:cubicBezTo>
                  <a:cubicBezTo>
                    <a:pt x="83621" y="164425"/>
                    <a:pt x="83387" y="167759"/>
                    <a:pt x="83387" y="171421"/>
                  </a:cubicBezTo>
                  <a:cubicBezTo>
                    <a:pt x="83387" y="175083"/>
                    <a:pt x="83292" y="177290"/>
                    <a:pt x="83105" y="178041"/>
                  </a:cubicBezTo>
                  <a:lnTo>
                    <a:pt x="83668" y="178323"/>
                  </a:lnTo>
                  <a:cubicBezTo>
                    <a:pt x="83105" y="180576"/>
                    <a:pt x="83621" y="183816"/>
                    <a:pt x="85217" y="188042"/>
                  </a:cubicBezTo>
                  <a:cubicBezTo>
                    <a:pt x="86814" y="192267"/>
                    <a:pt x="88832" y="194099"/>
                    <a:pt x="91274" y="193535"/>
                  </a:cubicBezTo>
                  <a:cubicBezTo>
                    <a:pt x="88832" y="194099"/>
                    <a:pt x="90711" y="198136"/>
                    <a:pt x="96908" y="205649"/>
                  </a:cubicBezTo>
                  <a:cubicBezTo>
                    <a:pt x="98035" y="207151"/>
                    <a:pt x="98786" y="207996"/>
                    <a:pt x="99162" y="208184"/>
                  </a:cubicBezTo>
                  <a:cubicBezTo>
                    <a:pt x="99726" y="208560"/>
                    <a:pt x="100852" y="209264"/>
                    <a:pt x="102542" y="210297"/>
                  </a:cubicBezTo>
                  <a:cubicBezTo>
                    <a:pt x="104233" y="211330"/>
                    <a:pt x="105642" y="212269"/>
                    <a:pt x="106768" y="213114"/>
                  </a:cubicBezTo>
                  <a:cubicBezTo>
                    <a:pt x="107895" y="213959"/>
                    <a:pt x="108834" y="214945"/>
                    <a:pt x="109586" y="216072"/>
                  </a:cubicBezTo>
                  <a:cubicBezTo>
                    <a:pt x="110337" y="217011"/>
                    <a:pt x="111276" y="219124"/>
                    <a:pt x="112402" y="222410"/>
                  </a:cubicBezTo>
                  <a:cubicBezTo>
                    <a:pt x="113529" y="225697"/>
                    <a:pt x="114844" y="227904"/>
                    <a:pt x="116346" y="229031"/>
                  </a:cubicBezTo>
                  <a:cubicBezTo>
                    <a:pt x="115971" y="230157"/>
                    <a:pt x="116862" y="232035"/>
                    <a:pt x="119023" y="234665"/>
                  </a:cubicBezTo>
                  <a:cubicBezTo>
                    <a:pt x="121182" y="237294"/>
                    <a:pt x="122168" y="239454"/>
                    <a:pt x="121981" y="241144"/>
                  </a:cubicBezTo>
                  <a:cubicBezTo>
                    <a:pt x="121792" y="241144"/>
                    <a:pt x="121558" y="241238"/>
                    <a:pt x="121276" y="241426"/>
                  </a:cubicBezTo>
                  <a:cubicBezTo>
                    <a:pt x="120995" y="241614"/>
                    <a:pt x="120760" y="241708"/>
                    <a:pt x="120572" y="241708"/>
                  </a:cubicBezTo>
                  <a:cubicBezTo>
                    <a:pt x="121135" y="243022"/>
                    <a:pt x="122591" y="244337"/>
                    <a:pt x="124939" y="245651"/>
                  </a:cubicBezTo>
                  <a:cubicBezTo>
                    <a:pt x="127286" y="246966"/>
                    <a:pt x="128742" y="248187"/>
                    <a:pt x="129305" y="249314"/>
                  </a:cubicBezTo>
                  <a:cubicBezTo>
                    <a:pt x="129492" y="249877"/>
                    <a:pt x="129680" y="250816"/>
                    <a:pt x="129869" y="252131"/>
                  </a:cubicBezTo>
                  <a:cubicBezTo>
                    <a:pt x="130056" y="253445"/>
                    <a:pt x="130338" y="254478"/>
                    <a:pt x="130714" y="255230"/>
                  </a:cubicBezTo>
                  <a:cubicBezTo>
                    <a:pt x="131089" y="255981"/>
                    <a:pt x="131841" y="256169"/>
                    <a:pt x="132967" y="255793"/>
                  </a:cubicBezTo>
                  <a:cubicBezTo>
                    <a:pt x="133343" y="252037"/>
                    <a:pt x="131089" y="246215"/>
                    <a:pt x="126206" y="238327"/>
                  </a:cubicBezTo>
                  <a:cubicBezTo>
                    <a:pt x="123389" y="233632"/>
                    <a:pt x="121792" y="230909"/>
                    <a:pt x="121417" y="230157"/>
                  </a:cubicBezTo>
                  <a:cubicBezTo>
                    <a:pt x="120854" y="229218"/>
                    <a:pt x="120337" y="227763"/>
                    <a:pt x="119868" y="225791"/>
                  </a:cubicBezTo>
                  <a:cubicBezTo>
                    <a:pt x="119398" y="223819"/>
                    <a:pt x="118975" y="222457"/>
                    <a:pt x="118600" y="221706"/>
                  </a:cubicBezTo>
                  <a:cubicBezTo>
                    <a:pt x="118975" y="221706"/>
                    <a:pt x="119539" y="221847"/>
                    <a:pt x="120290" y="222129"/>
                  </a:cubicBezTo>
                  <a:cubicBezTo>
                    <a:pt x="121041" y="222410"/>
                    <a:pt x="121840" y="222739"/>
                    <a:pt x="122685" y="223115"/>
                  </a:cubicBezTo>
                  <a:cubicBezTo>
                    <a:pt x="123530" y="223490"/>
                    <a:pt x="124234" y="223866"/>
                    <a:pt x="124798" y="224241"/>
                  </a:cubicBezTo>
                  <a:cubicBezTo>
                    <a:pt x="125361" y="224617"/>
                    <a:pt x="125548" y="224899"/>
                    <a:pt x="125361" y="225087"/>
                  </a:cubicBezTo>
                  <a:cubicBezTo>
                    <a:pt x="124798" y="226401"/>
                    <a:pt x="124985" y="228045"/>
                    <a:pt x="125925" y="230017"/>
                  </a:cubicBezTo>
                  <a:cubicBezTo>
                    <a:pt x="126863" y="231988"/>
                    <a:pt x="127990" y="233726"/>
                    <a:pt x="129305" y="235228"/>
                  </a:cubicBezTo>
                  <a:cubicBezTo>
                    <a:pt x="130620" y="236731"/>
                    <a:pt x="132216" y="238515"/>
                    <a:pt x="134094" y="240581"/>
                  </a:cubicBezTo>
                  <a:cubicBezTo>
                    <a:pt x="135972" y="242647"/>
                    <a:pt x="137099" y="243867"/>
                    <a:pt x="137475" y="244243"/>
                  </a:cubicBezTo>
                  <a:cubicBezTo>
                    <a:pt x="138602" y="245370"/>
                    <a:pt x="139916" y="247201"/>
                    <a:pt x="141418" y="249736"/>
                  </a:cubicBezTo>
                  <a:cubicBezTo>
                    <a:pt x="142921" y="252272"/>
                    <a:pt x="142921" y="253539"/>
                    <a:pt x="141418" y="253539"/>
                  </a:cubicBezTo>
                  <a:cubicBezTo>
                    <a:pt x="143109" y="253539"/>
                    <a:pt x="144987" y="254478"/>
                    <a:pt x="147053" y="256356"/>
                  </a:cubicBezTo>
                  <a:cubicBezTo>
                    <a:pt x="149119" y="258234"/>
                    <a:pt x="150715" y="260113"/>
                    <a:pt x="151842" y="261991"/>
                  </a:cubicBezTo>
                  <a:cubicBezTo>
                    <a:pt x="152781" y="263493"/>
                    <a:pt x="153532" y="265935"/>
                    <a:pt x="154095" y="269315"/>
                  </a:cubicBezTo>
                  <a:cubicBezTo>
                    <a:pt x="154658" y="272696"/>
                    <a:pt x="155128" y="274949"/>
                    <a:pt x="155504" y="276076"/>
                  </a:cubicBezTo>
                  <a:cubicBezTo>
                    <a:pt x="155880" y="277391"/>
                    <a:pt x="156678" y="278658"/>
                    <a:pt x="157898" y="279879"/>
                  </a:cubicBezTo>
                  <a:cubicBezTo>
                    <a:pt x="159120" y="281100"/>
                    <a:pt x="160293" y="281992"/>
                    <a:pt x="161420" y="282555"/>
                  </a:cubicBezTo>
                  <a:cubicBezTo>
                    <a:pt x="162546" y="283119"/>
                    <a:pt x="164050" y="283870"/>
                    <a:pt x="165927" y="284809"/>
                  </a:cubicBezTo>
                  <a:cubicBezTo>
                    <a:pt x="167805" y="285748"/>
                    <a:pt x="169025" y="286406"/>
                    <a:pt x="169589" y="286781"/>
                  </a:cubicBezTo>
                  <a:cubicBezTo>
                    <a:pt x="170529" y="287157"/>
                    <a:pt x="172265" y="288143"/>
                    <a:pt x="174801" y="289739"/>
                  </a:cubicBezTo>
                  <a:cubicBezTo>
                    <a:pt x="177336" y="291335"/>
                    <a:pt x="179356" y="292415"/>
                    <a:pt x="180857" y="292979"/>
                  </a:cubicBezTo>
                  <a:cubicBezTo>
                    <a:pt x="182736" y="293730"/>
                    <a:pt x="184238" y="294106"/>
                    <a:pt x="185365" y="294106"/>
                  </a:cubicBezTo>
                  <a:cubicBezTo>
                    <a:pt x="186492" y="294106"/>
                    <a:pt x="187854" y="293871"/>
                    <a:pt x="189450" y="293401"/>
                  </a:cubicBezTo>
                  <a:cubicBezTo>
                    <a:pt x="191046" y="292932"/>
                    <a:pt x="192314" y="292603"/>
                    <a:pt x="193253" y="292415"/>
                  </a:cubicBezTo>
                  <a:cubicBezTo>
                    <a:pt x="196070" y="292040"/>
                    <a:pt x="198793" y="293448"/>
                    <a:pt x="201422" y="296641"/>
                  </a:cubicBezTo>
                  <a:cubicBezTo>
                    <a:pt x="204052" y="299834"/>
                    <a:pt x="206024" y="301806"/>
                    <a:pt x="207338" y="302557"/>
                  </a:cubicBezTo>
                  <a:cubicBezTo>
                    <a:pt x="214099" y="306125"/>
                    <a:pt x="219265" y="307158"/>
                    <a:pt x="222832" y="305656"/>
                  </a:cubicBezTo>
                  <a:cubicBezTo>
                    <a:pt x="222457" y="305844"/>
                    <a:pt x="222504" y="306548"/>
                    <a:pt x="222973" y="307769"/>
                  </a:cubicBezTo>
                  <a:cubicBezTo>
                    <a:pt x="223443" y="308989"/>
                    <a:pt x="224195" y="310445"/>
                    <a:pt x="225227" y="312135"/>
                  </a:cubicBezTo>
                  <a:cubicBezTo>
                    <a:pt x="226260" y="313825"/>
                    <a:pt x="227105" y="315187"/>
                    <a:pt x="227762" y="316220"/>
                  </a:cubicBezTo>
                  <a:cubicBezTo>
                    <a:pt x="228420" y="317253"/>
                    <a:pt x="228936" y="318051"/>
                    <a:pt x="229312" y="318614"/>
                  </a:cubicBezTo>
                  <a:cubicBezTo>
                    <a:pt x="230251" y="319741"/>
                    <a:pt x="231941" y="321150"/>
                    <a:pt x="234383" y="322840"/>
                  </a:cubicBezTo>
                  <a:cubicBezTo>
                    <a:pt x="236824" y="324530"/>
                    <a:pt x="238515" y="325939"/>
                    <a:pt x="239453" y="327066"/>
                  </a:cubicBezTo>
                  <a:cubicBezTo>
                    <a:pt x="240580" y="326314"/>
                    <a:pt x="241238" y="325469"/>
                    <a:pt x="241425" y="324530"/>
                  </a:cubicBezTo>
                  <a:cubicBezTo>
                    <a:pt x="240862" y="326033"/>
                    <a:pt x="241520" y="327911"/>
                    <a:pt x="243397" y="330164"/>
                  </a:cubicBezTo>
                  <a:cubicBezTo>
                    <a:pt x="245275" y="332418"/>
                    <a:pt x="246966" y="333357"/>
                    <a:pt x="248468" y="332982"/>
                  </a:cubicBezTo>
                  <a:cubicBezTo>
                    <a:pt x="251098" y="332418"/>
                    <a:pt x="252412" y="329413"/>
                    <a:pt x="252412" y="323967"/>
                  </a:cubicBezTo>
                  <a:cubicBezTo>
                    <a:pt x="246591" y="326784"/>
                    <a:pt x="241988" y="325094"/>
                    <a:pt x="238608" y="318896"/>
                  </a:cubicBezTo>
                  <a:cubicBezTo>
                    <a:pt x="238608" y="318708"/>
                    <a:pt x="238374" y="318192"/>
                    <a:pt x="237904" y="317347"/>
                  </a:cubicBezTo>
                  <a:cubicBezTo>
                    <a:pt x="237435" y="316502"/>
                    <a:pt x="237059" y="315703"/>
                    <a:pt x="236777" y="314952"/>
                  </a:cubicBezTo>
                  <a:cubicBezTo>
                    <a:pt x="236495" y="314201"/>
                    <a:pt x="236261" y="313403"/>
                    <a:pt x="236073" y="312558"/>
                  </a:cubicBezTo>
                  <a:cubicBezTo>
                    <a:pt x="235885" y="311713"/>
                    <a:pt x="235885" y="311008"/>
                    <a:pt x="236073" y="310445"/>
                  </a:cubicBezTo>
                  <a:cubicBezTo>
                    <a:pt x="236261" y="309881"/>
                    <a:pt x="236731" y="309600"/>
                    <a:pt x="237481" y="309600"/>
                  </a:cubicBezTo>
                  <a:cubicBezTo>
                    <a:pt x="239172" y="309600"/>
                    <a:pt x="240111" y="309271"/>
                    <a:pt x="240298" y="308614"/>
                  </a:cubicBezTo>
                  <a:cubicBezTo>
                    <a:pt x="240487" y="307956"/>
                    <a:pt x="240298" y="306783"/>
                    <a:pt x="239735" y="305092"/>
                  </a:cubicBezTo>
                  <a:cubicBezTo>
                    <a:pt x="239172" y="303402"/>
                    <a:pt x="238796" y="302181"/>
                    <a:pt x="238608" y="301430"/>
                  </a:cubicBezTo>
                  <a:cubicBezTo>
                    <a:pt x="238421" y="299928"/>
                    <a:pt x="237388" y="298050"/>
                    <a:pt x="235509" y="295796"/>
                  </a:cubicBezTo>
                  <a:cubicBezTo>
                    <a:pt x="233632" y="293542"/>
                    <a:pt x="232505" y="292134"/>
                    <a:pt x="232129" y="291570"/>
                  </a:cubicBezTo>
                  <a:cubicBezTo>
                    <a:pt x="231190" y="293260"/>
                    <a:pt x="229688" y="294012"/>
                    <a:pt x="227621" y="293824"/>
                  </a:cubicBezTo>
                  <a:cubicBezTo>
                    <a:pt x="225556" y="293636"/>
                    <a:pt x="224054" y="292791"/>
                    <a:pt x="223114" y="291289"/>
                  </a:cubicBezTo>
                  <a:cubicBezTo>
                    <a:pt x="223114" y="291476"/>
                    <a:pt x="222973" y="291993"/>
                    <a:pt x="222691" y="292838"/>
                  </a:cubicBezTo>
                  <a:cubicBezTo>
                    <a:pt x="222410" y="293683"/>
                    <a:pt x="222269" y="294293"/>
                    <a:pt x="222269" y="294669"/>
                  </a:cubicBezTo>
                  <a:cubicBezTo>
                    <a:pt x="219828" y="294669"/>
                    <a:pt x="218420" y="294575"/>
                    <a:pt x="218043" y="294387"/>
                  </a:cubicBezTo>
                  <a:cubicBezTo>
                    <a:pt x="218231" y="293824"/>
                    <a:pt x="218466" y="292181"/>
                    <a:pt x="218747" y="289457"/>
                  </a:cubicBezTo>
                  <a:cubicBezTo>
                    <a:pt x="219029" y="286734"/>
                    <a:pt x="219358" y="284621"/>
                    <a:pt x="219733" y="283119"/>
                  </a:cubicBezTo>
                  <a:cubicBezTo>
                    <a:pt x="219922" y="282368"/>
                    <a:pt x="220438" y="281241"/>
                    <a:pt x="221283" y="279738"/>
                  </a:cubicBezTo>
                  <a:cubicBezTo>
                    <a:pt x="222128" y="278236"/>
                    <a:pt x="222832" y="276874"/>
                    <a:pt x="223396" y="275654"/>
                  </a:cubicBezTo>
                  <a:cubicBezTo>
                    <a:pt x="223959" y="274433"/>
                    <a:pt x="224335" y="273259"/>
                    <a:pt x="224523" y="272132"/>
                  </a:cubicBezTo>
                  <a:cubicBezTo>
                    <a:pt x="224711" y="271005"/>
                    <a:pt x="224288" y="270113"/>
                    <a:pt x="223255" y="269456"/>
                  </a:cubicBezTo>
                  <a:cubicBezTo>
                    <a:pt x="222223" y="268799"/>
                    <a:pt x="220579" y="268564"/>
                    <a:pt x="218325" y="268752"/>
                  </a:cubicBezTo>
                  <a:cubicBezTo>
                    <a:pt x="214758" y="268939"/>
                    <a:pt x="212315" y="270818"/>
                    <a:pt x="211000" y="274386"/>
                  </a:cubicBezTo>
                  <a:cubicBezTo>
                    <a:pt x="210814" y="274949"/>
                    <a:pt x="210532" y="275935"/>
                    <a:pt x="210156" y="277344"/>
                  </a:cubicBezTo>
                  <a:cubicBezTo>
                    <a:pt x="209780" y="278752"/>
                    <a:pt x="209310" y="279832"/>
                    <a:pt x="208747" y="280583"/>
                  </a:cubicBezTo>
                  <a:cubicBezTo>
                    <a:pt x="208184" y="281335"/>
                    <a:pt x="207338" y="281992"/>
                    <a:pt x="206212" y="282555"/>
                  </a:cubicBezTo>
                  <a:cubicBezTo>
                    <a:pt x="204898" y="283119"/>
                    <a:pt x="202644" y="283307"/>
                    <a:pt x="199450" y="283119"/>
                  </a:cubicBezTo>
                  <a:cubicBezTo>
                    <a:pt x="196258" y="282931"/>
                    <a:pt x="194004" y="282462"/>
                    <a:pt x="192689" y="281710"/>
                  </a:cubicBezTo>
                  <a:cubicBezTo>
                    <a:pt x="190249" y="280208"/>
                    <a:pt x="188136" y="277485"/>
                    <a:pt x="186351" y="273541"/>
                  </a:cubicBezTo>
                  <a:cubicBezTo>
                    <a:pt x="184567" y="269597"/>
                    <a:pt x="183675" y="266122"/>
                    <a:pt x="183675" y="263117"/>
                  </a:cubicBezTo>
                  <a:cubicBezTo>
                    <a:pt x="183675" y="261239"/>
                    <a:pt x="183910" y="258751"/>
                    <a:pt x="184379" y="255652"/>
                  </a:cubicBezTo>
                  <a:cubicBezTo>
                    <a:pt x="184849" y="252553"/>
                    <a:pt x="185130" y="250206"/>
                    <a:pt x="185224" y="248609"/>
                  </a:cubicBezTo>
                  <a:cubicBezTo>
                    <a:pt x="185319" y="247013"/>
                    <a:pt x="184801" y="244712"/>
                    <a:pt x="183675" y="241708"/>
                  </a:cubicBezTo>
                  <a:cubicBezTo>
                    <a:pt x="184238" y="241332"/>
                    <a:pt x="185083" y="240440"/>
                    <a:pt x="186210" y="239031"/>
                  </a:cubicBezTo>
                  <a:cubicBezTo>
                    <a:pt x="187337" y="237623"/>
                    <a:pt x="188277" y="236637"/>
                    <a:pt x="189027" y="236073"/>
                  </a:cubicBezTo>
                  <a:cubicBezTo>
                    <a:pt x="189403" y="235886"/>
                    <a:pt x="189826" y="235745"/>
                    <a:pt x="190295" y="235651"/>
                  </a:cubicBezTo>
                  <a:cubicBezTo>
                    <a:pt x="190765" y="235557"/>
                    <a:pt x="191188" y="235557"/>
                    <a:pt x="191562" y="235651"/>
                  </a:cubicBezTo>
                  <a:cubicBezTo>
                    <a:pt x="191939" y="235745"/>
                    <a:pt x="192314" y="235604"/>
                    <a:pt x="192689" y="235228"/>
                  </a:cubicBezTo>
                  <a:cubicBezTo>
                    <a:pt x="193066" y="234853"/>
                    <a:pt x="193347" y="234289"/>
                    <a:pt x="193534" y="233538"/>
                  </a:cubicBezTo>
                  <a:cubicBezTo>
                    <a:pt x="193347" y="233350"/>
                    <a:pt x="192971" y="233068"/>
                    <a:pt x="192408" y="232693"/>
                  </a:cubicBezTo>
                  <a:cubicBezTo>
                    <a:pt x="191844" y="232129"/>
                    <a:pt x="191469" y="231848"/>
                    <a:pt x="191281" y="231848"/>
                  </a:cubicBezTo>
                  <a:cubicBezTo>
                    <a:pt x="192596" y="232411"/>
                    <a:pt x="195272" y="232270"/>
                    <a:pt x="199310" y="231425"/>
                  </a:cubicBezTo>
                  <a:cubicBezTo>
                    <a:pt x="203348" y="230580"/>
                    <a:pt x="205930" y="230721"/>
                    <a:pt x="207056" y="231848"/>
                  </a:cubicBezTo>
                  <a:cubicBezTo>
                    <a:pt x="209874" y="233914"/>
                    <a:pt x="211940" y="233726"/>
                    <a:pt x="213254" y="231284"/>
                  </a:cubicBezTo>
                  <a:cubicBezTo>
                    <a:pt x="213254" y="231096"/>
                    <a:pt x="213020" y="230204"/>
                    <a:pt x="212550" y="228608"/>
                  </a:cubicBezTo>
                  <a:cubicBezTo>
                    <a:pt x="212081" y="227012"/>
                    <a:pt x="212034" y="225744"/>
                    <a:pt x="212409" y="224805"/>
                  </a:cubicBezTo>
                  <a:cubicBezTo>
                    <a:pt x="213349" y="229876"/>
                    <a:pt x="216071" y="230721"/>
                    <a:pt x="220579" y="227340"/>
                  </a:cubicBezTo>
                  <a:cubicBezTo>
                    <a:pt x="221142" y="227904"/>
                    <a:pt x="222598" y="228373"/>
                    <a:pt x="224945" y="228749"/>
                  </a:cubicBezTo>
                  <a:cubicBezTo>
                    <a:pt x="227293" y="229124"/>
                    <a:pt x="228936" y="229594"/>
                    <a:pt x="229875" y="230157"/>
                  </a:cubicBezTo>
                  <a:cubicBezTo>
                    <a:pt x="230439" y="230533"/>
                    <a:pt x="231097" y="231049"/>
                    <a:pt x="231847" y="231707"/>
                  </a:cubicBezTo>
                  <a:cubicBezTo>
                    <a:pt x="232599" y="232364"/>
                    <a:pt x="233115" y="232787"/>
                    <a:pt x="233397" y="232974"/>
                  </a:cubicBezTo>
                  <a:cubicBezTo>
                    <a:pt x="233678" y="233162"/>
                    <a:pt x="234148" y="233115"/>
                    <a:pt x="234805" y="232834"/>
                  </a:cubicBezTo>
                  <a:cubicBezTo>
                    <a:pt x="235463" y="232552"/>
                    <a:pt x="236261" y="231942"/>
                    <a:pt x="237200" y="231003"/>
                  </a:cubicBezTo>
                  <a:cubicBezTo>
                    <a:pt x="239078" y="233632"/>
                    <a:pt x="240205" y="235886"/>
                    <a:pt x="240580" y="237764"/>
                  </a:cubicBezTo>
                  <a:cubicBezTo>
                    <a:pt x="242647" y="245276"/>
                    <a:pt x="244431" y="249407"/>
                    <a:pt x="245932" y="250159"/>
                  </a:cubicBezTo>
                  <a:cubicBezTo>
                    <a:pt x="247247" y="250722"/>
                    <a:pt x="248281" y="250910"/>
                    <a:pt x="249032" y="250722"/>
                  </a:cubicBezTo>
                  <a:cubicBezTo>
                    <a:pt x="249783" y="250534"/>
                    <a:pt x="250205" y="249642"/>
                    <a:pt x="250299" y="248046"/>
                  </a:cubicBezTo>
                  <a:cubicBezTo>
                    <a:pt x="250394" y="246450"/>
                    <a:pt x="250394" y="245135"/>
                    <a:pt x="250299" y="244102"/>
                  </a:cubicBezTo>
                  <a:cubicBezTo>
                    <a:pt x="250205" y="243069"/>
                    <a:pt x="250065" y="241895"/>
                    <a:pt x="249876" y="240581"/>
                  </a:cubicBezTo>
                  <a:lnTo>
                    <a:pt x="249595" y="238327"/>
                  </a:lnTo>
                  <a:cubicBezTo>
                    <a:pt x="249595" y="236637"/>
                    <a:pt x="249595" y="234946"/>
                    <a:pt x="249595" y="233256"/>
                  </a:cubicBezTo>
                  <a:lnTo>
                    <a:pt x="249313" y="231003"/>
                  </a:lnTo>
                  <a:cubicBezTo>
                    <a:pt x="246496" y="230439"/>
                    <a:pt x="244759" y="229312"/>
                    <a:pt x="244102" y="227622"/>
                  </a:cubicBezTo>
                  <a:cubicBezTo>
                    <a:pt x="243445" y="225932"/>
                    <a:pt x="243585" y="224194"/>
                    <a:pt x="244524" y="222410"/>
                  </a:cubicBezTo>
                  <a:cubicBezTo>
                    <a:pt x="245464" y="220626"/>
                    <a:pt x="246872" y="218889"/>
                    <a:pt x="248750" y="217199"/>
                  </a:cubicBezTo>
                  <a:cubicBezTo>
                    <a:pt x="248938" y="217011"/>
                    <a:pt x="249689" y="216682"/>
                    <a:pt x="251004" y="216213"/>
                  </a:cubicBezTo>
                  <a:cubicBezTo>
                    <a:pt x="252319" y="215743"/>
                    <a:pt x="253774" y="215133"/>
                    <a:pt x="255370" y="214382"/>
                  </a:cubicBezTo>
                  <a:cubicBezTo>
                    <a:pt x="256967" y="213630"/>
                    <a:pt x="258141" y="212879"/>
                    <a:pt x="258892" y="212128"/>
                  </a:cubicBezTo>
                  <a:cubicBezTo>
                    <a:pt x="262835" y="208560"/>
                    <a:pt x="264244" y="205273"/>
                    <a:pt x="263117" y="202268"/>
                  </a:cubicBezTo>
                  <a:cubicBezTo>
                    <a:pt x="264432" y="202268"/>
                    <a:pt x="265465" y="201423"/>
                    <a:pt x="266215" y="199733"/>
                  </a:cubicBezTo>
                  <a:cubicBezTo>
                    <a:pt x="266029" y="199733"/>
                    <a:pt x="265559" y="199451"/>
                    <a:pt x="264807" y="198887"/>
                  </a:cubicBezTo>
                  <a:cubicBezTo>
                    <a:pt x="264057" y="198324"/>
                    <a:pt x="263352" y="197855"/>
                    <a:pt x="262694" y="197479"/>
                  </a:cubicBezTo>
                  <a:cubicBezTo>
                    <a:pt x="262037" y="197103"/>
                    <a:pt x="261615" y="196915"/>
                    <a:pt x="261427" y="196915"/>
                  </a:cubicBezTo>
                  <a:cubicBezTo>
                    <a:pt x="263117" y="195976"/>
                    <a:pt x="263305" y="194474"/>
                    <a:pt x="261990" y="192408"/>
                  </a:cubicBezTo>
                  <a:cubicBezTo>
                    <a:pt x="262930" y="191845"/>
                    <a:pt x="263634" y="190812"/>
                    <a:pt x="264103" y="189309"/>
                  </a:cubicBezTo>
                  <a:cubicBezTo>
                    <a:pt x="264573" y="187807"/>
                    <a:pt x="265277" y="186868"/>
                    <a:pt x="266215" y="186492"/>
                  </a:cubicBezTo>
                  <a:cubicBezTo>
                    <a:pt x="267906" y="188746"/>
                    <a:pt x="269878" y="188934"/>
                    <a:pt x="272131" y="187056"/>
                  </a:cubicBezTo>
                  <a:cubicBezTo>
                    <a:pt x="273446" y="185553"/>
                    <a:pt x="273540" y="184051"/>
                    <a:pt x="272413" y="182548"/>
                  </a:cubicBezTo>
                  <a:cubicBezTo>
                    <a:pt x="273353" y="181234"/>
                    <a:pt x="275278" y="180248"/>
                    <a:pt x="278189" y="179590"/>
                  </a:cubicBezTo>
                  <a:cubicBezTo>
                    <a:pt x="281100" y="178933"/>
                    <a:pt x="282837" y="178041"/>
                    <a:pt x="283400" y="176914"/>
                  </a:cubicBezTo>
                  <a:cubicBezTo>
                    <a:pt x="284715" y="177290"/>
                    <a:pt x="285467" y="177102"/>
                    <a:pt x="285654" y="176351"/>
                  </a:cubicBezTo>
                  <a:cubicBezTo>
                    <a:pt x="285842" y="175599"/>
                    <a:pt x="285935" y="174473"/>
                    <a:pt x="285935" y="172970"/>
                  </a:cubicBezTo>
                  <a:cubicBezTo>
                    <a:pt x="285935" y="171468"/>
                    <a:pt x="286217" y="170341"/>
                    <a:pt x="286781" y="169590"/>
                  </a:cubicBezTo>
                  <a:cubicBezTo>
                    <a:pt x="287532" y="168651"/>
                    <a:pt x="288941" y="167805"/>
                    <a:pt x="291006" y="167054"/>
                  </a:cubicBezTo>
                  <a:cubicBezTo>
                    <a:pt x="293073" y="166303"/>
                    <a:pt x="294293" y="165834"/>
                    <a:pt x="294668" y="165646"/>
                  </a:cubicBezTo>
                  <a:lnTo>
                    <a:pt x="299458" y="162547"/>
                  </a:lnTo>
                  <a:cubicBezTo>
                    <a:pt x="300021" y="161796"/>
                    <a:pt x="300021" y="161420"/>
                    <a:pt x="299458" y="161420"/>
                  </a:cubicBezTo>
                  <a:cubicBezTo>
                    <a:pt x="302838" y="161796"/>
                    <a:pt x="305750" y="160763"/>
                    <a:pt x="308191" y="158321"/>
                  </a:cubicBezTo>
                  <a:cubicBezTo>
                    <a:pt x="310069" y="156255"/>
                    <a:pt x="309506" y="154377"/>
                    <a:pt x="306500" y="152687"/>
                  </a:cubicBezTo>
                  <a:cubicBezTo>
                    <a:pt x="307064" y="151560"/>
                    <a:pt x="306782" y="150668"/>
                    <a:pt x="305655" y="150011"/>
                  </a:cubicBezTo>
                  <a:cubicBezTo>
                    <a:pt x="304528" y="149353"/>
                    <a:pt x="303120" y="148837"/>
                    <a:pt x="301430" y="148461"/>
                  </a:cubicBezTo>
                  <a:cubicBezTo>
                    <a:pt x="301993" y="148274"/>
                    <a:pt x="303074" y="148227"/>
                    <a:pt x="304669" y="148320"/>
                  </a:cubicBezTo>
                  <a:cubicBezTo>
                    <a:pt x="306266" y="148414"/>
                    <a:pt x="307252" y="148274"/>
                    <a:pt x="307627" y="147898"/>
                  </a:cubicBezTo>
                  <a:cubicBezTo>
                    <a:pt x="310444" y="146020"/>
                    <a:pt x="309787" y="144517"/>
                    <a:pt x="305655" y="143391"/>
                  </a:cubicBezTo>
                  <a:cubicBezTo>
                    <a:pt x="302463" y="142452"/>
                    <a:pt x="298425" y="143578"/>
                    <a:pt x="293542" y="146771"/>
                  </a:cubicBezTo>
                  <a:cubicBezTo>
                    <a:pt x="293166" y="146959"/>
                    <a:pt x="292274" y="147851"/>
                    <a:pt x="290865" y="149447"/>
                  </a:cubicBezTo>
                  <a:cubicBezTo>
                    <a:pt x="289457" y="151044"/>
                    <a:pt x="288189" y="151936"/>
                    <a:pt x="287062" y="152124"/>
                  </a:cubicBezTo>
                  <a:cubicBezTo>
                    <a:pt x="287439" y="152124"/>
                    <a:pt x="287861" y="151654"/>
                    <a:pt x="288330" y="150715"/>
                  </a:cubicBezTo>
                  <a:cubicBezTo>
                    <a:pt x="288800" y="149776"/>
                    <a:pt x="289270" y="148743"/>
                    <a:pt x="289738" y="147616"/>
                  </a:cubicBezTo>
                  <a:cubicBezTo>
                    <a:pt x="290208" y="146489"/>
                    <a:pt x="290537" y="145832"/>
                    <a:pt x="290724" y="145644"/>
                  </a:cubicBezTo>
                  <a:cubicBezTo>
                    <a:pt x="291851" y="144330"/>
                    <a:pt x="293918" y="142921"/>
                    <a:pt x="296922" y="141419"/>
                  </a:cubicBezTo>
                  <a:cubicBezTo>
                    <a:pt x="299552" y="140292"/>
                    <a:pt x="304435" y="139165"/>
                    <a:pt x="311571" y="138038"/>
                  </a:cubicBezTo>
                  <a:cubicBezTo>
                    <a:pt x="317957" y="136536"/>
                    <a:pt x="322746" y="137569"/>
                    <a:pt x="325939" y="141137"/>
                  </a:cubicBezTo>
                  <a:cubicBezTo>
                    <a:pt x="325563" y="140761"/>
                    <a:pt x="326455" y="139541"/>
                    <a:pt x="328615" y="137475"/>
                  </a:cubicBezTo>
                  <a:cubicBezTo>
                    <a:pt x="330775" y="135409"/>
                    <a:pt x="332136" y="134282"/>
                    <a:pt x="332699" y="134094"/>
                  </a:cubicBezTo>
                  <a:cubicBezTo>
                    <a:pt x="333263" y="133718"/>
                    <a:pt x="334671" y="133296"/>
                    <a:pt x="336925" y="132826"/>
                  </a:cubicBezTo>
                  <a:cubicBezTo>
                    <a:pt x="339178" y="132357"/>
                    <a:pt x="340587" y="131653"/>
                    <a:pt x="341150" y="130714"/>
                  </a:cubicBezTo>
                  <a:lnTo>
                    <a:pt x="341714" y="124516"/>
                  </a:lnTo>
                  <a:cubicBezTo>
                    <a:pt x="339460" y="124704"/>
                    <a:pt x="337818" y="124046"/>
                    <a:pt x="336784" y="122544"/>
                  </a:cubicBezTo>
                  <a:cubicBezTo>
                    <a:pt x="335752" y="121041"/>
                    <a:pt x="335142" y="119070"/>
                    <a:pt x="334953" y="116628"/>
                  </a:cubicBezTo>
                  <a:cubicBezTo>
                    <a:pt x="334953" y="117004"/>
                    <a:pt x="334390" y="117755"/>
                    <a:pt x="333263" y="118882"/>
                  </a:cubicBezTo>
                  <a:cubicBezTo>
                    <a:pt x="333263" y="117567"/>
                    <a:pt x="332840" y="116816"/>
                    <a:pt x="331995" y="116628"/>
                  </a:cubicBezTo>
                  <a:cubicBezTo>
                    <a:pt x="331150" y="116440"/>
                    <a:pt x="330070" y="116534"/>
                    <a:pt x="328755" y="116910"/>
                  </a:cubicBezTo>
                  <a:cubicBezTo>
                    <a:pt x="327441" y="117285"/>
                    <a:pt x="326596" y="117379"/>
                    <a:pt x="326220" y="117191"/>
                  </a:cubicBezTo>
                  <a:cubicBezTo>
                    <a:pt x="324343" y="116628"/>
                    <a:pt x="322934" y="115924"/>
                    <a:pt x="321995" y="115079"/>
                  </a:cubicBezTo>
                  <a:cubicBezTo>
                    <a:pt x="321056" y="114233"/>
                    <a:pt x="320304" y="112684"/>
                    <a:pt x="319741" y="110431"/>
                  </a:cubicBezTo>
                  <a:cubicBezTo>
                    <a:pt x="319177" y="108177"/>
                    <a:pt x="318802" y="106768"/>
                    <a:pt x="318614" y="106205"/>
                  </a:cubicBezTo>
                  <a:cubicBezTo>
                    <a:pt x="318238" y="105266"/>
                    <a:pt x="317346" y="104280"/>
                    <a:pt x="315937" y="103247"/>
                  </a:cubicBezTo>
                  <a:cubicBezTo>
                    <a:pt x="314529" y="102214"/>
                    <a:pt x="313638" y="101228"/>
                    <a:pt x="313261" y="100289"/>
                  </a:cubicBezTo>
                  <a:cubicBezTo>
                    <a:pt x="313074" y="99913"/>
                    <a:pt x="312839" y="99397"/>
                    <a:pt x="312557" y="98740"/>
                  </a:cubicBezTo>
                  <a:cubicBezTo>
                    <a:pt x="312275" y="98082"/>
                    <a:pt x="311994" y="97472"/>
                    <a:pt x="311712" y="96908"/>
                  </a:cubicBezTo>
                  <a:cubicBezTo>
                    <a:pt x="311430" y="96345"/>
                    <a:pt x="311055" y="95828"/>
                    <a:pt x="310585" y="95359"/>
                  </a:cubicBezTo>
                  <a:cubicBezTo>
                    <a:pt x="310116" y="94889"/>
                    <a:pt x="309599" y="94655"/>
                    <a:pt x="309036" y="94655"/>
                  </a:cubicBezTo>
                  <a:cubicBezTo>
                    <a:pt x="308472" y="94655"/>
                    <a:pt x="307815" y="95124"/>
                    <a:pt x="307064" y="96063"/>
                  </a:cubicBezTo>
                  <a:cubicBezTo>
                    <a:pt x="306313" y="97002"/>
                    <a:pt x="305609" y="97941"/>
                    <a:pt x="304951" y="98880"/>
                  </a:cubicBezTo>
                  <a:cubicBezTo>
                    <a:pt x="304294" y="99819"/>
                    <a:pt x="303871" y="100289"/>
                    <a:pt x="303683" y="100289"/>
                  </a:cubicBezTo>
                  <a:cubicBezTo>
                    <a:pt x="303120" y="99913"/>
                    <a:pt x="302556" y="99772"/>
                    <a:pt x="301993" y="99866"/>
                  </a:cubicBezTo>
                  <a:cubicBezTo>
                    <a:pt x="301430" y="99960"/>
                    <a:pt x="301007" y="100054"/>
                    <a:pt x="300725" y="100148"/>
                  </a:cubicBezTo>
                  <a:cubicBezTo>
                    <a:pt x="300444" y="100242"/>
                    <a:pt x="300021" y="100524"/>
                    <a:pt x="299458" y="100993"/>
                  </a:cubicBezTo>
                  <a:cubicBezTo>
                    <a:pt x="298894" y="101463"/>
                    <a:pt x="298425" y="101791"/>
                    <a:pt x="298049" y="101979"/>
                  </a:cubicBezTo>
                  <a:cubicBezTo>
                    <a:pt x="297486" y="102355"/>
                    <a:pt x="296688" y="102637"/>
                    <a:pt x="295654" y="102824"/>
                  </a:cubicBezTo>
                  <a:cubicBezTo>
                    <a:pt x="294622" y="103012"/>
                    <a:pt x="293823" y="103200"/>
                    <a:pt x="293260" y="103388"/>
                  </a:cubicBezTo>
                  <a:cubicBezTo>
                    <a:pt x="296077" y="102449"/>
                    <a:pt x="295983" y="101416"/>
                    <a:pt x="292978" y="100289"/>
                  </a:cubicBezTo>
                  <a:cubicBezTo>
                    <a:pt x="291101" y="99538"/>
                    <a:pt x="289598" y="99256"/>
                    <a:pt x="288471" y="99444"/>
                  </a:cubicBezTo>
                  <a:cubicBezTo>
                    <a:pt x="290161" y="98693"/>
                    <a:pt x="290865" y="97566"/>
                    <a:pt x="290584" y="96063"/>
                  </a:cubicBezTo>
                  <a:cubicBezTo>
                    <a:pt x="290302" y="94561"/>
                    <a:pt x="289504" y="93246"/>
                    <a:pt x="288189" y="92119"/>
                  </a:cubicBezTo>
                  <a:lnTo>
                    <a:pt x="289598" y="92119"/>
                  </a:lnTo>
                  <a:cubicBezTo>
                    <a:pt x="289411" y="91368"/>
                    <a:pt x="288612" y="90570"/>
                    <a:pt x="287203" y="89725"/>
                  </a:cubicBezTo>
                  <a:cubicBezTo>
                    <a:pt x="285795" y="88880"/>
                    <a:pt x="284152" y="88081"/>
                    <a:pt x="282273" y="87330"/>
                  </a:cubicBezTo>
                  <a:cubicBezTo>
                    <a:pt x="280396" y="86579"/>
                    <a:pt x="279175" y="86016"/>
                    <a:pt x="278611" y="85640"/>
                  </a:cubicBezTo>
                  <a:cubicBezTo>
                    <a:pt x="277109" y="84701"/>
                    <a:pt x="273917" y="83809"/>
                    <a:pt x="269033" y="82964"/>
                  </a:cubicBezTo>
                  <a:cubicBezTo>
                    <a:pt x="264151" y="82119"/>
                    <a:pt x="261051" y="82072"/>
                    <a:pt x="259736" y="82823"/>
                  </a:cubicBezTo>
                  <a:cubicBezTo>
                    <a:pt x="258798" y="83950"/>
                    <a:pt x="258375" y="84936"/>
                    <a:pt x="258469" y="85781"/>
                  </a:cubicBezTo>
                  <a:cubicBezTo>
                    <a:pt x="258563" y="86626"/>
                    <a:pt x="258939" y="87941"/>
                    <a:pt x="259596" y="89725"/>
                  </a:cubicBezTo>
                  <a:cubicBezTo>
                    <a:pt x="260254" y="91509"/>
                    <a:pt x="260582" y="92683"/>
                    <a:pt x="260582" y="93246"/>
                  </a:cubicBezTo>
                  <a:cubicBezTo>
                    <a:pt x="260770" y="94373"/>
                    <a:pt x="260254" y="95594"/>
                    <a:pt x="259032" y="96908"/>
                  </a:cubicBezTo>
                  <a:cubicBezTo>
                    <a:pt x="257812" y="98223"/>
                    <a:pt x="257201" y="99350"/>
                    <a:pt x="257201" y="100289"/>
                  </a:cubicBezTo>
                  <a:cubicBezTo>
                    <a:pt x="257201" y="101604"/>
                    <a:pt x="258516" y="103059"/>
                    <a:pt x="261145" y="104655"/>
                  </a:cubicBezTo>
                  <a:cubicBezTo>
                    <a:pt x="263775" y="106252"/>
                    <a:pt x="264714" y="108271"/>
                    <a:pt x="263962" y="110712"/>
                  </a:cubicBezTo>
                  <a:cubicBezTo>
                    <a:pt x="263399" y="112215"/>
                    <a:pt x="261897" y="113717"/>
                    <a:pt x="259455" y="115219"/>
                  </a:cubicBezTo>
                  <a:cubicBezTo>
                    <a:pt x="257014" y="116722"/>
                    <a:pt x="255511" y="117849"/>
                    <a:pt x="254948" y="118600"/>
                  </a:cubicBezTo>
                  <a:cubicBezTo>
                    <a:pt x="254009" y="120102"/>
                    <a:pt x="253868" y="121840"/>
                    <a:pt x="254525" y="123812"/>
                  </a:cubicBezTo>
                  <a:cubicBezTo>
                    <a:pt x="255183" y="125784"/>
                    <a:pt x="256169" y="127333"/>
                    <a:pt x="257483" y="128460"/>
                  </a:cubicBezTo>
                  <a:cubicBezTo>
                    <a:pt x="257859" y="128835"/>
                    <a:pt x="258000" y="129211"/>
                    <a:pt x="257906" y="129587"/>
                  </a:cubicBezTo>
                  <a:cubicBezTo>
                    <a:pt x="257812" y="129962"/>
                    <a:pt x="257483" y="130385"/>
                    <a:pt x="256920" y="130854"/>
                  </a:cubicBezTo>
                  <a:cubicBezTo>
                    <a:pt x="256356" y="131324"/>
                    <a:pt x="255840" y="131700"/>
                    <a:pt x="255370" y="131981"/>
                  </a:cubicBezTo>
                  <a:cubicBezTo>
                    <a:pt x="254901" y="132263"/>
                    <a:pt x="254291" y="132592"/>
                    <a:pt x="253539" y="132967"/>
                  </a:cubicBezTo>
                  <a:lnTo>
                    <a:pt x="252694" y="133531"/>
                  </a:lnTo>
                  <a:cubicBezTo>
                    <a:pt x="250628" y="134470"/>
                    <a:pt x="248703" y="133906"/>
                    <a:pt x="246918" y="131840"/>
                  </a:cubicBezTo>
                  <a:cubicBezTo>
                    <a:pt x="245135" y="129775"/>
                    <a:pt x="243867" y="127333"/>
                    <a:pt x="243116" y="124516"/>
                  </a:cubicBezTo>
                  <a:cubicBezTo>
                    <a:pt x="241801" y="119821"/>
                    <a:pt x="240298" y="117004"/>
                    <a:pt x="238608" y="116065"/>
                  </a:cubicBezTo>
                  <a:cubicBezTo>
                    <a:pt x="234289" y="114562"/>
                    <a:pt x="231565" y="114656"/>
                    <a:pt x="230439" y="116346"/>
                  </a:cubicBezTo>
                  <a:cubicBezTo>
                    <a:pt x="229500" y="113905"/>
                    <a:pt x="225649" y="111463"/>
                    <a:pt x="218888" y="109022"/>
                  </a:cubicBezTo>
                  <a:cubicBezTo>
                    <a:pt x="214194" y="107332"/>
                    <a:pt x="208747" y="106956"/>
                    <a:pt x="202549" y="107895"/>
                  </a:cubicBezTo>
                  <a:cubicBezTo>
                    <a:pt x="203676" y="107707"/>
                    <a:pt x="203676" y="106299"/>
                    <a:pt x="202549" y="103669"/>
                  </a:cubicBezTo>
                  <a:cubicBezTo>
                    <a:pt x="201235" y="100852"/>
                    <a:pt x="199450" y="99725"/>
                    <a:pt x="197196" y="100289"/>
                  </a:cubicBezTo>
                  <a:cubicBezTo>
                    <a:pt x="197760" y="99162"/>
                    <a:pt x="198137" y="97519"/>
                    <a:pt x="198324" y="95359"/>
                  </a:cubicBezTo>
                  <a:cubicBezTo>
                    <a:pt x="198511" y="93199"/>
                    <a:pt x="198605" y="91931"/>
                    <a:pt x="198605" y="91556"/>
                  </a:cubicBezTo>
                  <a:cubicBezTo>
                    <a:pt x="199168" y="89114"/>
                    <a:pt x="200296" y="86955"/>
                    <a:pt x="201986" y="85077"/>
                  </a:cubicBezTo>
                  <a:cubicBezTo>
                    <a:pt x="202174" y="84889"/>
                    <a:pt x="202831" y="84091"/>
                    <a:pt x="203958" y="82682"/>
                  </a:cubicBezTo>
                  <a:cubicBezTo>
                    <a:pt x="205084" y="81273"/>
                    <a:pt x="205977" y="80006"/>
                    <a:pt x="206634" y="78879"/>
                  </a:cubicBezTo>
                  <a:cubicBezTo>
                    <a:pt x="207292" y="77752"/>
                    <a:pt x="207338" y="77189"/>
                    <a:pt x="206775" y="77189"/>
                  </a:cubicBezTo>
                  <a:cubicBezTo>
                    <a:pt x="213349" y="77940"/>
                    <a:pt x="218043" y="76907"/>
                    <a:pt x="220860" y="74090"/>
                  </a:cubicBezTo>
                  <a:cubicBezTo>
                    <a:pt x="221800" y="73151"/>
                    <a:pt x="222880" y="71554"/>
                    <a:pt x="224100" y="69301"/>
                  </a:cubicBezTo>
                  <a:cubicBezTo>
                    <a:pt x="225321" y="67047"/>
                    <a:pt x="226307" y="65451"/>
                    <a:pt x="227058" y="64512"/>
                  </a:cubicBezTo>
                  <a:cubicBezTo>
                    <a:pt x="228748" y="63385"/>
                    <a:pt x="230063" y="62868"/>
                    <a:pt x="231002" y="62962"/>
                  </a:cubicBezTo>
                  <a:cubicBezTo>
                    <a:pt x="231941" y="63056"/>
                    <a:pt x="233303" y="63573"/>
                    <a:pt x="235087" y="64512"/>
                  </a:cubicBezTo>
                  <a:cubicBezTo>
                    <a:pt x="236871" y="65451"/>
                    <a:pt x="238233" y="65920"/>
                    <a:pt x="239172" y="65920"/>
                  </a:cubicBezTo>
                  <a:cubicBezTo>
                    <a:pt x="241801" y="66108"/>
                    <a:pt x="243256" y="65075"/>
                    <a:pt x="243538" y="62821"/>
                  </a:cubicBezTo>
                  <a:cubicBezTo>
                    <a:pt x="243820" y="60568"/>
                    <a:pt x="243116" y="58690"/>
                    <a:pt x="241425" y="57187"/>
                  </a:cubicBezTo>
                  <a:cubicBezTo>
                    <a:pt x="243679" y="57375"/>
                    <a:pt x="243960" y="55779"/>
                    <a:pt x="242270" y="52398"/>
                  </a:cubicBezTo>
                  <a:cubicBezTo>
                    <a:pt x="241332" y="51083"/>
                    <a:pt x="240580" y="50238"/>
                    <a:pt x="240017" y="49863"/>
                  </a:cubicBezTo>
                  <a:cubicBezTo>
                    <a:pt x="237763" y="49111"/>
                    <a:pt x="235228" y="49581"/>
                    <a:pt x="232411" y="51271"/>
                  </a:cubicBezTo>
                  <a:cubicBezTo>
                    <a:pt x="230908" y="52022"/>
                    <a:pt x="231097" y="52774"/>
                    <a:pt x="232974" y="53525"/>
                  </a:cubicBezTo>
                  <a:cubicBezTo>
                    <a:pt x="232787" y="53337"/>
                    <a:pt x="231894" y="54323"/>
                    <a:pt x="230298" y="56483"/>
                  </a:cubicBezTo>
                  <a:cubicBezTo>
                    <a:pt x="228702" y="58643"/>
                    <a:pt x="227153" y="60286"/>
                    <a:pt x="225649" y="61413"/>
                  </a:cubicBezTo>
                  <a:cubicBezTo>
                    <a:pt x="224147" y="62540"/>
                    <a:pt x="222645" y="62070"/>
                    <a:pt x="221142" y="60004"/>
                  </a:cubicBezTo>
                  <a:cubicBezTo>
                    <a:pt x="220955" y="59816"/>
                    <a:pt x="220438" y="58549"/>
                    <a:pt x="219593" y="56201"/>
                  </a:cubicBezTo>
                  <a:cubicBezTo>
                    <a:pt x="218747" y="53854"/>
                    <a:pt x="217856" y="52586"/>
                    <a:pt x="216916" y="52398"/>
                  </a:cubicBezTo>
                  <a:cubicBezTo>
                    <a:pt x="215415" y="52398"/>
                    <a:pt x="213912" y="53807"/>
                    <a:pt x="212409" y="56624"/>
                  </a:cubicBezTo>
                  <a:cubicBezTo>
                    <a:pt x="212972" y="55121"/>
                    <a:pt x="211940" y="53713"/>
                    <a:pt x="209310" y="52398"/>
                  </a:cubicBezTo>
                  <a:cubicBezTo>
                    <a:pt x="206681" y="51083"/>
                    <a:pt x="204427" y="50332"/>
                    <a:pt x="202549" y="50144"/>
                  </a:cubicBezTo>
                  <a:cubicBezTo>
                    <a:pt x="206118" y="47891"/>
                    <a:pt x="205366" y="45355"/>
                    <a:pt x="200296" y="42538"/>
                  </a:cubicBezTo>
                  <a:cubicBezTo>
                    <a:pt x="198982" y="41787"/>
                    <a:pt x="197056" y="41317"/>
                    <a:pt x="194520" y="41130"/>
                  </a:cubicBezTo>
                  <a:close/>
                  <a:moveTo>
                    <a:pt x="279879" y="312558"/>
                  </a:moveTo>
                  <a:cubicBezTo>
                    <a:pt x="278470" y="312839"/>
                    <a:pt x="277343" y="313262"/>
                    <a:pt x="276498" y="313825"/>
                  </a:cubicBezTo>
                  <a:cubicBezTo>
                    <a:pt x="275653" y="314389"/>
                    <a:pt x="274574" y="315187"/>
                    <a:pt x="273259" y="316220"/>
                  </a:cubicBezTo>
                  <a:cubicBezTo>
                    <a:pt x="271945" y="317253"/>
                    <a:pt x="271099" y="317863"/>
                    <a:pt x="270723" y="318051"/>
                  </a:cubicBezTo>
                  <a:cubicBezTo>
                    <a:pt x="270348" y="318239"/>
                    <a:pt x="269550" y="318755"/>
                    <a:pt x="268329" y="319600"/>
                  </a:cubicBezTo>
                  <a:cubicBezTo>
                    <a:pt x="267108" y="320445"/>
                    <a:pt x="266310" y="321150"/>
                    <a:pt x="265934" y="321713"/>
                  </a:cubicBezTo>
                  <a:cubicBezTo>
                    <a:pt x="265371" y="322465"/>
                    <a:pt x="264807" y="323591"/>
                    <a:pt x="264244" y="325094"/>
                  </a:cubicBezTo>
                  <a:cubicBezTo>
                    <a:pt x="263680" y="326596"/>
                    <a:pt x="263212" y="327629"/>
                    <a:pt x="262835" y="328193"/>
                  </a:cubicBezTo>
                  <a:cubicBezTo>
                    <a:pt x="262460" y="327441"/>
                    <a:pt x="261380" y="326831"/>
                    <a:pt x="259596" y="326362"/>
                  </a:cubicBezTo>
                  <a:cubicBezTo>
                    <a:pt x="257812" y="325892"/>
                    <a:pt x="256920" y="325376"/>
                    <a:pt x="256920" y="324812"/>
                  </a:cubicBezTo>
                  <a:cubicBezTo>
                    <a:pt x="257296" y="326690"/>
                    <a:pt x="257671" y="329977"/>
                    <a:pt x="258046" y="334672"/>
                  </a:cubicBezTo>
                  <a:cubicBezTo>
                    <a:pt x="258422" y="339367"/>
                    <a:pt x="258892" y="342935"/>
                    <a:pt x="259455" y="345377"/>
                  </a:cubicBezTo>
                  <a:cubicBezTo>
                    <a:pt x="260770" y="351199"/>
                    <a:pt x="259643" y="355706"/>
                    <a:pt x="256074" y="358899"/>
                  </a:cubicBezTo>
                  <a:cubicBezTo>
                    <a:pt x="251004" y="363594"/>
                    <a:pt x="248281" y="367350"/>
                    <a:pt x="247904" y="370167"/>
                  </a:cubicBezTo>
                  <a:cubicBezTo>
                    <a:pt x="247154" y="374299"/>
                    <a:pt x="248281" y="376741"/>
                    <a:pt x="251285" y="377492"/>
                  </a:cubicBezTo>
                  <a:cubicBezTo>
                    <a:pt x="251285" y="378807"/>
                    <a:pt x="250534" y="380732"/>
                    <a:pt x="249032" y="383267"/>
                  </a:cubicBezTo>
                  <a:cubicBezTo>
                    <a:pt x="247529" y="385802"/>
                    <a:pt x="246872" y="387821"/>
                    <a:pt x="247060" y="389324"/>
                  </a:cubicBezTo>
                  <a:cubicBezTo>
                    <a:pt x="247060" y="390451"/>
                    <a:pt x="247247" y="391953"/>
                    <a:pt x="247623" y="393831"/>
                  </a:cubicBezTo>
                  <a:cubicBezTo>
                    <a:pt x="286312" y="387070"/>
                    <a:pt x="319272" y="369322"/>
                    <a:pt x="346503" y="340588"/>
                  </a:cubicBezTo>
                  <a:cubicBezTo>
                    <a:pt x="345940" y="340024"/>
                    <a:pt x="344767" y="339602"/>
                    <a:pt x="342982" y="339320"/>
                  </a:cubicBezTo>
                  <a:cubicBezTo>
                    <a:pt x="341198" y="339038"/>
                    <a:pt x="340024" y="338710"/>
                    <a:pt x="339460" y="338334"/>
                  </a:cubicBezTo>
                  <a:cubicBezTo>
                    <a:pt x="336080" y="337019"/>
                    <a:pt x="333826" y="336268"/>
                    <a:pt x="332699" y="336080"/>
                  </a:cubicBezTo>
                  <a:cubicBezTo>
                    <a:pt x="332888" y="334766"/>
                    <a:pt x="332653" y="333545"/>
                    <a:pt x="331995" y="332418"/>
                  </a:cubicBezTo>
                  <a:cubicBezTo>
                    <a:pt x="331338" y="331291"/>
                    <a:pt x="330587" y="330446"/>
                    <a:pt x="329741" y="329883"/>
                  </a:cubicBezTo>
                  <a:cubicBezTo>
                    <a:pt x="328897" y="329319"/>
                    <a:pt x="327723" y="328568"/>
                    <a:pt x="326220" y="327629"/>
                  </a:cubicBezTo>
                  <a:cubicBezTo>
                    <a:pt x="324718" y="326690"/>
                    <a:pt x="323685" y="326033"/>
                    <a:pt x="323121" y="325657"/>
                  </a:cubicBezTo>
                  <a:cubicBezTo>
                    <a:pt x="322746" y="325281"/>
                    <a:pt x="322089" y="324718"/>
                    <a:pt x="321149" y="323967"/>
                  </a:cubicBezTo>
                  <a:cubicBezTo>
                    <a:pt x="320210" y="323216"/>
                    <a:pt x="319554" y="322699"/>
                    <a:pt x="319177" y="322418"/>
                  </a:cubicBezTo>
                  <a:cubicBezTo>
                    <a:pt x="318802" y="322136"/>
                    <a:pt x="318098" y="321713"/>
                    <a:pt x="317065" y="321150"/>
                  </a:cubicBezTo>
                  <a:cubicBezTo>
                    <a:pt x="316032" y="320586"/>
                    <a:pt x="315233" y="320399"/>
                    <a:pt x="314670" y="320586"/>
                  </a:cubicBezTo>
                  <a:cubicBezTo>
                    <a:pt x="314107" y="320774"/>
                    <a:pt x="313168" y="320868"/>
                    <a:pt x="311853" y="320868"/>
                  </a:cubicBezTo>
                  <a:lnTo>
                    <a:pt x="311008" y="321150"/>
                  </a:lnTo>
                  <a:cubicBezTo>
                    <a:pt x="310444" y="321338"/>
                    <a:pt x="309928" y="321572"/>
                    <a:pt x="309458" y="321854"/>
                  </a:cubicBezTo>
                  <a:cubicBezTo>
                    <a:pt x="308990" y="322136"/>
                    <a:pt x="308472" y="322418"/>
                    <a:pt x="307909" y="322699"/>
                  </a:cubicBezTo>
                  <a:cubicBezTo>
                    <a:pt x="307346" y="322981"/>
                    <a:pt x="306970" y="323263"/>
                    <a:pt x="306782" y="323544"/>
                  </a:cubicBezTo>
                  <a:cubicBezTo>
                    <a:pt x="306595" y="323826"/>
                    <a:pt x="306595" y="324061"/>
                    <a:pt x="306782" y="324249"/>
                  </a:cubicBezTo>
                  <a:cubicBezTo>
                    <a:pt x="302838" y="321056"/>
                    <a:pt x="299458" y="318990"/>
                    <a:pt x="296640" y="318051"/>
                  </a:cubicBezTo>
                  <a:cubicBezTo>
                    <a:pt x="295702" y="317863"/>
                    <a:pt x="294668" y="317347"/>
                    <a:pt x="293542" y="316502"/>
                  </a:cubicBezTo>
                  <a:cubicBezTo>
                    <a:pt x="292415" y="315657"/>
                    <a:pt x="291429" y="314999"/>
                    <a:pt x="290584" y="314530"/>
                  </a:cubicBezTo>
                  <a:cubicBezTo>
                    <a:pt x="289738" y="314060"/>
                    <a:pt x="288800" y="313919"/>
                    <a:pt x="287767" y="314107"/>
                  </a:cubicBezTo>
                  <a:cubicBezTo>
                    <a:pt x="286735" y="314295"/>
                    <a:pt x="285654" y="314952"/>
                    <a:pt x="284527" y="316079"/>
                  </a:cubicBezTo>
                  <a:cubicBezTo>
                    <a:pt x="283588" y="317018"/>
                    <a:pt x="283025" y="318427"/>
                    <a:pt x="282837" y="320305"/>
                  </a:cubicBezTo>
                  <a:cubicBezTo>
                    <a:pt x="282649" y="322183"/>
                    <a:pt x="282462" y="323404"/>
                    <a:pt x="282273" y="323967"/>
                  </a:cubicBezTo>
                  <a:cubicBezTo>
                    <a:pt x="280959" y="323028"/>
                    <a:pt x="280959" y="321384"/>
                    <a:pt x="282273" y="319037"/>
                  </a:cubicBezTo>
                  <a:cubicBezTo>
                    <a:pt x="283588" y="316689"/>
                    <a:pt x="283777" y="314952"/>
                    <a:pt x="282837" y="313825"/>
                  </a:cubicBezTo>
                  <a:cubicBezTo>
                    <a:pt x="282273" y="312699"/>
                    <a:pt x="281287" y="312276"/>
                    <a:pt x="279879" y="312558"/>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2" name="Freeform 243">
              <a:extLst>
                <a:ext uri="{FF2B5EF4-FFF2-40B4-BE49-F238E27FC236}">
                  <a16:creationId xmlns:a16="http://schemas.microsoft.com/office/drawing/2014/main" id="{70C5A877-7342-A757-EEC9-9A618F8BBFCB}"/>
                </a:ext>
              </a:extLst>
            </p:cNvPr>
            <p:cNvSpPr/>
            <p:nvPr/>
          </p:nvSpPr>
          <p:spPr>
            <a:xfrm>
              <a:off x="7437246" y="2824517"/>
              <a:ext cx="432000" cy="288000"/>
            </a:xfrm>
            <a:custGeom>
              <a:avLst/>
              <a:gdLst>
                <a:gd name="connsiteX0" fmla="*/ 198324 w 576943"/>
                <a:gd name="connsiteY0" fmla="*/ 36058 h 432707"/>
                <a:gd name="connsiteX1" fmla="*/ 360589 w 576943"/>
                <a:gd name="connsiteY1" fmla="*/ 198323 h 432707"/>
                <a:gd name="connsiteX2" fmla="*/ 468766 w 576943"/>
                <a:gd name="connsiteY2" fmla="*/ 108176 h 432707"/>
                <a:gd name="connsiteX3" fmla="*/ 540884 w 576943"/>
                <a:gd name="connsiteY3" fmla="*/ 360588 h 432707"/>
                <a:gd name="connsiteX4" fmla="*/ 72118 w 576943"/>
                <a:gd name="connsiteY4" fmla="*/ 360588 h 432707"/>
                <a:gd name="connsiteX5" fmla="*/ 72118 w 576943"/>
                <a:gd name="connsiteY5" fmla="*/ 198323 h 432707"/>
                <a:gd name="connsiteX6" fmla="*/ 0 w 576943"/>
                <a:gd name="connsiteY6" fmla="*/ 0 h 432707"/>
                <a:gd name="connsiteX7" fmla="*/ 36059 w 576943"/>
                <a:gd name="connsiteY7" fmla="*/ 0 h 432707"/>
                <a:gd name="connsiteX8" fmla="*/ 36059 w 576943"/>
                <a:gd name="connsiteY8" fmla="*/ 396648 h 432707"/>
                <a:gd name="connsiteX9" fmla="*/ 576943 w 576943"/>
                <a:gd name="connsiteY9" fmla="*/ 396648 h 432707"/>
                <a:gd name="connsiteX10" fmla="*/ 576943 w 576943"/>
                <a:gd name="connsiteY10" fmla="*/ 432707 h 432707"/>
                <a:gd name="connsiteX11" fmla="*/ 0 w 576943"/>
                <a:gd name="connsiteY11" fmla="*/ 432707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6943" h="432707">
                  <a:moveTo>
                    <a:pt x="198324" y="36058"/>
                  </a:moveTo>
                  <a:lnTo>
                    <a:pt x="360589" y="198323"/>
                  </a:lnTo>
                  <a:lnTo>
                    <a:pt x="468766" y="108176"/>
                  </a:lnTo>
                  <a:lnTo>
                    <a:pt x="540884" y="360588"/>
                  </a:lnTo>
                  <a:lnTo>
                    <a:pt x="72118" y="360588"/>
                  </a:lnTo>
                  <a:lnTo>
                    <a:pt x="72118" y="198323"/>
                  </a:lnTo>
                  <a:close/>
                  <a:moveTo>
                    <a:pt x="0" y="0"/>
                  </a:moveTo>
                  <a:lnTo>
                    <a:pt x="36059" y="0"/>
                  </a:lnTo>
                  <a:lnTo>
                    <a:pt x="36059" y="396648"/>
                  </a:lnTo>
                  <a:lnTo>
                    <a:pt x="576943" y="396648"/>
                  </a:lnTo>
                  <a:lnTo>
                    <a:pt x="576943" y="432707"/>
                  </a:lnTo>
                  <a:lnTo>
                    <a:pt x="0" y="432707"/>
                  </a:ln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3" name="Freeform 263">
              <a:extLst>
                <a:ext uri="{FF2B5EF4-FFF2-40B4-BE49-F238E27FC236}">
                  <a16:creationId xmlns:a16="http://schemas.microsoft.com/office/drawing/2014/main" id="{E2D2F8DA-C0A2-8B99-DFAF-DCEFD15D7714}"/>
                </a:ext>
              </a:extLst>
            </p:cNvPr>
            <p:cNvSpPr/>
            <p:nvPr/>
          </p:nvSpPr>
          <p:spPr>
            <a:xfrm>
              <a:off x="6660637" y="1911008"/>
              <a:ext cx="432000" cy="360000"/>
            </a:xfrm>
            <a:custGeom>
              <a:avLst/>
              <a:gdLst>
                <a:gd name="connsiteX0" fmla="*/ 36059 w 504825"/>
                <a:gd name="connsiteY0" fmla="*/ 324530 h 396648"/>
                <a:gd name="connsiteX1" fmla="*/ 36059 w 504825"/>
                <a:gd name="connsiteY1" fmla="*/ 360589 h 396648"/>
                <a:gd name="connsiteX2" fmla="*/ 324530 w 504825"/>
                <a:gd name="connsiteY2" fmla="*/ 360589 h 396648"/>
                <a:gd name="connsiteX3" fmla="*/ 324530 w 504825"/>
                <a:gd name="connsiteY3" fmla="*/ 324530 h 396648"/>
                <a:gd name="connsiteX4" fmla="*/ 450737 w 504825"/>
                <a:gd name="connsiteY4" fmla="*/ 315515 h 396648"/>
                <a:gd name="connsiteX5" fmla="*/ 431581 w 504825"/>
                <a:gd name="connsiteY5" fmla="*/ 323403 h 396648"/>
                <a:gd name="connsiteX6" fmla="*/ 423693 w 504825"/>
                <a:gd name="connsiteY6" fmla="*/ 342560 h 396648"/>
                <a:gd name="connsiteX7" fmla="*/ 431581 w 504825"/>
                <a:gd name="connsiteY7" fmla="*/ 361716 h 396648"/>
                <a:gd name="connsiteX8" fmla="*/ 450737 w 504825"/>
                <a:gd name="connsiteY8" fmla="*/ 369604 h 396648"/>
                <a:gd name="connsiteX9" fmla="*/ 469893 w 504825"/>
                <a:gd name="connsiteY9" fmla="*/ 361716 h 396648"/>
                <a:gd name="connsiteX10" fmla="*/ 477781 w 504825"/>
                <a:gd name="connsiteY10" fmla="*/ 342560 h 396648"/>
                <a:gd name="connsiteX11" fmla="*/ 469893 w 504825"/>
                <a:gd name="connsiteY11" fmla="*/ 323403 h 396648"/>
                <a:gd name="connsiteX12" fmla="*/ 450737 w 504825"/>
                <a:gd name="connsiteY12" fmla="*/ 315515 h 396648"/>
                <a:gd name="connsiteX13" fmla="*/ 0 w 504825"/>
                <a:gd name="connsiteY13" fmla="*/ 288471 h 396648"/>
                <a:gd name="connsiteX14" fmla="*/ 504825 w 504825"/>
                <a:gd name="connsiteY14" fmla="*/ 288471 h 396648"/>
                <a:gd name="connsiteX15" fmla="*/ 504825 w 504825"/>
                <a:gd name="connsiteY15" fmla="*/ 396648 h 396648"/>
                <a:gd name="connsiteX16" fmla="*/ 0 w 504825"/>
                <a:gd name="connsiteY16" fmla="*/ 396648 h 396648"/>
                <a:gd name="connsiteX17" fmla="*/ 36059 w 504825"/>
                <a:gd name="connsiteY17" fmla="*/ 180294 h 396648"/>
                <a:gd name="connsiteX18" fmla="*/ 36059 w 504825"/>
                <a:gd name="connsiteY18" fmla="*/ 216352 h 396648"/>
                <a:gd name="connsiteX19" fmla="*/ 324530 w 504825"/>
                <a:gd name="connsiteY19" fmla="*/ 216352 h 396648"/>
                <a:gd name="connsiteX20" fmla="*/ 324530 w 504825"/>
                <a:gd name="connsiteY20" fmla="*/ 180294 h 396648"/>
                <a:gd name="connsiteX21" fmla="*/ 450737 w 504825"/>
                <a:gd name="connsiteY21" fmla="*/ 171279 h 396648"/>
                <a:gd name="connsiteX22" fmla="*/ 431581 w 504825"/>
                <a:gd name="connsiteY22" fmla="*/ 179167 h 396648"/>
                <a:gd name="connsiteX23" fmla="*/ 423693 w 504825"/>
                <a:gd name="connsiteY23" fmla="*/ 198323 h 396648"/>
                <a:gd name="connsiteX24" fmla="*/ 431581 w 504825"/>
                <a:gd name="connsiteY24" fmla="*/ 217479 h 396648"/>
                <a:gd name="connsiteX25" fmla="*/ 450737 w 504825"/>
                <a:gd name="connsiteY25" fmla="*/ 225367 h 396648"/>
                <a:gd name="connsiteX26" fmla="*/ 469893 w 504825"/>
                <a:gd name="connsiteY26" fmla="*/ 217479 h 396648"/>
                <a:gd name="connsiteX27" fmla="*/ 477781 w 504825"/>
                <a:gd name="connsiteY27" fmla="*/ 198323 h 396648"/>
                <a:gd name="connsiteX28" fmla="*/ 469893 w 504825"/>
                <a:gd name="connsiteY28" fmla="*/ 179167 h 396648"/>
                <a:gd name="connsiteX29" fmla="*/ 450737 w 504825"/>
                <a:gd name="connsiteY29" fmla="*/ 171279 h 396648"/>
                <a:gd name="connsiteX30" fmla="*/ 0 w 504825"/>
                <a:gd name="connsiteY30" fmla="*/ 144235 h 396648"/>
                <a:gd name="connsiteX31" fmla="*/ 504825 w 504825"/>
                <a:gd name="connsiteY31" fmla="*/ 144235 h 396648"/>
                <a:gd name="connsiteX32" fmla="*/ 504825 w 504825"/>
                <a:gd name="connsiteY32" fmla="*/ 252411 h 396648"/>
                <a:gd name="connsiteX33" fmla="*/ 0 w 504825"/>
                <a:gd name="connsiteY33" fmla="*/ 252411 h 396648"/>
                <a:gd name="connsiteX34" fmla="*/ 36059 w 504825"/>
                <a:gd name="connsiteY34" fmla="*/ 36059 h 396648"/>
                <a:gd name="connsiteX35" fmla="*/ 36059 w 504825"/>
                <a:gd name="connsiteY35" fmla="*/ 72118 h 396648"/>
                <a:gd name="connsiteX36" fmla="*/ 324530 w 504825"/>
                <a:gd name="connsiteY36" fmla="*/ 72118 h 396648"/>
                <a:gd name="connsiteX37" fmla="*/ 324530 w 504825"/>
                <a:gd name="connsiteY37" fmla="*/ 36059 h 396648"/>
                <a:gd name="connsiteX38" fmla="*/ 450737 w 504825"/>
                <a:gd name="connsiteY38" fmla="*/ 27044 h 396648"/>
                <a:gd name="connsiteX39" fmla="*/ 431581 w 504825"/>
                <a:gd name="connsiteY39" fmla="*/ 34932 h 396648"/>
                <a:gd name="connsiteX40" fmla="*/ 423693 w 504825"/>
                <a:gd name="connsiteY40" fmla="*/ 54088 h 396648"/>
                <a:gd name="connsiteX41" fmla="*/ 431581 w 504825"/>
                <a:gd name="connsiteY41" fmla="*/ 73245 h 396648"/>
                <a:gd name="connsiteX42" fmla="*/ 450737 w 504825"/>
                <a:gd name="connsiteY42" fmla="*/ 81133 h 396648"/>
                <a:gd name="connsiteX43" fmla="*/ 469893 w 504825"/>
                <a:gd name="connsiteY43" fmla="*/ 73245 h 396648"/>
                <a:gd name="connsiteX44" fmla="*/ 477781 w 504825"/>
                <a:gd name="connsiteY44" fmla="*/ 54088 h 396648"/>
                <a:gd name="connsiteX45" fmla="*/ 469893 w 504825"/>
                <a:gd name="connsiteY45" fmla="*/ 34932 h 396648"/>
                <a:gd name="connsiteX46" fmla="*/ 450737 w 504825"/>
                <a:gd name="connsiteY46" fmla="*/ 27044 h 396648"/>
                <a:gd name="connsiteX47" fmla="*/ 0 w 504825"/>
                <a:gd name="connsiteY47" fmla="*/ 0 h 396648"/>
                <a:gd name="connsiteX48" fmla="*/ 504825 w 504825"/>
                <a:gd name="connsiteY48" fmla="*/ 0 h 396648"/>
                <a:gd name="connsiteX49" fmla="*/ 504825 w 504825"/>
                <a:gd name="connsiteY49" fmla="*/ 108177 h 396648"/>
                <a:gd name="connsiteX50" fmla="*/ 0 w 504825"/>
                <a:gd name="connsiteY50" fmla="*/ 108177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04825" h="396648">
                  <a:moveTo>
                    <a:pt x="36059" y="324530"/>
                  </a:moveTo>
                  <a:lnTo>
                    <a:pt x="36059" y="360589"/>
                  </a:lnTo>
                  <a:lnTo>
                    <a:pt x="324530" y="360589"/>
                  </a:lnTo>
                  <a:lnTo>
                    <a:pt x="324530" y="324530"/>
                  </a:lnTo>
                  <a:close/>
                  <a:moveTo>
                    <a:pt x="450737" y="315515"/>
                  </a:moveTo>
                  <a:cubicBezTo>
                    <a:pt x="443225" y="315515"/>
                    <a:pt x="436839" y="318145"/>
                    <a:pt x="431581" y="323403"/>
                  </a:cubicBezTo>
                  <a:cubicBezTo>
                    <a:pt x="426322" y="328662"/>
                    <a:pt x="423693" y="335047"/>
                    <a:pt x="423693" y="342560"/>
                  </a:cubicBezTo>
                  <a:cubicBezTo>
                    <a:pt x="423693" y="350072"/>
                    <a:pt x="426322" y="356457"/>
                    <a:pt x="431581" y="361716"/>
                  </a:cubicBezTo>
                  <a:cubicBezTo>
                    <a:pt x="436839" y="366975"/>
                    <a:pt x="443225" y="369604"/>
                    <a:pt x="450737" y="369604"/>
                  </a:cubicBezTo>
                  <a:cubicBezTo>
                    <a:pt x="458249" y="369604"/>
                    <a:pt x="464635" y="366975"/>
                    <a:pt x="469893" y="361716"/>
                  </a:cubicBezTo>
                  <a:cubicBezTo>
                    <a:pt x="475152" y="356457"/>
                    <a:pt x="477781" y="350072"/>
                    <a:pt x="477781" y="342560"/>
                  </a:cubicBezTo>
                  <a:cubicBezTo>
                    <a:pt x="477781" y="335047"/>
                    <a:pt x="475152" y="328662"/>
                    <a:pt x="469893" y="323403"/>
                  </a:cubicBezTo>
                  <a:cubicBezTo>
                    <a:pt x="464635" y="318145"/>
                    <a:pt x="458249" y="315515"/>
                    <a:pt x="450737" y="315515"/>
                  </a:cubicBezTo>
                  <a:close/>
                  <a:moveTo>
                    <a:pt x="0" y="288471"/>
                  </a:moveTo>
                  <a:lnTo>
                    <a:pt x="504825" y="288471"/>
                  </a:lnTo>
                  <a:lnTo>
                    <a:pt x="504825" y="396648"/>
                  </a:lnTo>
                  <a:lnTo>
                    <a:pt x="0" y="396648"/>
                  </a:lnTo>
                  <a:close/>
                  <a:moveTo>
                    <a:pt x="36059" y="180294"/>
                  </a:moveTo>
                  <a:lnTo>
                    <a:pt x="36059" y="216352"/>
                  </a:lnTo>
                  <a:lnTo>
                    <a:pt x="324530" y="216352"/>
                  </a:lnTo>
                  <a:lnTo>
                    <a:pt x="324530" y="180294"/>
                  </a:lnTo>
                  <a:close/>
                  <a:moveTo>
                    <a:pt x="450737" y="171279"/>
                  </a:moveTo>
                  <a:cubicBezTo>
                    <a:pt x="443225" y="171279"/>
                    <a:pt x="436839" y="173908"/>
                    <a:pt x="431581" y="179167"/>
                  </a:cubicBezTo>
                  <a:cubicBezTo>
                    <a:pt x="426322" y="184425"/>
                    <a:pt x="423693" y="190811"/>
                    <a:pt x="423693" y="198323"/>
                  </a:cubicBezTo>
                  <a:cubicBezTo>
                    <a:pt x="423693" y="205835"/>
                    <a:pt x="426322" y="212221"/>
                    <a:pt x="431581" y="217479"/>
                  </a:cubicBezTo>
                  <a:cubicBezTo>
                    <a:pt x="436839" y="222738"/>
                    <a:pt x="443225" y="225367"/>
                    <a:pt x="450737" y="225367"/>
                  </a:cubicBezTo>
                  <a:cubicBezTo>
                    <a:pt x="458249" y="225367"/>
                    <a:pt x="464635" y="222738"/>
                    <a:pt x="469893" y="217479"/>
                  </a:cubicBezTo>
                  <a:cubicBezTo>
                    <a:pt x="475152" y="212221"/>
                    <a:pt x="477781" y="205835"/>
                    <a:pt x="477781" y="198323"/>
                  </a:cubicBezTo>
                  <a:cubicBezTo>
                    <a:pt x="477781" y="190811"/>
                    <a:pt x="475152" y="184425"/>
                    <a:pt x="469893" y="179167"/>
                  </a:cubicBezTo>
                  <a:cubicBezTo>
                    <a:pt x="464635" y="173908"/>
                    <a:pt x="458249" y="171279"/>
                    <a:pt x="450737" y="171279"/>
                  </a:cubicBezTo>
                  <a:close/>
                  <a:moveTo>
                    <a:pt x="0" y="144235"/>
                  </a:moveTo>
                  <a:lnTo>
                    <a:pt x="504825" y="144235"/>
                  </a:lnTo>
                  <a:lnTo>
                    <a:pt x="504825" y="252411"/>
                  </a:lnTo>
                  <a:lnTo>
                    <a:pt x="0" y="252411"/>
                  </a:lnTo>
                  <a:close/>
                  <a:moveTo>
                    <a:pt x="36059" y="36059"/>
                  </a:moveTo>
                  <a:lnTo>
                    <a:pt x="36059" y="72118"/>
                  </a:lnTo>
                  <a:lnTo>
                    <a:pt x="324530" y="72118"/>
                  </a:lnTo>
                  <a:lnTo>
                    <a:pt x="324530" y="36059"/>
                  </a:lnTo>
                  <a:close/>
                  <a:moveTo>
                    <a:pt x="450737" y="27044"/>
                  </a:moveTo>
                  <a:cubicBezTo>
                    <a:pt x="443225" y="27044"/>
                    <a:pt x="436839" y="29674"/>
                    <a:pt x="431581" y="34932"/>
                  </a:cubicBezTo>
                  <a:cubicBezTo>
                    <a:pt x="426322" y="40191"/>
                    <a:pt x="423693" y="46576"/>
                    <a:pt x="423693" y="54088"/>
                  </a:cubicBezTo>
                  <a:cubicBezTo>
                    <a:pt x="423693" y="61601"/>
                    <a:pt x="426322" y="67986"/>
                    <a:pt x="431581" y="73245"/>
                  </a:cubicBezTo>
                  <a:cubicBezTo>
                    <a:pt x="436839" y="78503"/>
                    <a:pt x="443225" y="81133"/>
                    <a:pt x="450737" y="81133"/>
                  </a:cubicBezTo>
                  <a:cubicBezTo>
                    <a:pt x="458249" y="81133"/>
                    <a:pt x="464635" y="78503"/>
                    <a:pt x="469893" y="73245"/>
                  </a:cubicBezTo>
                  <a:cubicBezTo>
                    <a:pt x="475152" y="67986"/>
                    <a:pt x="477781" y="61601"/>
                    <a:pt x="477781" y="54088"/>
                  </a:cubicBezTo>
                  <a:cubicBezTo>
                    <a:pt x="477781" y="46576"/>
                    <a:pt x="475152" y="40191"/>
                    <a:pt x="469893" y="34932"/>
                  </a:cubicBezTo>
                  <a:cubicBezTo>
                    <a:pt x="464635" y="29674"/>
                    <a:pt x="458249" y="27044"/>
                    <a:pt x="450737" y="27044"/>
                  </a:cubicBezTo>
                  <a:close/>
                  <a:moveTo>
                    <a:pt x="0" y="0"/>
                  </a:moveTo>
                  <a:lnTo>
                    <a:pt x="504825" y="0"/>
                  </a:lnTo>
                  <a:lnTo>
                    <a:pt x="504825" y="108177"/>
                  </a:lnTo>
                  <a:lnTo>
                    <a:pt x="0" y="108177"/>
                  </a:ln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5" name="Rectángulo 184">
              <a:extLst>
                <a:ext uri="{FF2B5EF4-FFF2-40B4-BE49-F238E27FC236}">
                  <a16:creationId xmlns:a16="http://schemas.microsoft.com/office/drawing/2014/main" id="{089C21EB-1599-D7CF-D7F5-00F2BD9D8582}"/>
                </a:ext>
              </a:extLst>
            </p:cNvPr>
            <p:cNvSpPr/>
            <p:nvPr/>
          </p:nvSpPr>
          <p:spPr>
            <a:xfrm>
              <a:off x="830423" y="1192438"/>
              <a:ext cx="2160000" cy="2555401"/>
            </a:xfrm>
            <a:prstGeom prst="rect">
              <a:avLst/>
            </a:prstGeom>
            <a:solidFill>
              <a:schemeClr val="bg1">
                <a:lumMod val="85000"/>
              </a:schemeClr>
            </a:solidFill>
            <a:ln w="12700" cap="flat" cmpd="sng" algn="ctr">
              <a:solidFill>
                <a:srgbClr val="5B9BD5">
                  <a:lumMod val="50000"/>
                </a:srgbClr>
              </a:solid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86" name="CuadroTexto 185">
              <a:extLst>
                <a:ext uri="{FF2B5EF4-FFF2-40B4-BE49-F238E27FC236}">
                  <a16:creationId xmlns:a16="http://schemas.microsoft.com/office/drawing/2014/main" id="{29884FF9-52D3-C8BC-EDCF-F7F59E22B13A}"/>
                </a:ext>
              </a:extLst>
            </p:cNvPr>
            <p:cNvSpPr txBox="1"/>
            <p:nvPr/>
          </p:nvSpPr>
          <p:spPr>
            <a:xfrm>
              <a:off x="1237886" y="1310219"/>
              <a:ext cx="1284327"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accent5"/>
                  </a:solidFill>
                  <a:effectLst/>
                  <a:uLnTx/>
                  <a:uFillTx/>
                  <a:latin typeface="Calibri" panose="020F0502020204030204"/>
                </a:rPr>
                <a:t>Gobierno de TI</a:t>
              </a:r>
              <a:endParaRPr kumimoji="0" lang="es-ES" sz="1400" b="0" i="0" u="none" strike="noStrike" kern="0" cap="none" spc="0" normalizeH="0" baseline="0" noProof="0">
                <a:ln>
                  <a:noFill/>
                </a:ln>
                <a:solidFill>
                  <a:schemeClr val="accent5"/>
                </a:solidFill>
                <a:effectLst/>
                <a:uLnTx/>
                <a:uFillTx/>
                <a:latin typeface="Calibri" panose="020F0502020204030204"/>
              </a:endParaRPr>
            </a:p>
          </p:txBody>
        </p:sp>
        <p:sp>
          <p:nvSpPr>
            <p:cNvPr id="187" name="Rectángulo 186">
              <a:extLst>
                <a:ext uri="{FF2B5EF4-FFF2-40B4-BE49-F238E27FC236}">
                  <a16:creationId xmlns:a16="http://schemas.microsoft.com/office/drawing/2014/main" id="{4A89D6F7-D7F1-78D3-F8E6-F902AED2F5AE}"/>
                </a:ext>
              </a:extLst>
            </p:cNvPr>
            <p:cNvSpPr/>
            <p:nvPr/>
          </p:nvSpPr>
          <p:spPr>
            <a:xfrm>
              <a:off x="831790" y="3952384"/>
              <a:ext cx="2160000" cy="2510589"/>
            </a:xfrm>
            <a:prstGeom prst="rect">
              <a:avLst/>
            </a:prstGeom>
            <a:solidFill>
              <a:schemeClr val="bg1">
                <a:lumMod val="85000"/>
              </a:schemeClr>
            </a:solidFill>
            <a:ln w="12700" cap="flat" cmpd="sng" algn="ctr">
              <a:solidFill>
                <a:srgbClr val="373F5B"/>
              </a:solid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88" name="Rectángulo 187">
              <a:extLst>
                <a:ext uri="{FF2B5EF4-FFF2-40B4-BE49-F238E27FC236}">
                  <a16:creationId xmlns:a16="http://schemas.microsoft.com/office/drawing/2014/main" id="{EBF882E7-3B9F-7B5C-B65A-BF860D70DA35}"/>
                </a:ext>
              </a:extLst>
            </p:cNvPr>
            <p:cNvSpPr/>
            <p:nvPr/>
          </p:nvSpPr>
          <p:spPr>
            <a:xfrm>
              <a:off x="973913" y="1816652"/>
              <a:ext cx="1881359" cy="518990"/>
            </a:xfrm>
            <a:prstGeom prst="rect">
              <a:avLst/>
            </a:prstGeom>
            <a:solidFill>
              <a:schemeClr val="bg1">
                <a:lumMod val="65000"/>
              </a:schemeClr>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89" name="CuadroTexto 188">
              <a:extLst>
                <a:ext uri="{FF2B5EF4-FFF2-40B4-BE49-F238E27FC236}">
                  <a16:creationId xmlns:a16="http://schemas.microsoft.com/office/drawing/2014/main" id="{CC34E244-CE0D-1F2D-7EFD-4E71AAE89312}"/>
                </a:ext>
              </a:extLst>
            </p:cNvPr>
            <p:cNvSpPr txBox="1"/>
            <p:nvPr/>
          </p:nvSpPr>
          <p:spPr>
            <a:xfrm>
              <a:off x="1691891" y="1949520"/>
              <a:ext cx="951642"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Estratégico</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90" name="Rectángulo 189">
              <a:extLst>
                <a:ext uri="{FF2B5EF4-FFF2-40B4-BE49-F238E27FC236}">
                  <a16:creationId xmlns:a16="http://schemas.microsoft.com/office/drawing/2014/main" id="{43410A34-8F95-1DB3-C04B-BA28D55E14C4}"/>
                </a:ext>
              </a:extLst>
            </p:cNvPr>
            <p:cNvSpPr/>
            <p:nvPr/>
          </p:nvSpPr>
          <p:spPr>
            <a:xfrm>
              <a:off x="973913" y="2405156"/>
              <a:ext cx="1881359" cy="518990"/>
            </a:xfrm>
            <a:prstGeom prst="rect">
              <a:avLst/>
            </a:prstGeom>
            <a:solidFill>
              <a:schemeClr val="bg1">
                <a:lumMod val="65000"/>
              </a:schemeClr>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91" name="CuadroTexto 190">
              <a:extLst>
                <a:ext uri="{FF2B5EF4-FFF2-40B4-BE49-F238E27FC236}">
                  <a16:creationId xmlns:a16="http://schemas.microsoft.com/office/drawing/2014/main" id="{6DFDD17C-F9A6-09C9-2F78-81200C753A1D}"/>
                </a:ext>
              </a:extLst>
            </p:cNvPr>
            <p:cNvSpPr txBox="1"/>
            <p:nvPr/>
          </p:nvSpPr>
          <p:spPr>
            <a:xfrm>
              <a:off x="1691891" y="2538024"/>
              <a:ext cx="951642"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Gobierno</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92" name="Rectángulo 191">
              <a:extLst>
                <a:ext uri="{FF2B5EF4-FFF2-40B4-BE49-F238E27FC236}">
                  <a16:creationId xmlns:a16="http://schemas.microsoft.com/office/drawing/2014/main" id="{EF8E0043-2B3F-32F2-4AB9-7E81549B7A9C}"/>
                </a:ext>
              </a:extLst>
            </p:cNvPr>
            <p:cNvSpPr/>
            <p:nvPr/>
          </p:nvSpPr>
          <p:spPr>
            <a:xfrm>
              <a:off x="975215" y="2991638"/>
              <a:ext cx="1881359" cy="518990"/>
            </a:xfrm>
            <a:prstGeom prst="rect">
              <a:avLst/>
            </a:prstGeom>
            <a:solidFill>
              <a:schemeClr val="bg1">
                <a:lumMod val="65000"/>
              </a:schemeClr>
            </a:solidFill>
            <a:ln w="127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93" name="CuadroTexto 192">
              <a:extLst>
                <a:ext uri="{FF2B5EF4-FFF2-40B4-BE49-F238E27FC236}">
                  <a16:creationId xmlns:a16="http://schemas.microsoft.com/office/drawing/2014/main" id="{4225EE26-79BE-AF38-FC10-3A1687FB925C}"/>
                </a:ext>
              </a:extLst>
            </p:cNvPr>
            <p:cNvSpPr txBox="1"/>
            <p:nvPr/>
          </p:nvSpPr>
          <p:spPr>
            <a:xfrm>
              <a:off x="1693193" y="3124506"/>
              <a:ext cx="951642"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Operativo</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194" name="CuadroTexto 193">
              <a:extLst>
                <a:ext uri="{FF2B5EF4-FFF2-40B4-BE49-F238E27FC236}">
                  <a16:creationId xmlns:a16="http://schemas.microsoft.com/office/drawing/2014/main" id="{531CA963-E5E7-8E47-CB5D-A80A2C22F95D}"/>
                </a:ext>
              </a:extLst>
            </p:cNvPr>
            <p:cNvSpPr txBox="1"/>
            <p:nvPr/>
          </p:nvSpPr>
          <p:spPr>
            <a:xfrm>
              <a:off x="1323965" y="4003428"/>
              <a:ext cx="1146469"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accent5"/>
                  </a:solidFill>
                  <a:effectLst/>
                  <a:uLnTx/>
                  <a:uFillTx/>
                  <a:latin typeface="Calibri" panose="020F0502020204030204"/>
                </a:rPr>
                <a:t>Equipo d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accent5"/>
                  </a:solidFill>
                  <a:effectLst/>
                  <a:uLnTx/>
                  <a:uFillTx/>
                  <a:latin typeface="Calibri" panose="020F0502020204030204"/>
                </a:rPr>
                <a:t>Performance</a:t>
              </a:r>
              <a:endParaRPr kumimoji="0" lang="es-ES" sz="1400" b="0" i="0" u="none" strike="noStrike" kern="0" cap="none" spc="0" normalizeH="0" baseline="0" noProof="0">
                <a:ln>
                  <a:noFill/>
                </a:ln>
                <a:solidFill>
                  <a:schemeClr val="accent5"/>
                </a:solidFill>
                <a:effectLst/>
                <a:uLnTx/>
                <a:uFillTx/>
                <a:latin typeface="Calibri" panose="020F0502020204030204"/>
              </a:endParaRPr>
            </a:p>
          </p:txBody>
        </p:sp>
        <p:sp>
          <p:nvSpPr>
            <p:cNvPr id="195" name="Rectángulo 194">
              <a:extLst>
                <a:ext uri="{FF2B5EF4-FFF2-40B4-BE49-F238E27FC236}">
                  <a16:creationId xmlns:a16="http://schemas.microsoft.com/office/drawing/2014/main" id="{9324420B-88C4-5717-1909-B0C3BD34E66D}"/>
                </a:ext>
              </a:extLst>
            </p:cNvPr>
            <p:cNvSpPr/>
            <p:nvPr/>
          </p:nvSpPr>
          <p:spPr>
            <a:xfrm>
              <a:off x="991059" y="4564453"/>
              <a:ext cx="1881359" cy="518990"/>
            </a:xfrm>
            <a:prstGeom prst="rect">
              <a:avLst/>
            </a:prstGeom>
            <a:solidFill>
              <a:schemeClr val="bg1">
                <a:lumMod val="65000"/>
              </a:schemeClr>
            </a:solidFill>
            <a:ln w="12700" cap="flat" cmpd="sng" algn="ctr">
              <a:solidFill>
                <a:srgbClr val="373F5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96" name="CuadroTexto 195">
              <a:extLst>
                <a:ext uri="{FF2B5EF4-FFF2-40B4-BE49-F238E27FC236}">
                  <a16:creationId xmlns:a16="http://schemas.microsoft.com/office/drawing/2014/main" id="{29094768-E298-788A-07AC-DABCC95D7668}"/>
                </a:ext>
              </a:extLst>
            </p:cNvPr>
            <p:cNvSpPr txBox="1"/>
            <p:nvPr/>
          </p:nvSpPr>
          <p:spPr>
            <a:xfrm>
              <a:off x="1663802" y="4631905"/>
              <a:ext cx="1206249"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 Arquitecto </a:t>
              </a:r>
            </a:p>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 Consultores</a:t>
              </a:r>
            </a:p>
          </p:txBody>
        </p:sp>
        <p:sp>
          <p:nvSpPr>
            <p:cNvPr id="197" name="Rectángulo 196">
              <a:extLst>
                <a:ext uri="{FF2B5EF4-FFF2-40B4-BE49-F238E27FC236}">
                  <a16:creationId xmlns:a16="http://schemas.microsoft.com/office/drawing/2014/main" id="{3825D8B9-6DE7-0346-D0A5-8D138758BB71}"/>
                </a:ext>
              </a:extLst>
            </p:cNvPr>
            <p:cNvSpPr/>
            <p:nvPr/>
          </p:nvSpPr>
          <p:spPr>
            <a:xfrm>
              <a:off x="991059" y="5152957"/>
              <a:ext cx="1881359" cy="518990"/>
            </a:xfrm>
            <a:prstGeom prst="rect">
              <a:avLst/>
            </a:prstGeom>
            <a:solidFill>
              <a:schemeClr val="bg1">
                <a:lumMod val="65000"/>
              </a:schemeClr>
            </a:solidFill>
            <a:ln w="12700" cap="flat" cmpd="sng" algn="ctr">
              <a:solidFill>
                <a:srgbClr val="373F5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198" name="CuadroTexto 197">
              <a:extLst>
                <a:ext uri="{FF2B5EF4-FFF2-40B4-BE49-F238E27FC236}">
                  <a16:creationId xmlns:a16="http://schemas.microsoft.com/office/drawing/2014/main" id="{B34377A2-F6BD-F371-E062-F91E89699603}"/>
                </a:ext>
              </a:extLst>
            </p:cNvPr>
            <p:cNvSpPr txBox="1"/>
            <p:nvPr/>
          </p:nvSpPr>
          <p:spPr>
            <a:xfrm>
              <a:off x="1657520" y="5205872"/>
              <a:ext cx="1163503"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Líder del servicio / proyecto</a:t>
              </a:r>
            </a:p>
          </p:txBody>
        </p:sp>
        <p:sp>
          <p:nvSpPr>
            <p:cNvPr id="199" name="Rectángulo 198">
              <a:extLst>
                <a:ext uri="{FF2B5EF4-FFF2-40B4-BE49-F238E27FC236}">
                  <a16:creationId xmlns:a16="http://schemas.microsoft.com/office/drawing/2014/main" id="{FEBF3BC9-5BBA-75C3-6B48-0D4DE5CF2081}"/>
                </a:ext>
              </a:extLst>
            </p:cNvPr>
            <p:cNvSpPr/>
            <p:nvPr/>
          </p:nvSpPr>
          <p:spPr>
            <a:xfrm>
              <a:off x="992361" y="5739439"/>
              <a:ext cx="1881359" cy="518990"/>
            </a:xfrm>
            <a:prstGeom prst="rect">
              <a:avLst/>
            </a:prstGeom>
            <a:solidFill>
              <a:schemeClr val="bg1">
                <a:lumMod val="65000"/>
              </a:schemeClr>
            </a:solidFill>
            <a:ln w="12700" cap="flat" cmpd="sng" algn="ctr">
              <a:solidFill>
                <a:srgbClr val="373F5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200" name="CuadroTexto 199">
              <a:extLst>
                <a:ext uri="{FF2B5EF4-FFF2-40B4-BE49-F238E27FC236}">
                  <a16:creationId xmlns:a16="http://schemas.microsoft.com/office/drawing/2014/main" id="{BD1B3E5E-8931-F205-5198-63131138E46A}"/>
                </a:ext>
              </a:extLst>
            </p:cNvPr>
            <p:cNvSpPr txBox="1"/>
            <p:nvPr/>
          </p:nvSpPr>
          <p:spPr>
            <a:xfrm>
              <a:off x="1657520" y="5817697"/>
              <a:ext cx="1163503"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 Ingeniero de Aut.</a:t>
              </a:r>
            </a:p>
            <a:p>
              <a:pPr marL="0" marR="0" lvl="0" indent="0" defTabSz="914400" eaLnBrk="1" fontAlgn="auto" latinLnBrk="0" hangingPunct="1">
                <a:lnSpc>
                  <a:spcPct val="100000"/>
                </a:lnSpc>
                <a:spcBef>
                  <a:spcPts val="0"/>
                </a:spcBef>
                <a:spcAft>
                  <a:spcPts val="0"/>
                </a:spcAft>
                <a:buClrTx/>
                <a:buSzTx/>
                <a:buFontTx/>
                <a:buNone/>
                <a:tabLst/>
                <a:defRPr/>
              </a:pPr>
              <a:r>
                <a:rPr kumimoji="0" lang="es-ES" sz="1000" b="1" i="0" u="none" strike="noStrike" kern="0" cap="none" spc="0" normalizeH="0" baseline="0" noProof="0">
                  <a:ln>
                    <a:noFill/>
                  </a:ln>
                  <a:solidFill>
                    <a:prstClr val="white"/>
                  </a:solidFill>
                  <a:effectLst/>
                  <a:uLnTx/>
                  <a:uFillTx/>
                  <a:latin typeface="Calibri" panose="020F0502020204030204"/>
                </a:rPr>
                <a:t>- Tester</a:t>
              </a:r>
              <a:endParaRPr kumimoji="0" lang="es-ES" sz="1000" b="0" i="0" u="none" strike="noStrike" kern="0" cap="none" spc="0" normalizeH="0" baseline="0" noProof="0">
                <a:ln>
                  <a:noFill/>
                </a:ln>
                <a:solidFill>
                  <a:prstClr val="white"/>
                </a:solidFill>
                <a:effectLst/>
                <a:uLnTx/>
                <a:uFillTx/>
                <a:latin typeface="Calibri" panose="020F0502020204030204"/>
              </a:endParaRPr>
            </a:p>
          </p:txBody>
        </p:sp>
        <p:sp>
          <p:nvSpPr>
            <p:cNvPr id="201" name="Freeform 298">
              <a:extLst>
                <a:ext uri="{FF2B5EF4-FFF2-40B4-BE49-F238E27FC236}">
                  <a16:creationId xmlns:a16="http://schemas.microsoft.com/office/drawing/2014/main" id="{A5468C4D-1814-9A4F-EB07-6A7D38D21548}"/>
                </a:ext>
              </a:extLst>
            </p:cNvPr>
            <p:cNvSpPr/>
            <p:nvPr/>
          </p:nvSpPr>
          <p:spPr>
            <a:xfrm>
              <a:off x="1157950" y="1902491"/>
              <a:ext cx="360000" cy="324000"/>
            </a:xfrm>
            <a:custGeom>
              <a:avLst/>
              <a:gdLst/>
              <a:ahLst/>
              <a:cxnLst/>
              <a:rect l="l" t="t" r="r" b="b"/>
              <a:pathLst>
                <a:path w="474119" h="448483">
                  <a:moveTo>
                    <a:pt x="184802" y="0"/>
                  </a:moveTo>
                  <a:cubicBezTo>
                    <a:pt x="215415" y="0"/>
                    <a:pt x="240346" y="9625"/>
                    <a:pt x="259596" y="28875"/>
                  </a:cubicBezTo>
                  <a:cubicBezTo>
                    <a:pt x="278846" y="48126"/>
                    <a:pt x="288471" y="73057"/>
                    <a:pt x="288471" y="103669"/>
                  </a:cubicBezTo>
                  <a:cubicBezTo>
                    <a:pt x="288471" y="139165"/>
                    <a:pt x="276170" y="173440"/>
                    <a:pt x="251568" y="206494"/>
                  </a:cubicBezTo>
                  <a:lnTo>
                    <a:pt x="351574" y="306501"/>
                  </a:lnTo>
                  <a:lnTo>
                    <a:pt x="378619" y="279457"/>
                  </a:lnTo>
                  <a:cubicBezTo>
                    <a:pt x="378055" y="278893"/>
                    <a:pt x="375614" y="276592"/>
                    <a:pt x="371294" y="272555"/>
                  </a:cubicBezTo>
                  <a:cubicBezTo>
                    <a:pt x="366975" y="268517"/>
                    <a:pt x="363219" y="264902"/>
                    <a:pt x="360026" y="261709"/>
                  </a:cubicBezTo>
                  <a:cubicBezTo>
                    <a:pt x="356833" y="258516"/>
                    <a:pt x="353734" y="255089"/>
                    <a:pt x="350730" y="251426"/>
                  </a:cubicBezTo>
                  <a:cubicBezTo>
                    <a:pt x="347724" y="247764"/>
                    <a:pt x="346222" y="245088"/>
                    <a:pt x="346222" y="243398"/>
                  </a:cubicBezTo>
                  <a:cubicBezTo>
                    <a:pt x="346222" y="240205"/>
                    <a:pt x="350823" y="234008"/>
                    <a:pt x="360026" y="224805"/>
                  </a:cubicBezTo>
                  <a:cubicBezTo>
                    <a:pt x="369229" y="215602"/>
                    <a:pt x="375426" y="211001"/>
                    <a:pt x="378619" y="211001"/>
                  </a:cubicBezTo>
                  <a:cubicBezTo>
                    <a:pt x="381060" y="211001"/>
                    <a:pt x="383220" y="211940"/>
                    <a:pt x="385098" y="213818"/>
                  </a:cubicBezTo>
                  <a:cubicBezTo>
                    <a:pt x="386225" y="214945"/>
                    <a:pt x="390544" y="219124"/>
                    <a:pt x="398057" y="226354"/>
                  </a:cubicBezTo>
                  <a:cubicBezTo>
                    <a:pt x="405569" y="233585"/>
                    <a:pt x="413270" y="241050"/>
                    <a:pt x="421157" y="248750"/>
                  </a:cubicBezTo>
                  <a:cubicBezTo>
                    <a:pt x="429045" y="256450"/>
                    <a:pt x="437168" y="264526"/>
                    <a:pt x="445525" y="272977"/>
                  </a:cubicBezTo>
                  <a:cubicBezTo>
                    <a:pt x="453882" y="281429"/>
                    <a:pt x="460738" y="288753"/>
                    <a:pt x="466090" y="294951"/>
                  </a:cubicBezTo>
                  <a:cubicBezTo>
                    <a:pt x="471443" y="301148"/>
                    <a:pt x="474119" y="304998"/>
                    <a:pt x="474119" y="306501"/>
                  </a:cubicBezTo>
                  <a:cubicBezTo>
                    <a:pt x="474119" y="309694"/>
                    <a:pt x="469517" y="315891"/>
                    <a:pt x="460315" y="325094"/>
                  </a:cubicBezTo>
                  <a:cubicBezTo>
                    <a:pt x="451112" y="334296"/>
                    <a:pt x="444914" y="338898"/>
                    <a:pt x="441722" y="338898"/>
                  </a:cubicBezTo>
                  <a:cubicBezTo>
                    <a:pt x="440032" y="338898"/>
                    <a:pt x="437355" y="337395"/>
                    <a:pt x="433693" y="334390"/>
                  </a:cubicBezTo>
                  <a:cubicBezTo>
                    <a:pt x="430031" y="331386"/>
                    <a:pt x="426603" y="328287"/>
                    <a:pt x="423411" y="325094"/>
                  </a:cubicBezTo>
                  <a:cubicBezTo>
                    <a:pt x="420218" y="321901"/>
                    <a:pt x="416602" y="318145"/>
                    <a:pt x="412565" y="313825"/>
                  </a:cubicBezTo>
                  <a:cubicBezTo>
                    <a:pt x="408527" y="309506"/>
                    <a:pt x="406226" y="307064"/>
                    <a:pt x="405663" y="306501"/>
                  </a:cubicBezTo>
                  <a:lnTo>
                    <a:pt x="378619" y="333545"/>
                  </a:lnTo>
                  <a:lnTo>
                    <a:pt x="440595" y="395522"/>
                  </a:lnTo>
                  <a:cubicBezTo>
                    <a:pt x="445854" y="400780"/>
                    <a:pt x="448483" y="407166"/>
                    <a:pt x="448483" y="414678"/>
                  </a:cubicBezTo>
                  <a:cubicBezTo>
                    <a:pt x="448483" y="422565"/>
                    <a:pt x="444821" y="430172"/>
                    <a:pt x="437497" y="437496"/>
                  </a:cubicBezTo>
                  <a:cubicBezTo>
                    <a:pt x="430172" y="444821"/>
                    <a:pt x="422566" y="448483"/>
                    <a:pt x="414678" y="448483"/>
                  </a:cubicBezTo>
                  <a:cubicBezTo>
                    <a:pt x="407165" y="448483"/>
                    <a:pt x="400780" y="445854"/>
                    <a:pt x="395522" y="440595"/>
                  </a:cubicBezTo>
                  <a:lnTo>
                    <a:pt x="206494" y="251568"/>
                  </a:lnTo>
                  <a:cubicBezTo>
                    <a:pt x="173439" y="276170"/>
                    <a:pt x="139165" y="288472"/>
                    <a:pt x="103670" y="288472"/>
                  </a:cubicBezTo>
                  <a:cubicBezTo>
                    <a:pt x="73057" y="288472"/>
                    <a:pt x="48126" y="278846"/>
                    <a:pt x="28876" y="259596"/>
                  </a:cubicBezTo>
                  <a:cubicBezTo>
                    <a:pt x="9625" y="240346"/>
                    <a:pt x="0" y="215415"/>
                    <a:pt x="0" y="184802"/>
                  </a:cubicBezTo>
                  <a:cubicBezTo>
                    <a:pt x="0" y="154753"/>
                    <a:pt x="8921" y="125361"/>
                    <a:pt x="26763" y="96627"/>
                  </a:cubicBezTo>
                  <a:cubicBezTo>
                    <a:pt x="44604" y="67892"/>
                    <a:pt x="67892" y="44604"/>
                    <a:pt x="96627" y="26762"/>
                  </a:cubicBezTo>
                  <a:cubicBezTo>
                    <a:pt x="125362" y="8921"/>
                    <a:pt x="154753" y="0"/>
                    <a:pt x="184802" y="0"/>
                  </a:cubicBezTo>
                  <a:close/>
                  <a:moveTo>
                    <a:pt x="180295" y="54089"/>
                  </a:moveTo>
                  <a:cubicBezTo>
                    <a:pt x="165270" y="54089"/>
                    <a:pt x="152499" y="59347"/>
                    <a:pt x="141982" y="69864"/>
                  </a:cubicBezTo>
                  <a:cubicBezTo>
                    <a:pt x="131465" y="80381"/>
                    <a:pt x="126206" y="93152"/>
                    <a:pt x="126206" y="108177"/>
                  </a:cubicBezTo>
                  <a:cubicBezTo>
                    <a:pt x="126206" y="116065"/>
                    <a:pt x="127990" y="123859"/>
                    <a:pt x="131559" y="131559"/>
                  </a:cubicBezTo>
                  <a:cubicBezTo>
                    <a:pt x="123859" y="127991"/>
                    <a:pt x="116065" y="126206"/>
                    <a:pt x="108177" y="126206"/>
                  </a:cubicBezTo>
                  <a:cubicBezTo>
                    <a:pt x="93152" y="126206"/>
                    <a:pt x="80381" y="131465"/>
                    <a:pt x="69864" y="141982"/>
                  </a:cubicBezTo>
                  <a:cubicBezTo>
                    <a:pt x="59347" y="152499"/>
                    <a:pt x="54089" y="165270"/>
                    <a:pt x="54089" y="180295"/>
                  </a:cubicBezTo>
                  <a:cubicBezTo>
                    <a:pt x="54089" y="195319"/>
                    <a:pt x="59347" y="208090"/>
                    <a:pt x="69864" y="218607"/>
                  </a:cubicBezTo>
                  <a:cubicBezTo>
                    <a:pt x="80381" y="229125"/>
                    <a:pt x="93152" y="234383"/>
                    <a:pt x="108177" y="234383"/>
                  </a:cubicBezTo>
                  <a:cubicBezTo>
                    <a:pt x="123201" y="234383"/>
                    <a:pt x="135972" y="229125"/>
                    <a:pt x="146489" y="218607"/>
                  </a:cubicBezTo>
                  <a:cubicBezTo>
                    <a:pt x="157006" y="208090"/>
                    <a:pt x="162265" y="195319"/>
                    <a:pt x="162265" y="180295"/>
                  </a:cubicBezTo>
                  <a:cubicBezTo>
                    <a:pt x="162265" y="172407"/>
                    <a:pt x="160481" y="164613"/>
                    <a:pt x="156913" y="156913"/>
                  </a:cubicBezTo>
                  <a:cubicBezTo>
                    <a:pt x="164613" y="160481"/>
                    <a:pt x="172407" y="162265"/>
                    <a:pt x="180295" y="162265"/>
                  </a:cubicBezTo>
                  <a:cubicBezTo>
                    <a:pt x="195319" y="162265"/>
                    <a:pt x="208090" y="157007"/>
                    <a:pt x="218608" y="146489"/>
                  </a:cubicBezTo>
                  <a:cubicBezTo>
                    <a:pt x="229124" y="135972"/>
                    <a:pt x="234383" y="123201"/>
                    <a:pt x="234383" y="108177"/>
                  </a:cubicBezTo>
                  <a:cubicBezTo>
                    <a:pt x="234383" y="93152"/>
                    <a:pt x="229124" y="80381"/>
                    <a:pt x="218608" y="69864"/>
                  </a:cubicBezTo>
                  <a:cubicBezTo>
                    <a:pt x="208090" y="59347"/>
                    <a:pt x="195319" y="54089"/>
                    <a:pt x="180295" y="54089"/>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2" name="Freeform 447">
              <a:extLst>
                <a:ext uri="{FF2B5EF4-FFF2-40B4-BE49-F238E27FC236}">
                  <a16:creationId xmlns:a16="http://schemas.microsoft.com/office/drawing/2014/main" id="{D668C8A0-BD7F-60E4-F562-407CD79499E4}"/>
                </a:ext>
              </a:extLst>
            </p:cNvPr>
            <p:cNvSpPr/>
            <p:nvPr/>
          </p:nvSpPr>
          <p:spPr>
            <a:xfrm>
              <a:off x="1145114" y="2494398"/>
              <a:ext cx="396000" cy="324000"/>
            </a:xfrm>
            <a:custGeom>
              <a:avLst/>
              <a:gdLst/>
              <a:ahLst/>
              <a:cxnLst/>
              <a:rect l="l" t="t" r="r" b="b"/>
              <a:pathLst>
                <a:path w="613002" h="504825">
                  <a:moveTo>
                    <a:pt x="306501" y="0"/>
                  </a:moveTo>
                  <a:cubicBezTo>
                    <a:pt x="311572" y="0"/>
                    <a:pt x="316267" y="939"/>
                    <a:pt x="320586" y="2817"/>
                  </a:cubicBezTo>
                  <a:lnTo>
                    <a:pt x="446793" y="56906"/>
                  </a:lnTo>
                  <a:cubicBezTo>
                    <a:pt x="453366" y="59910"/>
                    <a:pt x="458671" y="64418"/>
                    <a:pt x="462709" y="70428"/>
                  </a:cubicBezTo>
                  <a:cubicBezTo>
                    <a:pt x="466747" y="76438"/>
                    <a:pt x="468766" y="83011"/>
                    <a:pt x="468766" y="90147"/>
                  </a:cubicBezTo>
                  <a:lnTo>
                    <a:pt x="468766" y="202832"/>
                  </a:lnTo>
                  <a:lnTo>
                    <a:pt x="591028" y="255230"/>
                  </a:lnTo>
                  <a:cubicBezTo>
                    <a:pt x="597789" y="258235"/>
                    <a:pt x="603142" y="262742"/>
                    <a:pt x="607086" y="268752"/>
                  </a:cubicBezTo>
                  <a:cubicBezTo>
                    <a:pt x="611030" y="274762"/>
                    <a:pt x="613002" y="281335"/>
                    <a:pt x="613002" y="288471"/>
                  </a:cubicBezTo>
                  <a:lnTo>
                    <a:pt x="613002" y="405663"/>
                  </a:lnTo>
                  <a:cubicBezTo>
                    <a:pt x="613002" y="412424"/>
                    <a:pt x="611218" y="418716"/>
                    <a:pt x="607649" y="424538"/>
                  </a:cubicBezTo>
                  <a:cubicBezTo>
                    <a:pt x="604081" y="430360"/>
                    <a:pt x="599198" y="434773"/>
                    <a:pt x="593000" y="437778"/>
                  </a:cubicBezTo>
                  <a:lnTo>
                    <a:pt x="466794" y="500881"/>
                  </a:lnTo>
                  <a:cubicBezTo>
                    <a:pt x="462099" y="503510"/>
                    <a:pt x="456747" y="504825"/>
                    <a:pt x="450736" y="504825"/>
                  </a:cubicBezTo>
                  <a:cubicBezTo>
                    <a:pt x="444727" y="504825"/>
                    <a:pt x="439374" y="503510"/>
                    <a:pt x="434679" y="500881"/>
                  </a:cubicBezTo>
                  <a:lnTo>
                    <a:pt x="308473" y="437778"/>
                  </a:lnTo>
                  <a:cubicBezTo>
                    <a:pt x="307534" y="437402"/>
                    <a:pt x="306877" y="437027"/>
                    <a:pt x="306501" y="436651"/>
                  </a:cubicBezTo>
                  <a:cubicBezTo>
                    <a:pt x="306126" y="437027"/>
                    <a:pt x="305468" y="437402"/>
                    <a:pt x="304529" y="437778"/>
                  </a:cubicBezTo>
                  <a:lnTo>
                    <a:pt x="178323" y="500881"/>
                  </a:lnTo>
                  <a:cubicBezTo>
                    <a:pt x="173628" y="503510"/>
                    <a:pt x="168275" y="504825"/>
                    <a:pt x="162265" y="504825"/>
                  </a:cubicBezTo>
                  <a:cubicBezTo>
                    <a:pt x="156256" y="504825"/>
                    <a:pt x="150903" y="503510"/>
                    <a:pt x="146207" y="500881"/>
                  </a:cubicBezTo>
                  <a:lnTo>
                    <a:pt x="20001" y="437778"/>
                  </a:lnTo>
                  <a:cubicBezTo>
                    <a:pt x="13804" y="434773"/>
                    <a:pt x="8921" y="430360"/>
                    <a:pt x="5353" y="424538"/>
                  </a:cubicBezTo>
                  <a:cubicBezTo>
                    <a:pt x="1784" y="418716"/>
                    <a:pt x="0" y="412424"/>
                    <a:pt x="0" y="405663"/>
                  </a:cubicBezTo>
                  <a:lnTo>
                    <a:pt x="0" y="288471"/>
                  </a:lnTo>
                  <a:cubicBezTo>
                    <a:pt x="0" y="281335"/>
                    <a:pt x="2019" y="274762"/>
                    <a:pt x="6057" y="268752"/>
                  </a:cubicBezTo>
                  <a:cubicBezTo>
                    <a:pt x="10095" y="262742"/>
                    <a:pt x="15400" y="258235"/>
                    <a:pt x="21973" y="255230"/>
                  </a:cubicBezTo>
                  <a:lnTo>
                    <a:pt x="144235" y="202832"/>
                  </a:lnTo>
                  <a:lnTo>
                    <a:pt x="144235" y="90147"/>
                  </a:lnTo>
                  <a:cubicBezTo>
                    <a:pt x="144235" y="83011"/>
                    <a:pt x="146255" y="76438"/>
                    <a:pt x="150293" y="70428"/>
                  </a:cubicBezTo>
                  <a:cubicBezTo>
                    <a:pt x="154330" y="64418"/>
                    <a:pt x="159636" y="59910"/>
                    <a:pt x="166209" y="56906"/>
                  </a:cubicBezTo>
                  <a:lnTo>
                    <a:pt x="292415" y="2817"/>
                  </a:lnTo>
                  <a:cubicBezTo>
                    <a:pt x="296735" y="939"/>
                    <a:pt x="301430" y="0"/>
                    <a:pt x="306501" y="0"/>
                  </a:cubicBezTo>
                  <a:close/>
                  <a:moveTo>
                    <a:pt x="306501" y="36059"/>
                  </a:moveTo>
                  <a:lnTo>
                    <a:pt x="182267" y="89302"/>
                  </a:lnTo>
                  <a:lnTo>
                    <a:pt x="306501" y="142546"/>
                  </a:lnTo>
                  <a:lnTo>
                    <a:pt x="430735" y="89302"/>
                  </a:lnTo>
                  <a:lnTo>
                    <a:pt x="306501" y="36059"/>
                  </a:lnTo>
                  <a:close/>
                  <a:moveTo>
                    <a:pt x="432707" y="127897"/>
                  </a:moveTo>
                  <a:lnTo>
                    <a:pt x="324530" y="174097"/>
                  </a:lnTo>
                  <a:lnTo>
                    <a:pt x="324530" y="249314"/>
                  </a:lnTo>
                  <a:lnTo>
                    <a:pt x="432707" y="202832"/>
                  </a:lnTo>
                  <a:lnTo>
                    <a:pt x="432707" y="127897"/>
                  </a:lnTo>
                  <a:close/>
                  <a:moveTo>
                    <a:pt x="450736" y="234383"/>
                  </a:moveTo>
                  <a:lnTo>
                    <a:pt x="336925" y="283119"/>
                  </a:lnTo>
                  <a:lnTo>
                    <a:pt x="450736" y="331855"/>
                  </a:lnTo>
                  <a:lnTo>
                    <a:pt x="564548" y="283119"/>
                  </a:lnTo>
                  <a:lnTo>
                    <a:pt x="450736" y="234383"/>
                  </a:lnTo>
                  <a:close/>
                  <a:moveTo>
                    <a:pt x="576943" y="317206"/>
                  </a:moveTo>
                  <a:lnTo>
                    <a:pt x="468766" y="363407"/>
                  </a:lnTo>
                  <a:lnTo>
                    <a:pt x="468766" y="459751"/>
                  </a:lnTo>
                  <a:lnTo>
                    <a:pt x="576943" y="405663"/>
                  </a:lnTo>
                  <a:lnTo>
                    <a:pt x="576943" y="317206"/>
                  </a:lnTo>
                  <a:close/>
                  <a:moveTo>
                    <a:pt x="162265" y="234383"/>
                  </a:moveTo>
                  <a:lnTo>
                    <a:pt x="48454" y="283119"/>
                  </a:lnTo>
                  <a:lnTo>
                    <a:pt x="162265" y="331855"/>
                  </a:lnTo>
                  <a:lnTo>
                    <a:pt x="276076" y="283119"/>
                  </a:lnTo>
                  <a:lnTo>
                    <a:pt x="162265" y="234383"/>
                  </a:lnTo>
                  <a:close/>
                  <a:moveTo>
                    <a:pt x="288471" y="317206"/>
                  </a:moveTo>
                  <a:lnTo>
                    <a:pt x="180295" y="363407"/>
                  </a:lnTo>
                  <a:lnTo>
                    <a:pt x="180295" y="459751"/>
                  </a:lnTo>
                  <a:lnTo>
                    <a:pt x="288471" y="405663"/>
                  </a:lnTo>
                  <a:lnTo>
                    <a:pt x="288471" y="317206"/>
                  </a:ln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3" name="Freeform 151">
              <a:extLst>
                <a:ext uri="{FF2B5EF4-FFF2-40B4-BE49-F238E27FC236}">
                  <a16:creationId xmlns:a16="http://schemas.microsoft.com/office/drawing/2014/main" id="{78E1F0C4-92AB-30EF-A682-C9DA1B81D545}"/>
                </a:ext>
              </a:extLst>
            </p:cNvPr>
            <p:cNvSpPr/>
            <p:nvPr/>
          </p:nvSpPr>
          <p:spPr>
            <a:xfrm>
              <a:off x="1173199" y="3081051"/>
              <a:ext cx="324000" cy="324000"/>
            </a:xfrm>
            <a:custGeom>
              <a:avLst/>
              <a:gdLst/>
              <a:ahLst/>
              <a:cxnLst/>
              <a:rect l="l" t="t" r="r" b="b"/>
              <a:pathLst>
                <a:path w="396648" h="468766">
                  <a:moveTo>
                    <a:pt x="150996" y="0"/>
                  </a:moveTo>
                  <a:cubicBezTo>
                    <a:pt x="156630" y="0"/>
                    <a:pt x="164519" y="2911"/>
                    <a:pt x="174660" y="8733"/>
                  </a:cubicBezTo>
                  <a:cubicBezTo>
                    <a:pt x="184801" y="14555"/>
                    <a:pt x="192689" y="17466"/>
                    <a:pt x="198324" y="17466"/>
                  </a:cubicBezTo>
                  <a:cubicBezTo>
                    <a:pt x="203958" y="17466"/>
                    <a:pt x="211846" y="14555"/>
                    <a:pt x="221987" y="8733"/>
                  </a:cubicBezTo>
                  <a:cubicBezTo>
                    <a:pt x="232129" y="2911"/>
                    <a:pt x="240017" y="0"/>
                    <a:pt x="245651" y="0"/>
                  </a:cubicBezTo>
                  <a:cubicBezTo>
                    <a:pt x="253914" y="0"/>
                    <a:pt x="261051" y="3475"/>
                    <a:pt x="267061" y="10423"/>
                  </a:cubicBezTo>
                  <a:cubicBezTo>
                    <a:pt x="273822" y="18311"/>
                    <a:pt x="280442" y="29016"/>
                    <a:pt x="286921" y="42538"/>
                  </a:cubicBezTo>
                  <a:cubicBezTo>
                    <a:pt x="293401" y="56060"/>
                    <a:pt x="298237" y="68644"/>
                    <a:pt x="301430" y="80287"/>
                  </a:cubicBezTo>
                  <a:cubicBezTo>
                    <a:pt x="340869" y="88175"/>
                    <a:pt x="360589" y="97472"/>
                    <a:pt x="360589" y="108177"/>
                  </a:cubicBezTo>
                  <a:cubicBezTo>
                    <a:pt x="360589" y="118694"/>
                    <a:pt x="342372" y="127709"/>
                    <a:pt x="305937" y="135221"/>
                  </a:cubicBezTo>
                  <a:cubicBezTo>
                    <a:pt x="307252" y="150433"/>
                    <a:pt x="305374" y="165458"/>
                    <a:pt x="300303" y="180295"/>
                  </a:cubicBezTo>
                  <a:lnTo>
                    <a:pt x="360589" y="180295"/>
                  </a:lnTo>
                  <a:lnTo>
                    <a:pt x="337488" y="243680"/>
                  </a:lnTo>
                  <a:cubicBezTo>
                    <a:pt x="349321" y="249877"/>
                    <a:pt x="359415" y="258939"/>
                    <a:pt x="367773" y="270865"/>
                  </a:cubicBezTo>
                  <a:cubicBezTo>
                    <a:pt x="376130" y="282790"/>
                    <a:pt x="382281" y="296265"/>
                    <a:pt x="386224" y="311290"/>
                  </a:cubicBezTo>
                  <a:cubicBezTo>
                    <a:pt x="390168" y="326315"/>
                    <a:pt x="392892" y="340541"/>
                    <a:pt x="394394" y="353969"/>
                  </a:cubicBezTo>
                  <a:cubicBezTo>
                    <a:pt x="395897" y="367397"/>
                    <a:pt x="396648" y="381342"/>
                    <a:pt x="396648" y="395803"/>
                  </a:cubicBezTo>
                  <a:cubicBezTo>
                    <a:pt x="396648" y="418528"/>
                    <a:pt x="389793" y="436369"/>
                    <a:pt x="376083" y="449328"/>
                  </a:cubicBezTo>
                  <a:cubicBezTo>
                    <a:pt x="362373" y="462287"/>
                    <a:pt x="344156" y="468766"/>
                    <a:pt x="321431" y="468766"/>
                  </a:cubicBezTo>
                  <a:lnTo>
                    <a:pt x="75216" y="468766"/>
                  </a:lnTo>
                  <a:cubicBezTo>
                    <a:pt x="52492" y="468766"/>
                    <a:pt x="34274" y="462287"/>
                    <a:pt x="20564" y="449328"/>
                  </a:cubicBezTo>
                  <a:cubicBezTo>
                    <a:pt x="6854" y="436369"/>
                    <a:pt x="0" y="418528"/>
                    <a:pt x="0" y="395803"/>
                  </a:cubicBezTo>
                  <a:cubicBezTo>
                    <a:pt x="0" y="384347"/>
                    <a:pt x="422" y="373266"/>
                    <a:pt x="1267" y="362561"/>
                  </a:cubicBezTo>
                  <a:cubicBezTo>
                    <a:pt x="2112" y="351856"/>
                    <a:pt x="3896" y="340071"/>
                    <a:pt x="6620" y="327207"/>
                  </a:cubicBezTo>
                  <a:cubicBezTo>
                    <a:pt x="9343" y="314342"/>
                    <a:pt x="12864" y="302745"/>
                    <a:pt x="17184" y="292415"/>
                  </a:cubicBezTo>
                  <a:cubicBezTo>
                    <a:pt x="21503" y="282086"/>
                    <a:pt x="27466" y="272367"/>
                    <a:pt x="35072" y="263258"/>
                  </a:cubicBezTo>
                  <a:cubicBezTo>
                    <a:pt x="42679" y="254150"/>
                    <a:pt x="51459" y="247154"/>
                    <a:pt x="61412" y="242271"/>
                  </a:cubicBezTo>
                  <a:lnTo>
                    <a:pt x="36058" y="180295"/>
                  </a:lnTo>
                  <a:lnTo>
                    <a:pt x="96345" y="180295"/>
                  </a:lnTo>
                  <a:cubicBezTo>
                    <a:pt x="92213" y="168275"/>
                    <a:pt x="90147" y="156255"/>
                    <a:pt x="90147" y="144236"/>
                  </a:cubicBezTo>
                  <a:cubicBezTo>
                    <a:pt x="90147" y="141982"/>
                    <a:pt x="90335" y="138977"/>
                    <a:pt x="90710" y="135221"/>
                  </a:cubicBezTo>
                  <a:cubicBezTo>
                    <a:pt x="54276" y="127709"/>
                    <a:pt x="36058" y="118694"/>
                    <a:pt x="36058" y="108177"/>
                  </a:cubicBezTo>
                  <a:cubicBezTo>
                    <a:pt x="36058" y="97472"/>
                    <a:pt x="55778" y="88175"/>
                    <a:pt x="95218" y="80287"/>
                  </a:cubicBezTo>
                  <a:cubicBezTo>
                    <a:pt x="98410" y="68644"/>
                    <a:pt x="103246" y="56060"/>
                    <a:pt x="109726" y="42538"/>
                  </a:cubicBezTo>
                  <a:cubicBezTo>
                    <a:pt x="116205" y="29016"/>
                    <a:pt x="122825" y="18311"/>
                    <a:pt x="129586" y="10423"/>
                  </a:cubicBezTo>
                  <a:cubicBezTo>
                    <a:pt x="135596" y="3475"/>
                    <a:pt x="142733" y="0"/>
                    <a:pt x="150996" y="0"/>
                  </a:cubicBezTo>
                  <a:close/>
                  <a:moveTo>
                    <a:pt x="145362" y="144236"/>
                  </a:moveTo>
                  <a:cubicBezTo>
                    <a:pt x="129211" y="144236"/>
                    <a:pt x="120196" y="144987"/>
                    <a:pt x="118318" y="146490"/>
                  </a:cubicBezTo>
                  <a:cubicBezTo>
                    <a:pt x="117942" y="146865"/>
                    <a:pt x="117567" y="147428"/>
                    <a:pt x="117191" y="148180"/>
                  </a:cubicBezTo>
                  <a:cubicBezTo>
                    <a:pt x="117567" y="151560"/>
                    <a:pt x="117942" y="154096"/>
                    <a:pt x="118318" y="155786"/>
                  </a:cubicBezTo>
                  <a:cubicBezTo>
                    <a:pt x="118694" y="156349"/>
                    <a:pt x="119398" y="156960"/>
                    <a:pt x="120431" y="157617"/>
                  </a:cubicBezTo>
                  <a:cubicBezTo>
                    <a:pt x="121463" y="158274"/>
                    <a:pt x="122168" y="159260"/>
                    <a:pt x="122544" y="160575"/>
                  </a:cubicBezTo>
                  <a:cubicBezTo>
                    <a:pt x="122919" y="161326"/>
                    <a:pt x="123623" y="163251"/>
                    <a:pt x="124656" y="166350"/>
                  </a:cubicBezTo>
                  <a:cubicBezTo>
                    <a:pt x="125689" y="169449"/>
                    <a:pt x="126347" y="171374"/>
                    <a:pt x="126628" y="172125"/>
                  </a:cubicBezTo>
                  <a:cubicBezTo>
                    <a:pt x="126910" y="172876"/>
                    <a:pt x="127614" y="174473"/>
                    <a:pt x="128741" y="176914"/>
                  </a:cubicBezTo>
                  <a:cubicBezTo>
                    <a:pt x="129868" y="179356"/>
                    <a:pt x="130666" y="180952"/>
                    <a:pt x="131136" y="181703"/>
                  </a:cubicBezTo>
                  <a:cubicBezTo>
                    <a:pt x="131605" y="182454"/>
                    <a:pt x="132450" y="183769"/>
                    <a:pt x="133671" y="185647"/>
                  </a:cubicBezTo>
                  <a:cubicBezTo>
                    <a:pt x="134892" y="187525"/>
                    <a:pt x="136019" y="188793"/>
                    <a:pt x="137052" y="189450"/>
                  </a:cubicBezTo>
                  <a:cubicBezTo>
                    <a:pt x="138085" y="190108"/>
                    <a:pt x="139399" y="191000"/>
                    <a:pt x="140995" y="192127"/>
                  </a:cubicBezTo>
                  <a:cubicBezTo>
                    <a:pt x="142592" y="193253"/>
                    <a:pt x="144235" y="194005"/>
                    <a:pt x="145926" y="194380"/>
                  </a:cubicBezTo>
                  <a:cubicBezTo>
                    <a:pt x="147616" y="194756"/>
                    <a:pt x="149541" y="195131"/>
                    <a:pt x="151701" y="195507"/>
                  </a:cubicBezTo>
                  <a:cubicBezTo>
                    <a:pt x="153860" y="195883"/>
                    <a:pt x="156161" y="196070"/>
                    <a:pt x="158602" y="196070"/>
                  </a:cubicBezTo>
                  <a:cubicBezTo>
                    <a:pt x="165364" y="196070"/>
                    <a:pt x="170904" y="194897"/>
                    <a:pt x="175223" y="192549"/>
                  </a:cubicBezTo>
                  <a:cubicBezTo>
                    <a:pt x="179543" y="190202"/>
                    <a:pt x="182595" y="187384"/>
                    <a:pt x="184379" y="184098"/>
                  </a:cubicBezTo>
                  <a:cubicBezTo>
                    <a:pt x="186163" y="180811"/>
                    <a:pt x="187525" y="177571"/>
                    <a:pt x="188464" y="174379"/>
                  </a:cubicBezTo>
                  <a:cubicBezTo>
                    <a:pt x="189403" y="171186"/>
                    <a:pt x="190483" y="168416"/>
                    <a:pt x="191703" y="166068"/>
                  </a:cubicBezTo>
                  <a:cubicBezTo>
                    <a:pt x="192924" y="163721"/>
                    <a:pt x="194567" y="162547"/>
                    <a:pt x="196633" y="162547"/>
                  </a:cubicBezTo>
                  <a:lnTo>
                    <a:pt x="200014" y="162547"/>
                  </a:lnTo>
                  <a:cubicBezTo>
                    <a:pt x="202080" y="162547"/>
                    <a:pt x="203723" y="163721"/>
                    <a:pt x="204944" y="166068"/>
                  </a:cubicBezTo>
                  <a:cubicBezTo>
                    <a:pt x="206165" y="168416"/>
                    <a:pt x="207244" y="171186"/>
                    <a:pt x="208184" y="174379"/>
                  </a:cubicBezTo>
                  <a:cubicBezTo>
                    <a:pt x="209122" y="177571"/>
                    <a:pt x="210484" y="180811"/>
                    <a:pt x="212268" y="184098"/>
                  </a:cubicBezTo>
                  <a:cubicBezTo>
                    <a:pt x="214052" y="187384"/>
                    <a:pt x="217104" y="190202"/>
                    <a:pt x="221424" y="192549"/>
                  </a:cubicBezTo>
                  <a:cubicBezTo>
                    <a:pt x="225743" y="194897"/>
                    <a:pt x="231284" y="196070"/>
                    <a:pt x="238045" y="196070"/>
                  </a:cubicBezTo>
                  <a:cubicBezTo>
                    <a:pt x="240486" y="196070"/>
                    <a:pt x="242787" y="195883"/>
                    <a:pt x="244947" y="195507"/>
                  </a:cubicBezTo>
                  <a:cubicBezTo>
                    <a:pt x="247106" y="195131"/>
                    <a:pt x="249031" y="194756"/>
                    <a:pt x="250722" y="194380"/>
                  </a:cubicBezTo>
                  <a:cubicBezTo>
                    <a:pt x="252412" y="194005"/>
                    <a:pt x="254055" y="193253"/>
                    <a:pt x="255652" y="192127"/>
                  </a:cubicBezTo>
                  <a:cubicBezTo>
                    <a:pt x="257248" y="191000"/>
                    <a:pt x="258563" y="190108"/>
                    <a:pt x="259596" y="189450"/>
                  </a:cubicBezTo>
                  <a:cubicBezTo>
                    <a:pt x="260629" y="188793"/>
                    <a:pt x="261755" y="187525"/>
                    <a:pt x="262976" y="185647"/>
                  </a:cubicBezTo>
                  <a:cubicBezTo>
                    <a:pt x="264197" y="183769"/>
                    <a:pt x="265042" y="182454"/>
                    <a:pt x="265511" y="181703"/>
                  </a:cubicBezTo>
                  <a:cubicBezTo>
                    <a:pt x="265981" y="180952"/>
                    <a:pt x="266779" y="179356"/>
                    <a:pt x="267906" y="176914"/>
                  </a:cubicBezTo>
                  <a:cubicBezTo>
                    <a:pt x="269033" y="174473"/>
                    <a:pt x="269737" y="172876"/>
                    <a:pt x="270019" y="172125"/>
                  </a:cubicBezTo>
                  <a:cubicBezTo>
                    <a:pt x="270301" y="171374"/>
                    <a:pt x="270958" y="169449"/>
                    <a:pt x="271991" y="166350"/>
                  </a:cubicBezTo>
                  <a:cubicBezTo>
                    <a:pt x="273024" y="163251"/>
                    <a:pt x="273728" y="161326"/>
                    <a:pt x="274104" y="160575"/>
                  </a:cubicBezTo>
                  <a:cubicBezTo>
                    <a:pt x="274479" y="159260"/>
                    <a:pt x="275184" y="158274"/>
                    <a:pt x="276217" y="157617"/>
                  </a:cubicBezTo>
                  <a:cubicBezTo>
                    <a:pt x="277250" y="156960"/>
                    <a:pt x="277954" y="156349"/>
                    <a:pt x="278329" y="155786"/>
                  </a:cubicBezTo>
                  <a:cubicBezTo>
                    <a:pt x="278705" y="154096"/>
                    <a:pt x="279081" y="151560"/>
                    <a:pt x="279456" y="148180"/>
                  </a:cubicBezTo>
                  <a:cubicBezTo>
                    <a:pt x="279081" y="147428"/>
                    <a:pt x="278705" y="146865"/>
                    <a:pt x="278329" y="146490"/>
                  </a:cubicBezTo>
                  <a:cubicBezTo>
                    <a:pt x="276451" y="144987"/>
                    <a:pt x="267436" y="144236"/>
                    <a:pt x="251285" y="144236"/>
                  </a:cubicBezTo>
                  <a:cubicBezTo>
                    <a:pt x="238139" y="144236"/>
                    <a:pt x="222457" y="146020"/>
                    <a:pt x="204240" y="149588"/>
                  </a:cubicBezTo>
                  <a:cubicBezTo>
                    <a:pt x="202925" y="149964"/>
                    <a:pt x="200953" y="150152"/>
                    <a:pt x="198324" y="150152"/>
                  </a:cubicBezTo>
                  <a:cubicBezTo>
                    <a:pt x="195694" y="150152"/>
                    <a:pt x="193722" y="149964"/>
                    <a:pt x="192408" y="149588"/>
                  </a:cubicBezTo>
                  <a:cubicBezTo>
                    <a:pt x="174190" y="146020"/>
                    <a:pt x="158509" y="144236"/>
                    <a:pt x="145362" y="144236"/>
                  </a:cubicBezTo>
                  <a:close/>
                  <a:moveTo>
                    <a:pt x="126206" y="252413"/>
                  </a:moveTo>
                  <a:lnTo>
                    <a:pt x="162265" y="432707"/>
                  </a:lnTo>
                  <a:lnTo>
                    <a:pt x="189309" y="306501"/>
                  </a:lnTo>
                  <a:lnTo>
                    <a:pt x="162265" y="270442"/>
                  </a:lnTo>
                  <a:lnTo>
                    <a:pt x="126206" y="252413"/>
                  </a:lnTo>
                  <a:close/>
                  <a:moveTo>
                    <a:pt x="270441" y="252413"/>
                  </a:moveTo>
                  <a:lnTo>
                    <a:pt x="234383" y="270442"/>
                  </a:lnTo>
                  <a:lnTo>
                    <a:pt x="207338" y="306501"/>
                  </a:lnTo>
                  <a:lnTo>
                    <a:pt x="234383" y="432707"/>
                  </a:lnTo>
                  <a:lnTo>
                    <a:pt x="270441" y="252413"/>
                  </a:ln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4" name="Freeform 404">
              <a:extLst>
                <a:ext uri="{FF2B5EF4-FFF2-40B4-BE49-F238E27FC236}">
                  <a16:creationId xmlns:a16="http://schemas.microsoft.com/office/drawing/2014/main" id="{E525BBB6-EC97-FF95-4B8E-49FD19E5BFF2}"/>
                </a:ext>
              </a:extLst>
            </p:cNvPr>
            <p:cNvSpPr/>
            <p:nvPr/>
          </p:nvSpPr>
          <p:spPr>
            <a:xfrm>
              <a:off x="1179235" y="5250452"/>
              <a:ext cx="396000" cy="324000"/>
            </a:xfrm>
            <a:custGeom>
              <a:avLst/>
              <a:gdLst>
                <a:gd name="connsiteX0" fmla="*/ 240018 w 502570"/>
                <a:gd name="connsiteY0" fmla="*/ 221988 h 396648"/>
                <a:gd name="connsiteX1" fmla="*/ 207339 w 502570"/>
                <a:gd name="connsiteY1" fmla="*/ 254666 h 396648"/>
                <a:gd name="connsiteX2" fmla="*/ 207339 w 502570"/>
                <a:gd name="connsiteY2" fmla="*/ 270442 h 396648"/>
                <a:gd name="connsiteX3" fmla="*/ 234383 w 502570"/>
                <a:gd name="connsiteY3" fmla="*/ 270442 h 396648"/>
                <a:gd name="connsiteX4" fmla="*/ 234383 w 502570"/>
                <a:gd name="connsiteY4" fmla="*/ 297486 h 396648"/>
                <a:gd name="connsiteX5" fmla="*/ 250159 w 502570"/>
                <a:gd name="connsiteY5" fmla="*/ 297486 h 396648"/>
                <a:gd name="connsiteX6" fmla="*/ 282837 w 502570"/>
                <a:gd name="connsiteY6" fmla="*/ 264808 h 396648"/>
                <a:gd name="connsiteX7" fmla="*/ 369533 w 502570"/>
                <a:gd name="connsiteY7" fmla="*/ 92471 h 396648"/>
                <a:gd name="connsiteX8" fmla="*/ 364815 w 502570"/>
                <a:gd name="connsiteY8" fmla="*/ 94936 h 396648"/>
                <a:gd name="connsiteX9" fmla="*/ 266216 w 502570"/>
                <a:gd name="connsiteY9" fmla="*/ 193535 h 396648"/>
                <a:gd name="connsiteX10" fmla="*/ 265935 w 502570"/>
                <a:gd name="connsiteY10" fmla="*/ 202831 h 396648"/>
                <a:gd name="connsiteX11" fmla="*/ 275231 w 502570"/>
                <a:gd name="connsiteY11" fmla="*/ 202550 h 396648"/>
                <a:gd name="connsiteX12" fmla="*/ 373829 w 502570"/>
                <a:gd name="connsiteY12" fmla="*/ 103951 h 396648"/>
                <a:gd name="connsiteX13" fmla="*/ 374112 w 502570"/>
                <a:gd name="connsiteY13" fmla="*/ 94655 h 396648"/>
                <a:gd name="connsiteX14" fmla="*/ 369533 w 502570"/>
                <a:gd name="connsiteY14" fmla="*/ 92471 h 396648"/>
                <a:gd name="connsiteX15" fmla="*/ 369604 w 502570"/>
                <a:gd name="connsiteY15" fmla="*/ 54088 h 396648"/>
                <a:gd name="connsiteX16" fmla="*/ 450736 w 502570"/>
                <a:gd name="connsiteY16" fmla="*/ 135221 h 396648"/>
                <a:gd name="connsiteX17" fmla="*/ 261427 w 502570"/>
                <a:gd name="connsiteY17" fmla="*/ 324530 h 396648"/>
                <a:gd name="connsiteX18" fmla="*/ 180295 w 502570"/>
                <a:gd name="connsiteY18" fmla="*/ 324530 h 396648"/>
                <a:gd name="connsiteX19" fmla="*/ 180295 w 502570"/>
                <a:gd name="connsiteY19" fmla="*/ 243398 h 396648"/>
                <a:gd name="connsiteX20" fmla="*/ 432706 w 502570"/>
                <a:gd name="connsiteY20" fmla="*/ 2254 h 396648"/>
                <a:gd name="connsiteX21" fmla="*/ 451863 w 502570"/>
                <a:gd name="connsiteY21" fmla="*/ 10142 h 396648"/>
                <a:gd name="connsiteX22" fmla="*/ 494683 w 502570"/>
                <a:gd name="connsiteY22" fmla="*/ 52961 h 396648"/>
                <a:gd name="connsiteX23" fmla="*/ 502570 w 502570"/>
                <a:gd name="connsiteY23" fmla="*/ 72118 h 396648"/>
                <a:gd name="connsiteX24" fmla="*/ 494683 w 502570"/>
                <a:gd name="connsiteY24" fmla="*/ 91274 h 396648"/>
                <a:gd name="connsiteX25" fmla="*/ 468766 w 502570"/>
                <a:gd name="connsiteY25" fmla="*/ 117191 h 396648"/>
                <a:gd name="connsiteX26" fmla="*/ 387632 w 502570"/>
                <a:gd name="connsiteY26" fmla="*/ 36059 h 396648"/>
                <a:gd name="connsiteX27" fmla="*/ 413550 w 502570"/>
                <a:gd name="connsiteY27" fmla="*/ 10142 h 396648"/>
                <a:gd name="connsiteX28" fmla="*/ 432706 w 502570"/>
                <a:gd name="connsiteY28" fmla="*/ 2254 h 396648"/>
                <a:gd name="connsiteX29" fmla="*/ 81133 w 502570"/>
                <a:gd name="connsiteY29" fmla="*/ 0 h 396648"/>
                <a:gd name="connsiteX30" fmla="*/ 315515 w 502570"/>
                <a:gd name="connsiteY30" fmla="*/ 0 h 396648"/>
                <a:gd name="connsiteX31" fmla="*/ 348476 w 502570"/>
                <a:gd name="connsiteY31" fmla="*/ 7043 h 396648"/>
                <a:gd name="connsiteX32" fmla="*/ 353547 w 502570"/>
                <a:gd name="connsiteY32" fmla="*/ 13522 h 396648"/>
                <a:gd name="connsiteX33" fmla="*/ 351011 w 502570"/>
                <a:gd name="connsiteY33" fmla="*/ 21692 h 396648"/>
                <a:gd name="connsiteX34" fmla="*/ 337207 w 502570"/>
                <a:gd name="connsiteY34" fmla="*/ 35496 h 396648"/>
                <a:gd name="connsiteX35" fmla="*/ 328193 w 502570"/>
                <a:gd name="connsiteY35" fmla="*/ 37749 h 396648"/>
                <a:gd name="connsiteX36" fmla="*/ 315515 w 502570"/>
                <a:gd name="connsiteY36" fmla="*/ 36059 h 396648"/>
                <a:gd name="connsiteX37" fmla="*/ 81133 w 502570"/>
                <a:gd name="connsiteY37" fmla="*/ 36059 h 396648"/>
                <a:gd name="connsiteX38" fmla="*/ 49299 w 502570"/>
                <a:gd name="connsiteY38" fmla="*/ 49299 h 396648"/>
                <a:gd name="connsiteX39" fmla="*/ 36059 w 502570"/>
                <a:gd name="connsiteY39" fmla="*/ 81133 h 396648"/>
                <a:gd name="connsiteX40" fmla="*/ 36059 w 502570"/>
                <a:gd name="connsiteY40" fmla="*/ 315515 h 396648"/>
                <a:gd name="connsiteX41" fmla="*/ 49299 w 502570"/>
                <a:gd name="connsiteY41" fmla="*/ 347349 h 396648"/>
                <a:gd name="connsiteX42" fmla="*/ 81133 w 502570"/>
                <a:gd name="connsiteY42" fmla="*/ 360589 h 396648"/>
                <a:gd name="connsiteX43" fmla="*/ 315515 w 502570"/>
                <a:gd name="connsiteY43" fmla="*/ 360589 h 396648"/>
                <a:gd name="connsiteX44" fmla="*/ 347349 w 502570"/>
                <a:gd name="connsiteY44" fmla="*/ 347349 h 396648"/>
                <a:gd name="connsiteX45" fmla="*/ 360589 w 502570"/>
                <a:gd name="connsiteY45" fmla="*/ 315515 h 396648"/>
                <a:gd name="connsiteX46" fmla="*/ 360589 w 502570"/>
                <a:gd name="connsiteY46" fmla="*/ 280020 h 396648"/>
                <a:gd name="connsiteX47" fmla="*/ 363125 w 502570"/>
                <a:gd name="connsiteY47" fmla="*/ 273822 h 396648"/>
                <a:gd name="connsiteX48" fmla="*/ 381154 w 502570"/>
                <a:gd name="connsiteY48" fmla="*/ 255793 h 396648"/>
                <a:gd name="connsiteX49" fmla="*/ 391014 w 502570"/>
                <a:gd name="connsiteY49" fmla="*/ 253821 h 396648"/>
                <a:gd name="connsiteX50" fmla="*/ 396649 w 502570"/>
                <a:gd name="connsiteY50" fmla="*/ 261991 h 396648"/>
                <a:gd name="connsiteX51" fmla="*/ 396649 w 502570"/>
                <a:gd name="connsiteY51" fmla="*/ 315515 h 396648"/>
                <a:gd name="connsiteX52" fmla="*/ 372843 w 502570"/>
                <a:gd name="connsiteY52" fmla="*/ 372844 h 396648"/>
                <a:gd name="connsiteX53" fmla="*/ 315515 w 502570"/>
                <a:gd name="connsiteY53" fmla="*/ 396648 h 396648"/>
                <a:gd name="connsiteX54" fmla="*/ 81133 w 502570"/>
                <a:gd name="connsiteY54" fmla="*/ 396648 h 396648"/>
                <a:gd name="connsiteX55" fmla="*/ 23804 w 502570"/>
                <a:gd name="connsiteY55" fmla="*/ 372844 h 396648"/>
                <a:gd name="connsiteX56" fmla="*/ 0 w 502570"/>
                <a:gd name="connsiteY56" fmla="*/ 315515 h 396648"/>
                <a:gd name="connsiteX57" fmla="*/ 0 w 502570"/>
                <a:gd name="connsiteY57" fmla="*/ 81133 h 396648"/>
                <a:gd name="connsiteX58" fmla="*/ 23804 w 502570"/>
                <a:gd name="connsiteY58" fmla="*/ 23805 h 396648"/>
                <a:gd name="connsiteX59" fmla="*/ 81133 w 502570"/>
                <a:gd name="connsiteY59" fmla="*/ 0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02570" h="396648">
                  <a:moveTo>
                    <a:pt x="240018" y="221988"/>
                  </a:moveTo>
                  <a:lnTo>
                    <a:pt x="207339" y="254666"/>
                  </a:lnTo>
                  <a:lnTo>
                    <a:pt x="207339" y="270442"/>
                  </a:lnTo>
                  <a:lnTo>
                    <a:pt x="234383" y="270442"/>
                  </a:lnTo>
                  <a:lnTo>
                    <a:pt x="234383" y="297486"/>
                  </a:lnTo>
                  <a:lnTo>
                    <a:pt x="250159" y="297486"/>
                  </a:lnTo>
                  <a:lnTo>
                    <a:pt x="282837" y="264808"/>
                  </a:lnTo>
                  <a:close/>
                  <a:moveTo>
                    <a:pt x="369533" y="92471"/>
                  </a:moveTo>
                  <a:cubicBezTo>
                    <a:pt x="367984" y="92518"/>
                    <a:pt x="366411" y="93340"/>
                    <a:pt x="364815" y="94936"/>
                  </a:cubicBezTo>
                  <a:lnTo>
                    <a:pt x="266216" y="193535"/>
                  </a:lnTo>
                  <a:cubicBezTo>
                    <a:pt x="263023" y="196728"/>
                    <a:pt x="262929" y="199826"/>
                    <a:pt x="265935" y="202831"/>
                  </a:cubicBezTo>
                  <a:cubicBezTo>
                    <a:pt x="268939" y="205836"/>
                    <a:pt x="272038" y="205742"/>
                    <a:pt x="275231" y="202550"/>
                  </a:cubicBezTo>
                  <a:lnTo>
                    <a:pt x="373829" y="103951"/>
                  </a:lnTo>
                  <a:cubicBezTo>
                    <a:pt x="377022" y="100758"/>
                    <a:pt x="377115" y="97659"/>
                    <a:pt x="374112" y="94655"/>
                  </a:cubicBezTo>
                  <a:cubicBezTo>
                    <a:pt x="372610" y="93152"/>
                    <a:pt x="371083" y="92424"/>
                    <a:pt x="369533" y="92471"/>
                  </a:cubicBezTo>
                  <a:close/>
                  <a:moveTo>
                    <a:pt x="369604" y="54088"/>
                  </a:moveTo>
                  <a:lnTo>
                    <a:pt x="450736" y="135221"/>
                  </a:lnTo>
                  <a:lnTo>
                    <a:pt x="261427" y="324530"/>
                  </a:lnTo>
                  <a:lnTo>
                    <a:pt x="180295" y="324530"/>
                  </a:lnTo>
                  <a:lnTo>
                    <a:pt x="180295" y="243398"/>
                  </a:lnTo>
                  <a:close/>
                  <a:moveTo>
                    <a:pt x="432706" y="2254"/>
                  </a:moveTo>
                  <a:cubicBezTo>
                    <a:pt x="440217" y="2254"/>
                    <a:pt x="446604" y="4883"/>
                    <a:pt x="451863" y="10142"/>
                  </a:cubicBezTo>
                  <a:lnTo>
                    <a:pt x="494683" y="52961"/>
                  </a:lnTo>
                  <a:cubicBezTo>
                    <a:pt x="499940" y="58220"/>
                    <a:pt x="502570" y="64606"/>
                    <a:pt x="502570" y="72118"/>
                  </a:cubicBezTo>
                  <a:cubicBezTo>
                    <a:pt x="502570" y="79630"/>
                    <a:pt x="499940" y="86016"/>
                    <a:pt x="494683" y="91274"/>
                  </a:cubicBezTo>
                  <a:lnTo>
                    <a:pt x="468766" y="117191"/>
                  </a:lnTo>
                  <a:lnTo>
                    <a:pt x="387632" y="36059"/>
                  </a:lnTo>
                  <a:lnTo>
                    <a:pt x="413550" y="10142"/>
                  </a:lnTo>
                  <a:cubicBezTo>
                    <a:pt x="418808" y="4883"/>
                    <a:pt x="425194" y="2254"/>
                    <a:pt x="432706" y="2254"/>
                  </a:cubicBezTo>
                  <a:close/>
                  <a:moveTo>
                    <a:pt x="81133" y="0"/>
                  </a:moveTo>
                  <a:lnTo>
                    <a:pt x="315515" y="0"/>
                  </a:lnTo>
                  <a:cubicBezTo>
                    <a:pt x="327347" y="0"/>
                    <a:pt x="338334" y="2348"/>
                    <a:pt x="348476" y="7043"/>
                  </a:cubicBezTo>
                  <a:cubicBezTo>
                    <a:pt x="351293" y="8357"/>
                    <a:pt x="352983" y="10517"/>
                    <a:pt x="353547" y="13522"/>
                  </a:cubicBezTo>
                  <a:cubicBezTo>
                    <a:pt x="354110" y="16715"/>
                    <a:pt x="353265" y="19438"/>
                    <a:pt x="351011" y="21692"/>
                  </a:cubicBezTo>
                  <a:lnTo>
                    <a:pt x="337207" y="35496"/>
                  </a:lnTo>
                  <a:cubicBezTo>
                    <a:pt x="334577" y="38125"/>
                    <a:pt x="331574" y="38876"/>
                    <a:pt x="328193" y="37749"/>
                  </a:cubicBezTo>
                  <a:cubicBezTo>
                    <a:pt x="323872" y="36622"/>
                    <a:pt x="319647" y="36059"/>
                    <a:pt x="315515" y="36059"/>
                  </a:cubicBezTo>
                  <a:lnTo>
                    <a:pt x="81133" y="36059"/>
                  </a:lnTo>
                  <a:cubicBezTo>
                    <a:pt x="68737" y="36059"/>
                    <a:pt x="58126" y="40472"/>
                    <a:pt x="49299" y="49299"/>
                  </a:cubicBezTo>
                  <a:cubicBezTo>
                    <a:pt x="40472" y="58126"/>
                    <a:pt x="36059" y="68737"/>
                    <a:pt x="36059" y="81133"/>
                  </a:cubicBezTo>
                  <a:lnTo>
                    <a:pt x="36059" y="315515"/>
                  </a:lnTo>
                  <a:cubicBezTo>
                    <a:pt x="36059" y="327911"/>
                    <a:pt x="40472" y="338522"/>
                    <a:pt x="49299" y="347349"/>
                  </a:cubicBezTo>
                  <a:cubicBezTo>
                    <a:pt x="58126" y="356176"/>
                    <a:pt x="68737" y="360589"/>
                    <a:pt x="81133" y="360589"/>
                  </a:cubicBezTo>
                  <a:lnTo>
                    <a:pt x="315515" y="360589"/>
                  </a:lnTo>
                  <a:cubicBezTo>
                    <a:pt x="327911" y="360589"/>
                    <a:pt x="338521" y="356176"/>
                    <a:pt x="347349" y="347349"/>
                  </a:cubicBezTo>
                  <a:cubicBezTo>
                    <a:pt x="356176" y="338522"/>
                    <a:pt x="360589" y="327911"/>
                    <a:pt x="360589" y="315515"/>
                  </a:cubicBezTo>
                  <a:lnTo>
                    <a:pt x="360589" y="280020"/>
                  </a:lnTo>
                  <a:cubicBezTo>
                    <a:pt x="360589" y="277579"/>
                    <a:pt x="361435" y="275513"/>
                    <a:pt x="363125" y="273822"/>
                  </a:cubicBezTo>
                  <a:lnTo>
                    <a:pt x="381154" y="255793"/>
                  </a:lnTo>
                  <a:cubicBezTo>
                    <a:pt x="383972" y="252976"/>
                    <a:pt x="387258" y="252318"/>
                    <a:pt x="391014" y="253821"/>
                  </a:cubicBezTo>
                  <a:cubicBezTo>
                    <a:pt x="394770" y="255323"/>
                    <a:pt x="396649" y="258047"/>
                    <a:pt x="396649" y="261991"/>
                  </a:cubicBezTo>
                  <a:lnTo>
                    <a:pt x="396649" y="315515"/>
                  </a:lnTo>
                  <a:cubicBezTo>
                    <a:pt x="396649" y="337865"/>
                    <a:pt x="388713" y="356974"/>
                    <a:pt x="372843" y="372844"/>
                  </a:cubicBezTo>
                  <a:cubicBezTo>
                    <a:pt x="356973" y="388713"/>
                    <a:pt x="337864" y="396648"/>
                    <a:pt x="315515" y="396648"/>
                  </a:cubicBezTo>
                  <a:lnTo>
                    <a:pt x="81133" y="396648"/>
                  </a:lnTo>
                  <a:cubicBezTo>
                    <a:pt x="58783" y="396648"/>
                    <a:pt x="39674" y="388713"/>
                    <a:pt x="23804" y="372844"/>
                  </a:cubicBezTo>
                  <a:cubicBezTo>
                    <a:pt x="7934" y="356974"/>
                    <a:pt x="0" y="337865"/>
                    <a:pt x="0" y="315515"/>
                  </a:cubicBezTo>
                  <a:lnTo>
                    <a:pt x="0" y="81133"/>
                  </a:lnTo>
                  <a:cubicBezTo>
                    <a:pt x="0" y="58784"/>
                    <a:pt x="7934" y="39674"/>
                    <a:pt x="23804" y="23805"/>
                  </a:cubicBezTo>
                  <a:cubicBezTo>
                    <a:pt x="39674" y="7935"/>
                    <a:pt x="58783" y="0"/>
                    <a:pt x="81133" y="0"/>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5" name="Freeform 313">
              <a:extLst>
                <a:ext uri="{FF2B5EF4-FFF2-40B4-BE49-F238E27FC236}">
                  <a16:creationId xmlns:a16="http://schemas.microsoft.com/office/drawing/2014/main" id="{561AE184-A414-82C7-AC85-0E495634E8AE}"/>
                </a:ext>
              </a:extLst>
            </p:cNvPr>
            <p:cNvSpPr/>
            <p:nvPr/>
          </p:nvSpPr>
          <p:spPr>
            <a:xfrm>
              <a:off x="1153763" y="5851781"/>
              <a:ext cx="396000" cy="324000"/>
            </a:xfrm>
            <a:custGeom>
              <a:avLst/>
              <a:gdLst/>
              <a:ahLst/>
              <a:cxnLst/>
              <a:rect l="l" t="t" r="r" b="b"/>
              <a:pathLst>
                <a:path w="468765" h="432707">
                  <a:moveTo>
                    <a:pt x="153251" y="0"/>
                  </a:moveTo>
                  <a:lnTo>
                    <a:pt x="315515" y="0"/>
                  </a:lnTo>
                  <a:cubicBezTo>
                    <a:pt x="327910" y="0"/>
                    <a:pt x="338522" y="4413"/>
                    <a:pt x="347348" y="13240"/>
                  </a:cubicBezTo>
                  <a:cubicBezTo>
                    <a:pt x="356175" y="22067"/>
                    <a:pt x="360589" y="32678"/>
                    <a:pt x="360589" y="45074"/>
                  </a:cubicBezTo>
                  <a:lnTo>
                    <a:pt x="360589" y="72118"/>
                  </a:lnTo>
                  <a:lnTo>
                    <a:pt x="441721" y="72118"/>
                  </a:lnTo>
                  <a:cubicBezTo>
                    <a:pt x="449233" y="72118"/>
                    <a:pt x="455619" y="74747"/>
                    <a:pt x="460877" y="80006"/>
                  </a:cubicBezTo>
                  <a:cubicBezTo>
                    <a:pt x="466136" y="85264"/>
                    <a:pt x="468765" y="91650"/>
                    <a:pt x="468765" y="99162"/>
                  </a:cubicBezTo>
                  <a:lnTo>
                    <a:pt x="468765" y="135221"/>
                  </a:lnTo>
                  <a:cubicBezTo>
                    <a:pt x="468765" y="148555"/>
                    <a:pt x="464868" y="161983"/>
                    <a:pt x="457074" y="175506"/>
                  </a:cubicBezTo>
                  <a:cubicBezTo>
                    <a:pt x="449280" y="189028"/>
                    <a:pt x="438763" y="201235"/>
                    <a:pt x="425523" y="212128"/>
                  </a:cubicBezTo>
                  <a:cubicBezTo>
                    <a:pt x="412282" y="223021"/>
                    <a:pt x="396037" y="232176"/>
                    <a:pt x="376787" y="239595"/>
                  </a:cubicBezTo>
                  <a:cubicBezTo>
                    <a:pt x="357537" y="247013"/>
                    <a:pt x="337301" y="251192"/>
                    <a:pt x="316078" y="252131"/>
                  </a:cubicBezTo>
                  <a:cubicBezTo>
                    <a:pt x="308191" y="262272"/>
                    <a:pt x="299270" y="271193"/>
                    <a:pt x="289316" y="278893"/>
                  </a:cubicBezTo>
                  <a:cubicBezTo>
                    <a:pt x="282179" y="285279"/>
                    <a:pt x="277249" y="292087"/>
                    <a:pt x="274526" y="299317"/>
                  </a:cubicBezTo>
                  <a:cubicBezTo>
                    <a:pt x="271803" y="306548"/>
                    <a:pt x="270441" y="314952"/>
                    <a:pt x="270441" y="324530"/>
                  </a:cubicBezTo>
                  <a:cubicBezTo>
                    <a:pt x="270441" y="334672"/>
                    <a:pt x="273305" y="343217"/>
                    <a:pt x="279033" y="350166"/>
                  </a:cubicBezTo>
                  <a:cubicBezTo>
                    <a:pt x="284761" y="357115"/>
                    <a:pt x="293917" y="360589"/>
                    <a:pt x="306500" y="360589"/>
                  </a:cubicBezTo>
                  <a:cubicBezTo>
                    <a:pt x="320586" y="360589"/>
                    <a:pt x="333122" y="364862"/>
                    <a:pt x="344109" y="373407"/>
                  </a:cubicBezTo>
                  <a:cubicBezTo>
                    <a:pt x="355095" y="381952"/>
                    <a:pt x="360589" y="392704"/>
                    <a:pt x="360589" y="405663"/>
                  </a:cubicBezTo>
                  <a:lnTo>
                    <a:pt x="360589" y="423692"/>
                  </a:lnTo>
                  <a:cubicBezTo>
                    <a:pt x="360589" y="426322"/>
                    <a:pt x="359743" y="428481"/>
                    <a:pt x="358053" y="430172"/>
                  </a:cubicBezTo>
                  <a:cubicBezTo>
                    <a:pt x="356363" y="431862"/>
                    <a:pt x="354203" y="432707"/>
                    <a:pt x="351574" y="432707"/>
                  </a:cubicBezTo>
                  <a:lnTo>
                    <a:pt x="117191" y="432707"/>
                  </a:lnTo>
                  <a:cubicBezTo>
                    <a:pt x="114562" y="432707"/>
                    <a:pt x="112403" y="431862"/>
                    <a:pt x="110712" y="430172"/>
                  </a:cubicBezTo>
                  <a:cubicBezTo>
                    <a:pt x="109022" y="428481"/>
                    <a:pt x="108177" y="426322"/>
                    <a:pt x="108177" y="423692"/>
                  </a:cubicBezTo>
                  <a:lnTo>
                    <a:pt x="108177" y="405663"/>
                  </a:lnTo>
                  <a:cubicBezTo>
                    <a:pt x="108177" y="392704"/>
                    <a:pt x="113670" y="381952"/>
                    <a:pt x="124657" y="373407"/>
                  </a:cubicBezTo>
                  <a:cubicBezTo>
                    <a:pt x="135644" y="364862"/>
                    <a:pt x="148180" y="360589"/>
                    <a:pt x="162265" y="360589"/>
                  </a:cubicBezTo>
                  <a:cubicBezTo>
                    <a:pt x="174849" y="360589"/>
                    <a:pt x="184004" y="357115"/>
                    <a:pt x="189732" y="350166"/>
                  </a:cubicBezTo>
                  <a:cubicBezTo>
                    <a:pt x="195460" y="343217"/>
                    <a:pt x="198324" y="334672"/>
                    <a:pt x="198324" y="324530"/>
                  </a:cubicBezTo>
                  <a:cubicBezTo>
                    <a:pt x="198324" y="314952"/>
                    <a:pt x="196963" y="306548"/>
                    <a:pt x="194239" y="299317"/>
                  </a:cubicBezTo>
                  <a:cubicBezTo>
                    <a:pt x="191517" y="292087"/>
                    <a:pt x="186587" y="285279"/>
                    <a:pt x="179450" y="278893"/>
                  </a:cubicBezTo>
                  <a:cubicBezTo>
                    <a:pt x="169496" y="271193"/>
                    <a:pt x="160575" y="262272"/>
                    <a:pt x="152687" y="252131"/>
                  </a:cubicBezTo>
                  <a:cubicBezTo>
                    <a:pt x="131465" y="251192"/>
                    <a:pt x="111230" y="247013"/>
                    <a:pt x="91979" y="239595"/>
                  </a:cubicBezTo>
                  <a:cubicBezTo>
                    <a:pt x="72728" y="232176"/>
                    <a:pt x="56483" y="223021"/>
                    <a:pt x="43243" y="212128"/>
                  </a:cubicBezTo>
                  <a:cubicBezTo>
                    <a:pt x="30002" y="201235"/>
                    <a:pt x="19485" y="189028"/>
                    <a:pt x="11691" y="175506"/>
                  </a:cubicBezTo>
                  <a:cubicBezTo>
                    <a:pt x="3897" y="161983"/>
                    <a:pt x="0" y="148555"/>
                    <a:pt x="0" y="135221"/>
                  </a:cubicBezTo>
                  <a:lnTo>
                    <a:pt x="0" y="99162"/>
                  </a:lnTo>
                  <a:cubicBezTo>
                    <a:pt x="0" y="91650"/>
                    <a:pt x="2630" y="85264"/>
                    <a:pt x="7888" y="80006"/>
                  </a:cubicBezTo>
                  <a:cubicBezTo>
                    <a:pt x="13146" y="74747"/>
                    <a:pt x="19532" y="72118"/>
                    <a:pt x="27044" y="72118"/>
                  </a:cubicBezTo>
                  <a:lnTo>
                    <a:pt x="108177" y="72118"/>
                  </a:lnTo>
                  <a:lnTo>
                    <a:pt x="108177" y="45074"/>
                  </a:lnTo>
                  <a:cubicBezTo>
                    <a:pt x="108177" y="32678"/>
                    <a:pt x="112590" y="22067"/>
                    <a:pt x="121417" y="13240"/>
                  </a:cubicBezTo>
                  <a:cubicBezTo>
                    <a:pt x="130244" y="4413"/>
                    <a:pt x="140855" y="0"/>
                    <a:pt x="153251" y="0"/>
                  </a:cubicBezTo>
                  <a:close/>
                  <a:moveTo>
                    <a:pt x="36059" y="108177"/>
                  </a:moveTo>
                  <a:lnTo>
                    <a:pt x="36059" y="135221"/>
                  </a:lnTo>
                  <a:cubicBezTo>
                    <a:pt x="36059" y="149870"/>
                    <a:pt x="44932" y="165082"/>
                    <a:pt x="62680" y="180858"/>
                  </a:cubicBezTo>
                  <a:cubicBezTo>
                    <a:pt x="80428" y="196634"/>
                    <a:pt x="102543" y="207245"/>
                    <a:pt x="129023" y="212691"/>
                  </a:cubicBezTo>
                  <a:cubicBezTo>
                    <a:pt x="115126" y="182267"/>
                    <a:pt x="108177" y="147428"/>
                    <a:pt x="108177" y="108177"/>
                  </a:cubicBezTo>
                  <a:lnTo>
                    <a:pt x="36059" y="108177"/>
                  </a:lnTo>
                  <a:close/>
                  <a:moveTo>
                    <a:pt x="360589" y="108177"/>
                  </a:moveTo>
                  <a:cubicBezTo>
                    <a:pt x="360589" y="147428"/>
                    <a:pt x="353640" y="182267"/>
                    <a:pt x="339742" y="212691"/>
                  </a:cubicBezTo>
                  <a:cubicBezTo>
                    <a:pt x="366222" y="207245"/>
                    <a:pt x="388337" y="196634"/>
                    <a:pt x="406085" y="180858"/>
                  </a:cubicBezTo>
                  <a:cubicBezTo>
                    <a:pt x="423833" y="165082"/>
                    <a:pt x="432706" y="149870"/>
                    <a:pt x="432706" y="135221"/>
                  </a:cubicBezTo>
                  <a:lnTo>
                    <a:pt x="432706" y="108177"/>
                  </a:lnTo>
                  <a:lnTo>
                    <a:pt x="360589" y="108177"/>
                  </a:ln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6" name="Freeform 457">
              <a:extLst>
                <a:ext uri="{FF2B5EF4-FFF2-40B4-BE49-F238E27FC236}">
                  <a16:creationId xmlns:a16="http://schemas.microsoft.com/office/drawing/2014/main" id="{7EAE9DF2-3A1C-B17D-82FD-382A817C3FD4}"/>
                </a:ext>
              </a:extLst>
            </p:cNvPr>
            <p:cNvSpPr/>
            <p:nvPr/>
          </p:nvSpPr>
          <p:spPr>
            <a:xfrm>
              <a:off x="1211789" y="4672427"/>
              <a:ext cx="252000" cy="324000"/>
            </a:xfrm>
            <a:custGeom>
              <a:avLst/>
              <a:gdLst>
                <a:gd name="connsiteX0" fmla="*/ 108177 w 216354"/>
                <a:gd name="connsiteY0" fmla="*/ 60848 h 324530"/>
                <a:gd name="connsiteX1" fmla="*/ 129199 w 216354"/>
                <a:gd name="connsiteY1" fmla="*/ 64229 h 324530"/>
                <a:gd name="connsiteX2" fmla="*/ 147581 w 216354"/>
                <a:gd name="connsiteY2" fmla="*/ 75638 h 324530"/>
                <a:gd name="connsiteX3" fmla="*/ 155504 w 216354"/>
                <a:gd name="connsiteY3" fmla="*/ 94654 h 324530"/>
                <a:gd name="connsiteX4" fmla="*/ 153497 w 216354"/>
                <a:gd name="connsiteY4" fmla="*/ 99408 h 324530"/>
                <a:gd name="connsiteX5" fmla="*/ 148744 w 216354"/>
                <a:gd name="connsiteY5" fmla="*/ 101415 h 324530"/>
                <a:gd name="connsiteX6" fmla="*/ 143989 w 216354"/>
                <a:gd name="connsiteY6" fmla="*/ 99408 h 324530"/>
                <a:gd name="connsiteX7" fmla="*/ 141982 w 216354"/>
                <a:gd name="connsiteY7" fmla="*/ 94654 h 324530"/>
                <a:gd name="connsiteX8" fmla="*/ 130573 w 216354"/>
                <a:gd name="connsiteY8" fmla="*/ 79653 h 324530"/>
                <a:gd name="connsiteX9" fmla="*/ 108177 w 216354"/>
                <a:gd name="connsiteY9" fmla="*/ 74371 h 324530"/>
                <a:gd name="connsiteX10" fmla="*/ 103422 w 216354"/>
                <a:gd name="connsiteY10" fmla="*/ 72364 h 324530"/>
                <a:gd name="connsiteX11" fmla="*/ 101415 w 216354"/>
                <a:gd name="connsiteY11" fmla="*/ 67610 h 324530"/>
                <a:gd name="connsiteX12" fmla="*/ 103422 w 216354"/>
                <a:gd name="connsiteY12" fmla="*/ 62856 h 324530"/>
                <a:gd name="connsiteX13" fmla="*/ 108177 w 216354"/>
                <a:gd name="connsiteY13" fmla="*/ 60848 h 324530"/>
                <a:gd name="connsiteX14" fmla="*/ 108177 w 216354"/>
                <a:gd name="connsiteY14" fmla="*/ 27044 h 324530"/>
                <a:gd name="connsiteX15" fmla="*/ 79337 w 216354"/>
                <a:gd name="connsiteY15" fmla="*/ 31797 h 324530"/>
                <a:gd name="connsiteX16" fmla="*/ 53349 w 216354"/>
                <a:gd name="connsiteY16" fmla="*/ 44897 h 324530"/>
                <a:gd name="connsiteX17" fmla="*/ 34333 w 216354"/>
                <a:gd name="connsiteY17" fmla="*/ 66343 h 324530"/>
                <a:gd name="connsiteX18" fmla="*/ 27044 w 216354"/>
                <a:gd name="connsiteY18" fmla="*/ 94655 h 324530"/>
                <a:gd name="connsiteX19" fmla="*/ 41411 w 216354"/>
                <a:gd name="connsiteY19" fmla="*/ 132686 h 324530"/>
                <a:gd name="connsiteX20" fmla="*/ 47856 w 216354"/>
                <a:gd name="connsiteY20" fmla="*/ 139658 h 324530"/>
                <a:gd name="connsiteX21" fmla="*/ 54300 w 216354"/>
                <a:gd name="connsiteY21" fmla="*/ 146630 h 324530"/>
                <a:gd name="connsiteX22" fmla="*/ 84091 w 216354"/>
                <a:gd name="connsiteY22" fmla="*/ 209593 h 324530"/>
                <a:gd name="connsiteX23" fmla="*/ 132263 w 216354"/>
                <a:gd name="connsiteY23" fmla="*/ 209593 h 324530"/>
                <a:gd name="connsiteX24" fmla="*/ 162054 w 216354"/>
                <a:gd name="connsiteY24" fmla="*/ 146630 h 324530"/>
                <a:gd name="connsiteX25" fmla="*/ 168498 w 216354"/>
                <a:gd name="connsiteY25" fmla="*/ 139658 h 324530"/>
                <a:gd name="connsiteX26" fmla="*/ 174943 w 216354"/>
                <a:gd name="connsiteY26" fmla="*/ 132686 h 324530"/>
                <a:gd name="connsiteX27" fmla="*/ 189310 w 216354"/>
                <a:gd name="connsiteY27" fmla="*/ 94655 h 324530"/>
                <a:gd name="connsiteX28" fmla="*/ 182021 w 216354"/>
                <a:gd name="connsiteY28" fmla="*/ 66343 h 324530"/>
                <a:gd name="connsiteX29" fmla="*/ 163005 w 216354"/>
                <a:gd name="connsiteY29" fmla="*/ 44897 h 324530"/>
                <a:gd name="connsiteX30" fmla="*/ 137017 w 216354"/>
                <a:gd name="connsiteY30" fmla="*/ 31797 h 324530"/>
                <a:gd name="connsiteX31" fmla="*/ 108177 w 216354"/>
                <a:gd name="connsiteY31" fmla="*/ 27044 h 324530"/>
                <a:gd name="connsiteX32" fmla="*/ 108177 w 216354"/>
                <a:gd name="connsiteY32" fmla="*/ 0 h 324530"/>
                <a:gd name="connsiteX33" fmla="*/ 147581 w 216354"/>
                <a:gd name="connsiteY33" fmla="*/ 6866 h 324530"/>
                <a:gd name="connsiteX34" fmla="*/ 182231 w 216354"/>
                <a:gd name="connsiteY34" fmla="*/ 25671 h 324530"/>
                <a:gd name="connsiteX35" fmla="*/ 206952 w 216354"/>
                <a:gd name="connsiteY35" fmla="*/ 55672 h 324530"/>
                <a:gd name="connsiteX36" fmla="*/ 216354 w 216354"/>
                <a:gd name="connsiteY36" fmla="*/ 94655 h 324530"/>
                <a:gd name="connsiteX37" fmla="*/ 194592 w 216354"/>
                <a:gd name="connsiteY37" fmla="*/ 151279 h 324530"/>
                <a:gd name="connsiteX38" fmla="*/ 178851 w 216354"/>
                <a:gd name="connsiteY38" fmla="*/ 169660 h 324530"/>
                <a:gd name="connsiteX39" fmla="*/ 166280 w 216354"/>
                <a:gd name="connsiteY39" fmla="*/ 189838 h 324530"/>
                <a:gd name="connsiteX40" fmla="*/ 159096 w 216354"/>
                <a:gd name="connsiteY40" fmla="*/ 212551 h 324530"/>
                <a:gd name="connsiteX41" fmla="*/ 169027 w 216354"/>
                <a:gd name="connsiteY41" fmla="*/ 229876 h 324530"/>
                <a:gd name="connsiteX42" fmla="*/ 163745 w 216354"/>
                <a:gd name="connsiteY42" fmla="*/ 243398 h 324530"/>
                <a:gd name="connsiteX43" fmla="*/ 169027 w 216354"/>
                <a:gd name="connsiteY43" fmla="*/ 256920 h 324530"/>
                <a:gd name="connsiteX44" fmla="*/ 159519 w 216354"/>
                <a:gd name="connsiteY44" fmla="*/ 274034 h 324530"/>
                <a:gd name="connsiteX45" fmla="*/ 162266 w 216354"/>
                <a:gd name="connsiteY45" fmla="*/ 283964 h 324530"/>
                <a:gd name="connsiteX46" fmla="*/ 155610 w 216354"/>
                <a:gd name="connsiteY46" fmla="*/ 298965 h 324530"/>
                <a:gd name="connsiteX47" fmla="*/ 139235 w 216354"/>
                <a:gd name="connsiteY47" fmla="*/ 304247 h 324530"/>
                <a:gd name="connsiteX48" fmla="*/ 126559 w 216354"/>
                <a:gd name="connsiteY48" fmla="*/ 319037 h 324530"/>
                <a:gd name="connsiteX49" fmla="*/ 108177 w 216354"/>
                <a:gd name="connsiteY49" fmla="*/ 324530 h 324530"/>
                <a:gd name="connsiteX50" fmla="*/ 89795 w 216354"/>
                <a:gd name="connsiteY50" fmla="*/ 319037 h 324530"/>
                <a:gd name="connsiteX51" fmla="*/ 77119 w 216354"/>
                <a:gd name="connsiteY51" fmla="*/ 304247 h 324530"/>
                <a:gd name="connsiteX52" fmla="*/ 60744 w 216354"/>
                <a:gd name="connsiteY52" fmla="*/ 298965 h 324530"/>
                <a:gd name="connsiteX53" fmla="*/ 54088 w 216354"/>
                <a:gd name="connsiteY53" fmla="*/ 283964 h 324530"/>
                <a:gd name="connsiteX54" fmla="*/ 56835 w 216354"/>
                <a:gd name="connsiteY54" fmla="*/ 274034 h 324530"/>
                <a:gd name="connsiteX55" fmla="*/ 47327 w 216354"/>
                <a:gd name="connsiteY55" fmla="*/ 256920 h 324530"/>
                <a:gd name="connsiteX56" fmla="*/ 52609 w 216354"/>
                <a:gd name="connsiteY56" fmla="*/ 243398 h 324530"/>
                <a:gd name="connsiteX57" fmla="*/ 47327 w 216354"/>
                <a:gd name="connsiteY57" fmla="*/ 229876 h 324530"/>
                <a:gd name="connsiteX58" fmla="*/ 57258 w 216354"/>
                <a:gd name="connsiteY58" fmla="*/ 212551 h 324530"/>
                <a:gd name="connsiteX59" fmla="*/ 50074 w 216354"/>
                <a:gd name="connsiteY59" fmla="*/ 189838 h 324530"/>
                <a:gd name="connsiteX60" fmla="*/ 37503 w 216354"/>
                <a:gd name="connsiteY60" fmla="*/ 169660 h 324530"/>
                <a:gd name="connsiteX61" fmla="*/ 21762 w 216354"/>
                <a:gd name="connsiteY61" fmla="*/ 151279 h 324530"/>
                <a:gd name="connsiteX62" fmla="*/ 0 w 216354"/>
                <a:gd name="connsiteY62" fmla="*/ 94655 h 324530"/>
                <a:gd name="connsiteX63" fmla="*/ 9402 w 216354"/>
                <a:gd name="connsiteY63" fmla="*/ 55672 h 324530"/>
                <a:gd name="connsiteX64" fmla="*/ 34123 w 216354"/>
                <a:gd name="connsiteY64" fmla="*/ 25671 h 324530"/>
                <a:gd name="connsiteX65" fmla="*/ 68773 w 216354"/>
                <a:gd name="connsiteY65" fmla="*/ 6866 h 324530"/>
                <a:gd name="connsiteX66" fmla="*/ 108177 w 216354"/>
                <a:gd name="connsiteY66" fmla="*/ 0 h 324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16354" h="324530">
                  <a:moveTo>
                    <a:pt x="108177" y="60848"/>
                  </a:moveTo>
                  <a:cubicBezTo>
                    <a:pt x="115219" y="60848"/>
                    <a:pt x="122227" y="61976"/>
                    <a:pt x="129199" y="64229"/>
                  </a:cubicBezTo>
                  <a:cubicBezTo>
                    <a:pt x="136172" y="66483"/>
                    <a:pt x="142299" y="70286"/>
                    <a:pt x="147581" y="75638"/>
                  </a:cubicBezTo>
                  <a:cubicBezTo>
                    <a:pt x="152863" y="80991"/>
                    <a:pt x="155504" y="87329"/>
                    <a:pt x="155504" y="94654"/>
                  </a:cubicBezTo>
                  <a:cubicBezTo>
                    <a:pt x="155504" y="96485"/>
                    <a:pt x="154835" y="98069"/>
                    <a:pt x="153497" y="99408"/>
                  </a:cubicBezTo>
                  <a:cubicBezTo>
                    <a:pt x="152158" y="100746"/>
                    <a:pt x="150574" y="101415"/>
                    <a:pt x="148744" y="101415"/>
                  </a:cubicBezTo>
                  <a:cubicBezTo>
                    <a:pt x="146911" y="101415"/>
                    <a:pt x="145327" y="100746"/>
                    <a:pt x="143989" y="99408"/>
                  </a:cubicBezTo>
                  <a:cubicBezTo>
                    <a:pt x="142651" y="98069"/>
                    <a:pt x="141982" y="96485"/>
                    <a:pt x="141982" y="94654"/>
                  </a:cubicBezTo>
                  <a:cubicBezTo>
                    <a:pt x="141982" y="88175"/>
                    <a:pt x="138179" y="83174"/>
                    <a:pt x="130573" y="79653"/>
                  </a:cubicBezTo>
                  <a:cubicBezTo>
                    <a:pt x="122967" y="76132"/>
                    <a:pt x="115501" y="74371"/>
                    <a:pt x="108177" y="74371"/>
                  </a:cubicBezTo>
                  <a:cubicBezTo>
                    <a:pt x="106345" y="74371"/>
                    <a:pt x="104760" y="73702"/>
                    <a:pt x="103422" y="72364"/>
                  </a:cubicBezTo>
                  <a:cubicBezTo>
                    <a:pt x="102084" y="71026"/>
                    <a:pt x="101415" y="69441"/>
                    <a:pt x="101415" y="67610"/>
                  </a:cubicBezTo>
                  <a:cubicBezTo>
                    <a:pt x="101415" y="65779"/>
                    <a:pt x="102084" y="64194"/>
                    <a:pt x="103422" y="62856"/>
                  </a:cubicBezTo>
                  <a:cubicBezTo>
                    <a:pt x="104760" y="61517"/>
                    <a:pt x="106345" y="60848"/>
                    <a:pt x="108177" y="60848"/>
                  </a:cubicBezTo>
                  <a:close/>
                  <a:moveTo>
                    <a:pt x="108177" y="27044"/>
                  </a:moveTo>
                  <a:cubicBezTo>
                    <a:pt x="98458" y="27044"/>
                    <a:pt x="88845" y="28629"/>
                    <a:pt x="79337" y="31797"/>
                  </a:cubicBezTo>
                  <a:cubicBezTo>
                    <a:pt x="69829" y="34967"/>
                    <a:pt x="61167" y="39333"/>
                    <a:pt x="53349" y="44897"/>
                  </a:cubicBezTo>
                  <a:cubicBezTo>
                    <a:pt x="45532" y="50461"/>
                    <a:pt x="39193" y="57609"/>
                    <a:pt x="34333" y="66343"/>
                  </a:cubicBezTo>
                  <a:cubicBezTo>
                    <a:pt x="29474" y="75076"/>
                    <a:pt x="27044" y="84513"/>
                    <a:pt x="27044" y="94655"/>
                  </a:cubicBezTo>
                  <a:cubicBezTo>
                    <a:pt x="27044" y="108881"/>
                    <a:pt x="31834" y="121558"/>
                    <a:pt x="41411" y="132686"/>
                  </a:cubicBezTo>
                  <a:cubicBezTo>
                    <a:pt x="42820" y="134235"/>
                    <a:pt x="44968" y="136559"/>
                    <a:pt x="47856" y="139658"/>
                  </a:cubicBezTo>
                  <a:cubicBezTo>
                    <a:pt x="50743" y="142757"/>
                    <a:pt x="52891" y="145081"/>
                    <a:pt x="54300" y="146630"/>
                  </a:cubicBezTo>
                  <a:cubicBezTo>
                    <a:pt x="72329" y="168181"/>
                    <a:pt x="82259" y="189169"/>
                    <a:pt x="84091" y="209593"/>
                  </a:cubicBezTo>
                  <a:lnTo>
                    <a:pt x="132263" y="209593"/>
                  </a:lnTo>
                  <a:cubicBezTo>
                    <a:pt x="134094" y="189169"/>
                    <a:pt x="144024" y="168181"/>
                    <a:pt x="162054" y="146630"/>
                  </a:cubicBezTo>
                  <a:cubicBezTo>
                    <a:pt x="163463" y="145081"/>
                    <a:pt x="165611" y="142757"/>
                    <a:pt x="168498" y="139658"/>
                  </a:cubicBezTo>
                  <a:cubicBezTo>
                    <a:pt x="171386" y="136559"/>
                    <a:pt x="173534" y="134235"/>
                    <a:pt x="174943" y="132686"/>
                  </a:cubicBezTo>
                  <a:cubicBezTo>
                    <a:pt x="184520" y="121558"/>
                    <a:pt x="189310" y="108881"/>
                    <a:pt x="189310" y="94655"/>
                  </a:cubicBezTo>
                  <a:cubicBezTo>
                    <a:pt x="189310" y="84513"/>
                    <a:pt x="186880" y="75076"/>
                    <a:pt x="182021" y="66343"/>
                  </a:cubicBezTo>
                  <a:cubicBezTo>
                    <a:pt x="177161" y="57609"/>
                    <a:pt x="170822" y="50461"/>
                    <a:pt x="163005" y="44897"/>
                  </a:cubicBezTo>
                  <a:cubicBezTo>
                    <a:pt x="155187" y="39333"/>
                    <a:pt x="146525" y="34967"/>
                    <a:pt x="137017" y="31797"/>
                  </a:cubicBezTo>
                  <a:cubicBezTo>
                    <a:pt x="127509" y="28629"/>
                    <a:pt x="117896" y="27044"/>
                    <a:pt x="108177" y="27044"/>
                  </a:cubicBezTo>
                  <a:close/>
                  <a:moveTo>
                    <a:pt x="108177" y="0"/>
                  </a:moveTo>
                  <a:cubicBezTo>
                    <a:pt x="121558" y="0"/>
                    <a:pt x="134693" y="2289"/>
                    <a:pt x="147581" y="6866"/>
                  </a:cubicBezTo>
                  <a:cubicBezTo>
                    <a:pt x="160469" y="11444"/>
                    <a:pt x="172019" y="17712"/>
                    <a:pt x="182231" y="25671"/>
                  </a:cubicBezTo>
                  <a:cubicBezTo>
                    <a:pt x="192443" y="33629"/>
                    <a:pt x="200684" y="43629"/>
                    <a:pt x="206952" y="55672"/>
                  </a:cubicBezTo>
                  <a:cubicBezTo>
                    <a:pt x="213220" y="67716"/>
                    <a:pt x="216354" y="80710"/>
                    <a:pt x="216354" y="94655"/>
                  </a:cubicBezTo>
                  <a:cubicBezTo>
                    <a:pt x="216354" y="116487"/>
                    <a:pt x="209099" y="135362"/>
                    <a:pt x="194592" y="151279"/>
                  </a:cubicBezTo>
                  <a:cubicBezTo>
                    <a:pt x="188253" y="158180"/>
                    <a:pt x="183006" y="164308"/>
                    <a:pt x="178851" y="169660"/>
                  </a:cubicBezTo>
                  <a:cubicBezTo>
                    <a:pt x="174696" y="175013"/>
                    <a:pt x="170506" y="181739"/>
                    <a:pt x="166280" y="189838"/>
                  </a:cubicBezTo>
                  <a:cubicBezTo>
                    <a:pt x="162054" y="197937"/>
                    <a:pt x="159659" y="205508"/>
                    <a:pt x="159096" y="212551"/>
                  </a:cubicBezTo>
                  <a:cubicBezTo>
                    <a:pt x="165716" y="216494"/>
                    <a:pt x="169027" y="222269"/>
                    <a:pt x="169027" y="229876"/>
                  </a:cubicBezTo>
                  <a:cubicBezTo>
                    <a:pt x="169027" y="235088"/>
                    <a:pt x="167266" y="239594"/>
                    <a:pt x="163745" y="243398"/>
                  </a:cubicBezTo>
                  <a:cubicBezTo>
                    <a:pt x="167266" y="247201"/>
                    <a:pt x="169027" y="251708"/>
                    <a:pt x="169027" y="256920"/>
                  </a:cubicBezTo>
                  <a:cubicBezTo>
                    <a:pt x="169027" y="264245"/>
                    <a:pt x="165857" y="269949"/>
                    <a:pt x="159519" y="274034"/>
                  </a:cubicBezTo>
                  <a:cubicBezTo>
                    <a:pt x="161350" y="277274"/>
                    <a:pt x="162266" y="280583"/>
                    <a:pt x="162266" y="283964"/>
                  </a:cubicBezTo>
                  <a:cubicBezTo>
                    <a:pt x="162266" y="290444"/>
                    <a:pt x="160047" y="295444"/>
                    <a:pt x="155610" y="298965"/>
                  </a:cubicBezTo>
                  <a:cubicBezTo>
                    <a:pt x="151173" y="302486"/>
                    <a:pt x="145715" y="304247"/>
                    <a:pt x="139235" y="304247"/>
                  </a:cubicBezTo>
                  <a:cubicBezTo>
                    <a:pt x="136418" y="310444"/>
                    <a:pt x="132193" y="315374"/>
                    <a:pt x="126559" y="319037"/>
                  </a:cubicBezTo>
                  <a:cubicBezTo>
                    <a:pt x="120924" y="322699"/>
                    <a:pt x="114797" y="324530"/>
                    <a:pt x="108177" y="324530"/>
                  </a:cubicBezTo>
                  <a:cubicBezTo>
                    <a:pt x="101557" y="324530"/>
                    <a:pt x="95429" y="322699"/>
                    <a:pt x="89795" y="319037"/>
                  </a:cubicBezTo>
                  <a:cubicBezTo>
                    <a:pt x="84161" y="315374"/>
                    <a:pt x="79935" y="310444"/>
                    <a:pt x="77119" y="304247"/>
                  </a:cubicBezTo>
                  <a:cubicBezTo>
                    <a:pt x="70639" y="304247"/>
                    <a:pt x="65181" y="302486"/>
                    <a:pt x="60744" y="298965"/>
                  </a:cubicBezTo>
                  <a:cubicBezTo>
                    <a:pt x="56307" y="295444"/>
                    <a:pt x="54088" y="290444"/>
                    <a:pt x="54088" y="283964"/>
                  </a:cubicBezTo>
                  <a:cubicBezTo>
                    <a:pt x="54088" y="280583"/>
                    <a:pt x="55004" y="277274"/>
                    <a:pt x="56835" y="274034"/>
                  </a:cubicBezTo>
                  <a:cubicBezTo>
                    <a:pt x="50497" y="269949"/>
                    <a:pt x="47327" y="264245"/>
                    <a:pt x="47327" y="256920"/>
                  </a:cubicBezTo>
                  <a:cubicBezTo>
                    <a:pt x="47327" y="251708"/>
                    <a:pt x="49088" y="247201"/>
                    <a:pt x="52609" y="243398"/>
                  </a:cubicBezTo>
                  <a:cubicBezTo>
                    <a:pt x="49088" y="239594"/>
                    <a:pt x="47327" y="235088"/>
                    <a:pt x="47327" y="229876"/>
                  </a:cubicBezTo>
                  <a:cubicBezTo>
                    <a:pt x="47327" y="222269"/>
                    <a:pt x="50638" y="216494"/>
                    <a:pt x="57258" y="212551"/>
                  </a:cubicBezTo>
                  <a:cubicBezTo>
                    <a:pt x="56694" y="205508"/>
                    <a:pt x="54300" y="197937"/>
                    <a:pt x="50074" y="189838"/>
                  </a:cubicBezTo>
                  <a:cubicBezTo>
                    <a:pt x="45848" y="181739"/>
                    <a:pt x="41658" y="175013"/>
                    <a:pt x="37503" y="169660"/>
                  </a:cubicBezTo>
                  <a:cubicBezTo>
                    <a:pt x="33347" y="164308"/>
                    <a:pt x="28100" y="158180"/>
                    <a:pt x="21762" y="151279"/>
                  </a:cubicBezTo>
                  <a:cubicBezTo>
                    <a:pt x="7254" y="135362"/>
                    <a:pt x="0" y="116487"/>
                    <a:pt x="0" y="94655"/>
                  </a:cubicBezTo>
                  <a:cubicBezTo>
                    <a:pt x="0" y="80710"/>
                    <a:pt x="3134" y="67716"/>
                    <a:pt x="9402" y="55672"/>
                  </a:cubicBezTo>
                  <a:cubicBezTo>
                    <a:pt x="15670" y="43629"/>
                    <a:pt x="23910" y="33629"/>
                    <a:pt x="34123" y="25671"/>
                  </a:cubicBezTo>
                  <a:cubicBezTo>
                    <a:pt x="44334" y="17712"/>
                    <a:pt x="55885" y="11444"/>
                    <a:pt x="68773" y="6866"/>
                  </a:cubicBezTo>
                  <a:cubicBezTo>
                    <a:pt x="81661" y="2289"/>
                    <a:pt x="94795" y="0"/>
                    <a:pt x="108177" y="0"/>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208" name="Título 207">
            <a:extLst>
              <a:ext uri="{FF2B5EF4-FFF2-40B4-BE49-F238E27FC236}">
                <a16:creationId xmlns:a16="http://schemas.microsoft.com/office/drawing/2014/main" id="{3ADE8D18-8621-EB63-5E3B-FBC36A9A5FFB}"/>
              </a:ext>
            </a:extLst>
          </p:cNvPr>
          <p:cNvSpPr>
            <a:spLocks noGrp="1"/>
          </p:cNvSpPr>
          <p:nvPr>
            <p:ph type="title"/>
          </p:nvPr>
        </p:nvSpPr>
        <p:spPr/>
        <p:txBody>
          <a:bodyPr/>
          <a:lstStyle/>
          <a:p>
            <a:r>
              <a:rPr lang="es-MX"/>
              <a:t> </a:t>
            </a:r>
            <a:endParaRPr lang="es-PE"/>
          </a:p>
        </p:txBody>
      </p:sp>
      <p:pic>
        <p:nvPicPr>
          <p:cNvPr id="3" name="Imagen 2" descr="Forma&#10;&#10;El contenido generado por IA puede ser incorrecto.">
            <a:extLst>
              <a:ext uri="{FF2B5EF4-FFF2-40B4-BE49-F238E27FC236}">
                <a16:creationId xmlns:a16="http://schemas.microsoft.com/office/drawing/2014/main" id="{1E3A3230-4D62-6FD3-21CB-B0E07A9595BF}"/>
              </a:ext>
            </a:extLst>
          </p:cNvPr>
          <p:cNvPicPr>
            <a:picLocks noChangeAspect="1"/>
          </p:cNvPicPr>
          <p:nvPr/>
        </p:nvPicPr>
        <p:blipFill>
          <a:blip r:embed="rId2">
            <a:lum bright="70000" contrast="-70000"/>
            <a:extLst>
              <a:ext uri="{BEBA8EAE-BF5A-486C-A8C5-ECC9F3942E4B}">
                <a14:imgProps xmlns:a14="http://schemas.microsoft.com/office/drawing/2010/main">
                  <a14:imgLayer r:embed="rId3">
                    <a14:imgEffect>
                      <a14:artisticPhotocopy/>
                    </a14:imgEffect>
                  </a14:imgLayer>
                </a14:imgProps>
              </a:ext>
              <a:ext uri="{28A0092B-C50C-407E-A947-70E740481C1C}">
                <a14:useLocalDpi xmlns:a14="http://schemas.microsoft.com/office/drawing/2010/main" val="0"/>
              </a:ext>
            </a:extLst>
          </a:blip>
          <a:stretch>
            <a:fillRect/>
          </a:stretch>
        </p:blipFill>
        <p:spPr>
          <a:xfrm>
            <a:off x="6568705" y="3740728"/>
            <a:ext cx="360000" cy="360000"/>
          </a:xfrm>
          <a:prstGeom prst="rect">
            <a:avLst/>
          </a:prstGeom>
        </p:spPr>
      </p:pic>
      <p:pic>
        <p:nvPicPr>
          <p:cNvPr id="16" name="Imagen 15">
            <a:extLst>
              <a:ext uri="{FF2B5EF4-FFF2-40B4-BE49-F238E27FC236}">
                <a16:creationId xmlns:a16="http://schemas.microsoft.com/office/drawing/2014/main" id="{69BA0F95-F203-FF56-AB16-B95DB4D9939D}"/>
              </a:ext>
            </a:extLst>
          </p:cNvPr>
          <p:cNvPicPr>
            <a:picLocks noChangeAspect="1"/>
          </p:cNvPicPr>
          <p:nvPr/>
        </p:nvPicPr>
        <p:blipFill>
          <a:blip r:embed="rId4">
            <a:lum bright="70000" contrast="-70000"/>
            <a:extLst>
              <a:ext uri="{BEBA8EAE-BF5A-486C-A8C5-ECC9F3942E4B}">
                <a14:imgProps xmlns:a14="http://schemas.microsoft.com/office/drawing/2010/main">
                  <a14:imgLayer r:embed="rId5">
                    <a14:imgEffect>
                      <a14:artisticPhotocopy/>
                    </a14:imgEffect>
                  </a14:imgLayer>
                </a14:imgProps>
              </a:ext>
            </a:extLst>
          </a:blip>
          <a:stretch>
            <a:fillRect/>
          </a:stretch>
        </p:blipFill>
        <p:spPr>
          <a:xfrm>
            <a:off x="4037636" y="3766839"/>
            <a:ext cx="360000" cy="360000"/>
          </a:xfrm>
          <a:prstGeom prst="rect">
            <a:avLst/>
          </a:prstGeom>
        </p:spPr>
      </p:pic>
      <p:sp>
        <p:nvSpPr>
          <p:cNvPr id="4" name="CuadroTexto 3">
            <a:extLst>
              <a:ext uri="{FF2B5EF4-FFF2-40B4-BE49-F238E27FC236}">
                <a16:creationId xmlns:a16="http://schemas.microsoft.com/office/drawing/2014/main" id="{B34DD6AE-C1C9-71B9-9183-317D6DC51F5A}"/>
              </a:ext>
            </a:extLst>
          </p:cNvPr>
          <p:cNvSpPr txBox="1"/>
          <p:nvPr/>
        </p:nvSpPr>
        <p:spPr>
          <a:xfrm>
            <a:off x="4397636" y="3785094"/>
            <a:ext cx="1418978"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bg1"/>
                </a:solidFill>
                <a:effectLst/>
                <a:uLnTx/>
                <a:uFillTx/>
                <a:latin typeface="Calibri" panose="020F0502020204030204"/>
              </a:rPr>
              <a:t>Flujos de Prueba</a:t>
            </a:r>
            <a:endParaRPr kumimoji="0" lang="es-ES" sz="1400" b="0" i="0" u="none" strike="noStrike" kern="0" cap="none" spc="0" normalizeH="0" baseline="0" noProof="0">
              <a:ln>
                <a:noFill/>
              </a:ln>
              <a:solidFill>
                <a:schemeClr val="bg1"/>
              </a:solidFill>
              <a:effectLst/>
              <a:uLnTx/>
              <a:uFillTx/>
              <a:latin typeface="Calibri" panose="020F0502020204030204"/>
            </a:endParaRPr>
          </a:p>
        </p:txBody>
      </p:sp>
      <p:cxnSp>
        <p:nvCxnSpPr>
          <p:cNvPr id="6" name="Conector recto de flecha 5">
            <a:extLst>
              <a:ext uri="{FF2B5EF4-FFF2-40B4-BE49-F238E27FC236}">
                <a16:creationId xmlns:a16="http://schemas.microsoft.com/office/drawing/2014/main" id="{C12E5351-7DB6-A9BE-1182-C509991F07CE}"/>
              </a:ext>
            </a:extLst>
          </p:cNvPr>
          <p:cNvCxnSpPr/>
          <p:nvPr/>
        </p:nvCxnSpPr>
        <p:spPr>
          <a:xfrm>
            <a:off x="5911273" y="3938982"/>
            <a:ext cx="415636" cy="0"/>
          </a:xfrm>
          <a:prstGeom prst="straightConnector1">
            <a:avLst/>
          </a:prstGeom>
          <a:ln>
            <a:solidFill>
              <a:schemeClr val="bg1"/>
            </a:solidFill>
            <a:headEnd type="triangle"/>
            <a:tailEnd type="triangle"/>
          </a:ln>
        </p:spPr>
        <p:style>
          <a:lnRef idx="3">
            <a:schemeClr val="accent6"/>
          </a:lnRef>
          <a:fillRef idx="0">
            <a:schemeClr val="accent6"/>
          </a:fillRef>
          <a:effectRef idx="2">
            <a:schemeClr val="accent6"/>
          </a:effectRef>
          <a:fontRef idx="minor">
            <a:schemeClr val="tx1"/>
          </a:fontRef>
        </p:style>
      </p:cxnSp>
      <p:sp>
        <p:nvSpPr>
          <p:cNvPr id="7" name="Rectángulo redondeado 23">
            <a:extLst>
              <a:ext uri="{FF2B5EF4-FFF2-40B4-BE49-F238E27FC236}">
                <a16:creationId xmlns:a16="http://schemas.microsoft.com/office/drawing/2014/main" id="{19006C82-3ADA-FBC2-DB54-2BBFFA040C76}"/>
              </a:ext>
            </a:extLst>
          </p:cNvPr>
          <p:cNvSpPr/>
          <p:nvPr/>
        </p:nvSpPr>
        <p:spPr>
          <a:xfrm>
            <a:off x="3831311" y="5268592"/>
            <a:ext cx="2261382" cy="946555"/>
          </a:xfrm>
          <a:prstGeom prst="roundRect">
            <a:avLst>
              <a:gd name="adj" fmla="val 7404"/>
            </a:avLst>
          </a:prstGeom>
          <a:solidFill>
            <a:srgbClr val="203864"/>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sp>
        <p:nvSpPr>
          <p:cNvPr id="9" name="Rectángulo redondeado 23">
            <a:extLst>
              <a:ext uri="{FF2B5EF4-FFF2-40B4-BE49-F238E27FC236}">
                <a16:creationId xmlns:a16="http://schemas.microsoft.com/office/drawing/2014/main" id="{2E55816F-A8D5-1509-FC95-CA6E77A08F12}"/>
              </a:ext>
            </a:extLst>
          </p:cNvPr>
          <p:cNvSpPr/>
          <p:nvPr/>
        </p:nvSpPr>
        <p:spPr>
          <a:xfrm>
            <a:off x="6136544" y="4273860"/>
            <a:ext cx="2261382" cy="1941287"/>
          </a:xfrm>
          <a:prstGeom prst="roundRect">
            <a:avLst>
              <a:gd name="adj" fmla="val 7404"/>
            </a:avLst>
          </a:prstGeom>
          <a:solidFill>
            <a:srgbClr val="203864"/>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rPr>
              <a:t>          </a:t>
            </a:r>
          </a:p>
        </p:txBody>
      </p:sp>
      <p:pic>
        <p:nvPicPr>
          <p:cNvPr id="18" name="Imagen 17" descr="Imagen que contiene reloj, medidor&#10;&#10;El contenido generado por IA puede ser incorrecto.">
            <a:extLst>
              <a:ext uri="{FF2B5EF4-FFF2-40B4-BE49-F238E27FC236}">
                <a16:creationId xmlns:a16="http://schemas.microsoft.com/office/drawing/2014/main" id="{357CB78F-C9D8-DC88-378B-2A4AD0394EA7}"/>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artisticPhotocopy/>
                    </a14:imgEffect>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3822206" y="4477060"/>
            <a:ext cx="1080000" cy="540000"/>
          </a:xfrm>
          <a:prstGeom prst="rect">
            <a:avLst/>
          </a:prstGeom>
        </p:spPr>
      </p:pic>
      <p:pic>
        <p:nvPicPr>
          <p:cNvPr id="11" name="Imagen 10" descr="Icono&#10;&#10;El contenido generado por IA puede ser incorrecto.">
            <a:extLst>
              <a:ext uri="{FF2B5EF4-FFF2-40B4-BE49-F238E27FC236}">
                <a16:creationId xmlns:a16="http://schemas.microsoft.com/office/drawing/2014/main" id="{D0E341B8-68CD-A350-FAF3-B39760EA5032}"/>
              </a:ext>
            </a:extLst>
          </p:cNvPr>
          <p:cNvPicPr>
            <a:picLocks noChangeAspect="1"/>
          </p:cNvPicPr>
          <p:nvPr/>
        </p:nvPicPr>
        <p:blipFill>
          <a:blip r:embed="rId8">
            <a:biLevel thresh="25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val="0"/>
              </a:ext>
            </a:extLst>
          </a:blip>
          <a:stretch>
            <a:fillRect/>
          </a:stretch>
        </p:blipFill>
        <p:spPr>
          <a:xfrm>
            <a:off x="5458699" y="4333787"/>
            <a:ext cx="529453" cy="540000"/>
          </a:xfrm>
          <a:prstGeom prst="rect">
            <a:avLst/>
          </a:prstGeom>
        </p:spPr>
      </p:pic>
      <p:pic>
        <p:nvPicPr>
          <p:cNvPr id="13" name="Imagen 12" descr="Icono&#10;&#10;El contenido generado por IA puede ser incorrecto.">
            <a:extLst>
              <a:ext uri="{FF2B5EF4-FFF2-40B4-BE49-F238E27FC236}">
                <a16:creationId xmlns:a16="http://schemas.microsoft.com/office/drawing/2014/main" id="{51428338-FF82-2F1D-C829-886FAD297B04}"/>
              </a:ext>
            </a:extLst>
          </p:cNvPr>
          <p:cNvPicPr>
            <a:picLocks noChangeAspect="1"/>
          </p:cNvPicPr>
          <p:nvPr/>
        </p:nvPicPr>
        <p:blipFill>
          <a:blip r:embed="rId10">
            <a:biLevel thresh="25000"/>
            <a:extLst>
              <a:ext uri="{28A0092B-C50C-407E-A947-70E740481C1C}">
                <a14:useLocalDpi xmlns:a14="http://schemas.microsoft.com/office/drawing/2010/main" val="0"/>
              </a:ext>
            </a:extLst>
          </a:blip>
          <a:srcRect l="28030" r="26061"/>
          <a:stretch>
            <a:fillRect/>
          </a:stretch>
        </p:blipFill>
        <p:spPr>
          <a:xfrm>
            <a:off x="4797238" y="4603787"/>
            <a:ext cx="619773" cy="540000"/>
          </a:xfrm>
          <a:prstGeom prst="rect">
            <a:avLst/>
          </a:prstGeom>
        </p:spPr>
      </p:pic>
      <p:pic>
        <p:nvPicPr>
          <p:cNvPr id="15" name="Gráfico 14" descr="Usuarios contorno">
            <a:extLst>
              <a:ext uri="{FF2B5EF4-FFF2-40B4-BE49-F238E27FC236}">
                <a16:creationId xmlns:a16="http://schemas.microsoft.com/office/drawing/2014/main" id="{7F1609B0-5383-F3F3-14BC-1996B6EB17B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37636" y="5256380"/>
            <a:ext cx="540000" cy="540000"/>
          </a:xfrm>
          <a:prstGeom prst="rect">
            <a:avLst/>
          </a:prstGeom>
        </p:spPr>
      </p:pic>
      <p:sp>
        <p:nvSpPr>
          <p:cNvPr id="17" name="CuadroTexto 16">
            <a:extLst>
              <a:ext uri="{FF2B5EF4-FFF2-40B4-BE49-F238E27FC236}">
                <a16:creationId xmlns:a16="http://schemas.microsoft.com/office/drawing/2014/main" id="{753C9A36-3D26-24AD-8F29-73501EC61A23}"/>
              </a:ext>
            </a:extLst>
          </p:cNvPr>
          <p:cNvSpPr txBox="1"/>
          <p:nvPr/>
        </p:nvSpPr>
        <p:spPr>
          <a:xfrm>
            <a:off x="3831311" y="4271969"/>
            <a:ext cx="984565" cy="2616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50" b="1" i="0" u="none" strike="noStrike" kern="0" cap="none" spc="0" normalizeH="0" baseline="0" noProof="0">
                <a:ln>
                  <a:noFill/>
                </a:ln>
                <a:solidFill>
                  <a:schemeClr val="bg1"/>
                </a:solidFill>
                <a:effectLst/>
                <a:uLnTx/>
                <a:uFillTx/>
                <a:latin typeface="Calibri" panose="020F0502020204030204"/>
              </a:rPr>
              <a:t>Herramientas</a:t>
            </a:r>
            <a:endParaRPr kumimoji="0" lang="es-ES" sz="1400" b="0" i="0" u="none" strike="noStrike" kern="0" cap="none" spc="0" normalizeH="0" baseline="0" noProof="0">
              <a:ln>
                <a:noFill/>
              </a:ln>
              <a:solidFill>
                <a:schemeClr val="bg1"/>
              </a:solidFill>
              <a:effectLst/>
              <a:uLnTx/>
              <a:uFillTx/>
              <a:latin typeface="Calibri" panose="020F0502020204030204"/>
            </a:endParaRPr>
          </a:p>
        </p:txBody>
      </p:sp>
      <p:sp>
        <p:nvSpPr>
          <p:cNvPr id="19" name="CuadroTexto 18">
            <a:extLst>
              <a:ext uri="{FF2B5EF4-FFF2-40B4-BE49-F238E27FC236}">
                <a16:creationId xmlns:a16="http://schemas.microsoft.com/office/drawing/2014/main" id="{70CA7F25-787E-6C32-1E1A-CECA3019C1C9}"/>
              </a:ext>
            </a:extLst>
          </p:cNvPr>
          <p:cNvSpPr txBox="1"/>
          <p:nvPr/>
        </p:nvSpPr>
        <p:spPr>
          <a:xfrm>
            <a:off x="3964433" y="5709300"/>
            <a:ext cx="686406" cy="415498"/>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050" b="1" i="0" u="none" strike="noStrike" kern="0" cap="none" spc="0" normalizeH="0" baseline="0" noProof="0">
                <a:ln>
                  <a:noFill/>
                </a:ln>
                <a:solidFill>
                  <a:schemeClr val="bg1"/>
                </a:solidFill>
                <a:effectLst/>
                <a:uLnTx/>
                <a:uFillTx/>
                <a:latin typeface="Calibri" panose="020F0502020204030204"/>
              </a:rPr>
              <a:t>Usuarios</a:t>
            </a:r>
          </a:p>
          <a:p>
            <a:pPr marL="0" marR="0" lvl="0" indent="0" defTabSz="914400" eaLnBrk="1" fontAlgn="auto" latinLnBrk="0" hangingPunct="1">
              <a:lnSpc>
                <a:spcPct val="100000"/>
              </a:lnSpc>
              <a:spcBef>
                <a:spcPts val="0"/>
              </a:spcBef>
              <a:spcAft>
                <a:spcPts val="0"/>
              </a:spcAft>
              <a:buClrTx/>
              <a:buSzTx/>
              <a:buFontTx/>
              <a:buNone/>
              <a:tabLst/>
              <a:defRPr/>
            </a:pPr>
            <a:r>
              <a:rPr lang="es-ES" sz="1050" b="1" kern="0">
                <a:solidFill>
                  <a:schemeClr val="bg1"/>
                </a:solidFill>
                <a:latin typeface="Calibri" panose="020F0502020204030204"/>
              </a:rPr>
              <a:t>Virtuales</a:t>
            </a:r>
            <a:endParaRPr kumimoji="0" lang="es-ES" sz="1400" b="0" i="0" u="none" strike="noStrike" kern="0" cap="none" spc="0" normalizeH="0" baseline="0" noProof="0">
              <a:ln>
                <a:noFill/>
              </a:ln>
              <a:solidFill>
                <a:schemeClr val="bg1"/>
              </a:solidFill>
              <a:effectLst/>
              <a:uLnTx/>
              <a:uFillTx/>
              <a:latin typeface="Calibri" panose="020F0502020204030204"/>
            </a:endParaRPr>
          </a:p>
        </p:txBody>
      </p:sp>
      <p:cxnSp>
        <p:nvCxnSpPr>
          <p:cNvPr id="20" name="Conector recto de flecha 19">
            <a:extLst>
              <a:ext uri="{FF2B5EF4-FFF2-40B4-BE49-F238E27FC236}">
                <a16:creationId xmlns:a16="http://schemas.microsoft.com/office/drawing/2014/main" id="{37E867AF-0F70-B310-5BA6-DE1C33683F6C}"/>
              </a:ext>
            </a:extLst>
          </p:cNvPr>
          <p:cNvCxnSpPr/>
          <p:nvPr/>
        </p:nvCxnSpPr>
        <p:spPr>
          <a:xfrm>
            <a:off x="4797238" y="5598455"/>
            <a:ext cx="415636" cy="0"/>
          </a:xfrm>
          <a:prstGeom prst="straightConnector1">
            <a:avLst/>
          </a:prstGeom>
          <a:ln>
            <a:solidFill>
              <a:schemeClr val="bg1"/>
            </a:solidFill>
            <a:headEnd type="triangle"/>
            <a:tailEnd type="triangle"/>
          </a:ln>
        </p:spPr>
        <p:style>
          <a:lnRef idx="3">
            <a:schemeClr val="accent6"/>
          </a:lnRef>
          <a:fillRef idx="0">
            <a:schemeClr val="accent6"/>
          </a:fillRef>
          <a:effectRef idx="2">
            <a:schemeClr val="accent6"/>
          </a:effectRef>
          <a:fontRef idx="minor">
            <a:schemeClr val="tx1"/>
          </a:fontRef>
        </p:style>
      </p:cxnSp>
      <p:pic>
        <p:nvPicPr>
          <p:cNvPr id="22" name="Gráfico 21" descr="Diagrama de flujo con relleno sólido">
            <a:extLst>
              <a:ext uri="{FF2B5EF4-FFF2-40B4-BE49-F238E27FC236}">
                <a16:creationId xmlns:a16="http://schemas.microsoft.com/office/drawing/2014/main" id="{B5CA57E9-F997-B099-1E7D-19AB32AB4DD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53767" y="5254567"/>
            <a:ext cx="540000" cy="540000"/>
          </a:xfrm>
          <a:prstGeom prst="rect">
            <a:avLst/>
          </a:prstGeom>
        </p:spPr>
      </p:pic>
      <p:sp>
        <p:nvSpPr>
          <p:cNvPr id="23" name="CuadroTexto 22">
            <a:extLst>
              <a:ext uri="{FF2B5EF4-FFF2-40B4-BE49-F238E27FC236}">
                <a16:creationId xmlns:a16="http://schemas.microsoft.com/office/drawing/2014/main" id="{97DD75DC-E2A3-A11A-A321-E923F044C27E}"/>
              </a:ext>
            </a:extLst>
          </p:cNvPr>
          <p:cNvSpPr txBox="1"/>
          <p:nvPr/>
        </p:nvSpPr>
        <p:spPr>
          <a:xfrm>
            <a:off x="5179560" y="5704489"/>
            <a:ext cx="906017" cy="415498"/>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050" b="1" i="0" u="none" strike="noStrike" kern="0" cap="none" spc="0" normalizeH="0" baseline="0" noProof="0">
                <a:ln>
                  <a:noFill/>
                </a:ln>
                <a:solidFill>
                  <a:schemeClr val="bg1"/>
                </a:solidFill>
                <a:effectLst/>
                <a:uLnTx/>
                <a:uFillTx/>
                <a:latin typeface="Calibri" panose="020F0502020204030204"/>
              </a:rPr>
              <a:t>Generadores</a:t>
            </a:r>
          </a:p>
          <a:p>
            <a:pPr marL="0" marR="0" lvl="0" indent="0" algn="ctr" defTabSz="914400" eaLnBrk="1" fontAlgn="auto" latinLnBrk="0" hangingPunct="1">
              <a:lnSpc>
                <a:spcPct val="100000"/>
              </a:lnSpc>
              <a:spcBef>
                <a:spcPts val="0"/>
              </a:spcBef>
              <a:spcAft>
                <a:spcPts val="0"/>
              </a:spcAft>
              <a:buClrTx/>
              <a:buSzTx/>
              <a:buFontTx/>
              <a:buNone/>
              <a:tabLst/>
              <a:defRPr/>
            </a:pPr>
            <a:r>
              <a:rPr lang="es-ES" sz="1050" b="1" kern="0">
                <a:solidFill>
                  <a:schemeClr val="bg1"/>
                </a:solidFill>
                <a:latin typeface="Calibri" panose="020F0502020204030204"/>
              </a:rPr>
              <a:t>De Carga</a:t>
            </a:r>
            <a:endParaRPr kumimoji="0" lang="es-ES" sz="1400" b="0" i="0" u="none" strike="noStrike" kern="0" cap="none" spc="0" normalizeH="0" baseline="0" noProof="0">
              <a:ln>
                <a:noFill/>
              </a:ln>
              <a:solidFill>
                <a:schemeClr val="bg1"/>
              </a:solidFill>
              <a:effectLst/>
              <a:uLnTx/>
              <a:uFillTx/>
              <a:latin typeface="Calibri" panose="020F0502020204030204"/>
            </a:endParaRPr>
          </a:p>
        </p:txBody>
      </p:sp>
      <p:sp>
        <p:nvSpPr>
          <p:cNvPr id="24" name="Rectángulo 23">
            <a:extLst>
              <a:ext uri="{FF2B5EF4-FFF2-40B4-BE49-F238E27FC236}">
                <a16:creationId xmlns:a16="http://schemas.microsoft.com/office/drawing/2014/main" id="{DC7AA373-8D58-336E-E28D-9D18D5D5C60A}"/>
              </a:ext>
            </a:extLst>
          </p:cNvPr>
          <p:cNvSpPr/>
          <p:nvPr/>
        </p:nvSpPr>
        <p:spPr>
          <a:xfrm>
            <a:off x="6253018" y="4333787"/>
            <a:ext cx="2006075" cy="422940"/>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s-PE"/>
          </a:p>
        </p:txBody>
      </p:sp>
      <p:sp>
        <p:nvSpPr>
          <p:cNvPr id="29" name="Rectángulo 28">
            <a:extLst>
              <a:ext uri="{FF2B5EF4-FFF2-40B4-BE49-F238E27FC236}">
                <a16:creationId xmlns:a16="http://schemas.microsoft.com/office/drawing/2014/main" id="{D6F370F9-99CF-E9AD-F007-189E0348F836}"/>
              </a:ext>
            </a:extLst>
          </p:cNvPr>
          <p:cNvSpPr/>
          <p:nvPr/>
        </p:nvSpPr>
        <p:spPr>
          <a:xfrm>
            <a:off x="6255882" y="4773196"/>
            <a:ext cx="2003212" cy="422940"/>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s-PE"/>
          </a:p>
        </p:txBody>
      </p:sp>
      <p:sp>
        <p:nvSpPr>
          <p:cNvPr id="30" name="Rectángulo 29">
            <a:extLst>
              <a:ext uri="{FF2B5EF4-FFF2-40B4-BE49-F238E27FC236}">
                <a16:creationId xmlns:a16="http://schemas.microsoft.com/office/drawing/2014/main" id="{69DD7FA7-B4B2-F9A5-DB23-509970988563}"/>
              </a:ext>
            </a:extLst>
          </p:cNvPr>
          <p:cNvSpPr/>
          <p:nvPr/>
        </p:nvSpPr>
        <p:spPr>
          <a:xfrm>
            <a:off x="6255881" y="5220367"/>
            <a:ext cx="2006074" cy="422940"/>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s-PE"/>
          </a:p>
        </p:txBody>
      </p:sp>
      <p:sp>
        <p:nvSpPr>
          <p:cNvPr id="31" name="Rectángulo 30">
            <a:extLst>
              <a:ext uri="{FF2B5EF4-FFF2-40B4-BE49-F238E27FC236}">
                <a16:creationId xmlns:a16="http://schemas.microsoft.com/office/drawing/2014/main" id="{EC26CD2C-E166-5DEC-F7F0-6C359530CC14}"/>
              </a:ext>
            </a:extLst>
          </p:cNvPr>
          <p:cNvSpPr/>
          <p:nvPr/>
        </p:nvSpPr>
        <p:spPr>
          <a:xfrm>
            <a:off x="6260970" y="5669012"/>
            <a:ext cx="2003212" cy="422940"/>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s-PE"/>
          </a:p>
        </p:txBody>
      </p:sp>
      <p:sp>
        <p:nvSpPr>
          <p:cNvPr id="32" name="CuadroTexto 31">
            <a:extLst>
              <a:ext uri="{FF2B5EF4-FFF2-40B4-BE49-F238E27FC236}">
                <a16:creationId xmlns:a16="http://schemas.microsoft.com/office/drawing/2014/main" id="{DF6E8039-9385-73E3-ABBA-954B7CE8C376}"/>
              </a:ext>
            </a:extLst>
          </p:cNvPr>
          <p:cNvSpPr txBox="1"/>
          <p:nvPr/>
        </p:nvSpPr>
        <p:spPr>
          <a:xfrm>
            <a:off x="7252132" y="4378853"/>
            <a:ext cx="720069"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bg1"/>
                </a:solidFill>
                <a:effectLst/>
                <a:uLnTx/>
                <a:uFillTx/>
                <a:latin typeface="Calibri" panose="020F0502020204030204"/>
              </a:rPr>
              <a:t>Plugins</a:t>
            </a:r>
          </a:p>
        </p:txBody>
      </p:sp>
      <p:sp>
        <p:nvSpPr>
          <p:cNvPr id="33" name="CuadroTexto 32">
            <a:extLst>
              <a:ext uri="{FF2B5EF4-FFF2-40B4-BE49-F238E27FC236}">
                <a16:creationId xmlns:a16="http://schemas.microsoft.com/office/drawing/2014/main" id="{93524187-7F37-6B31-F060-B05C19B0248B}"/>
              </a:ext>
            </a:extLst>
          </p:cNvPr>
          <p:cNvSpPr txBox="1"/>
          <p:nvPr/>
        </p:nvSpPr>
        <p:spPr>
          <a:xfrm>
            <a:off x="6971675" y="4836010"/>
            <a:ext cx="1334020"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bg1"/>
                </a:solidFill>
                <a:effectLst/>
                <a:uLnTx/>
                <a:uFillTx/>
                <a:latin typeface="Calibri" panose="020F0502020204030204"/>
              </a:rPr>
              <a:t>Data de Prueba</a:t>
            </a:r>
          </a:p>
        </p:txBody>
      </p:sp>
      <p:sp>
        <p:nvSpPr>
          <p:cNvPr id="34" name="CuadroTexto 33">
            <a:extLst>
              <a:ext uri="{FF2B5EF4-FFF2-40B4-BE49-F238E27FC236}">
                <a16:creationId xmlns:a16="http://schemas.microsoft.com/office/drawing/2014/main" id="{66CB5240-D3C3-6D43-A060-06E4034094B2}"/>
              </a:ext>
            </a:extLst>
          </p:cNvPr>
          <p:cNvSpPr txBox="1"/>
          <p:nvPr/>
        </p:nvSpPr>
        <p:spPr>
          <a:xfrm>
            <a:off x="6990147" y="5186292"/>
            <a:ext cx="1301959"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bg1"/>
                </a:solidFill>
                <a:effectLst/>
                <a:uLnTx/>
                <a:uFillTx/>
                <a:latin typeface="Calibri" panose="020F0502020204030204"/>
              </a:rPr>
              <a:t>Procesamient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a:ln>
                  <a:noFill/>
                </a:ln>
                <a:solidFill>
                  <a:schemeClr val="bg1"/>
                </a:solidFill>
                <a:effectLst/>
                <a:uLnTx/>
                <a:uFillTx/>
                <a:latin typeface="Calibri" panose="020F0502020204030204"/>
              </a:rPr>
              <a:t>de Datos</a:t>
            </a:r>
          </a:p>
        </p:txBody>
      </p:sp>
      <p:sp>
        <p:nvSpPr>
          <p:cNvPr id="35" name="CuadroTexto 34">
            <a:extLst>
              <a:ext uri="{FF2B5EF4-FFF2-40B4-BE49-F238E27FC236}">
                <a16:creationId xmlns:a16="http://schemas.microsoft.com/office/drawing/2014/main" id="{FF9D4B23-A3C5-D0A9-607B-E0A488377151}"/>
              </a:ext>
            </a:extLst>
          </p:cNvPr>
          <p:cNvSpPr txBox="1"/>
          <p:nvPr/>
        </p:nvSpPr>
        <p:spPr>
          <a:xfrm>
            <a:off x="7068684" y="5719519"/>
            <a:ext cx="1193271"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1400" b="1" kern="0">
                <a:solidFill>
                  <a:schemeClr val="bg1"/>
                </a:solidFill>
                <a:latin typeface="Calibri" panose="020F0502020204030204"/>
              </a:rPr>
              <a:t>Proxy </a:t>
            </a:r>
            <a:r>
              <a:rPr kumimoji="0" lang="es-ES" sz="1400" b="1" i="0" u="none" strike="noStrike" kern="0" cap="none" spc="0" normalizeH="0" baseline="0" noProof="0">
                <a:ln>
                  <a:noFill/>
                </a:ln>
                <a:solidFill>
                  <a:schemeClr val="bg1"/>
                </a:solidFill>
                <a:effectLst/>
                <a:uLnTx/>
                <a:uFillTx/>
                <a:latin typeface="Calibri" panose="020F0502020204030204"/>
              </a:rPr>
              <a:t>Record</a:t>
            </a:r>
          </a:p>
        </p:txBody>
      </p:sp>
      <p:pic>
        <p:nvPicPr>
          <p:cNvPr id="37" name="Gráfico 36" descr="Base de datos con relleno sólido">
            <a:extLst>
              <a:ext uri="{FF2B5EF4-FFF2-40B4-BE49-F238E27FC236}">
                <a16:creationId xmlns:a16="http://schemas.microsoft.com/office/drawing/2014/main" id="{373B630A-9425-5237-F0EC-8A54AA6E591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466959" y="4815321"/>
            <a:ext cx="360000" cy="360000"/>
          </a:xfrm>
          <a:prstGeom prst="rect">
            <a:avLst/>
          </a:prstGeom>
        </p:spPr>
      </p:pic>
      <p:pic>
        <p:nvPicPr>
          <p:cNvPr id="39" name="Imagen 38">
            <a:extLst>
              <a:ext uri="{FF2B5EF4-FFF2-40B4-BE49-F238E27FC236}">
                <a16:creationId xmlns:a16="http://schemas.microsoft.com/office/drawing/2014/main" id="{504D28B8-EBAD-D78B-DD93-CFE7CF72A67F}"/>
              </a:ext>
            </a:extLst>
          </p:cNvPr>
          <p:cNvPicPr>
            <a:picLocks noChangeAspect="1"/>
          </p:cNvPicPr>
          <p:nvPr/>
        </p:nvPicPr>
        <p:blipFill>
          <a:blip r:embed="rId17">
            <a:lum bright="70000" contrast="-70000"/>
            <a:extLst>
              <a:ext uri="{BEBA8EAE-BF5A-486C-A8C5-ECC9F3942E4B}">
                <a14:imgProps xmlns:a14="http://schemas.microsoft.com/office/drawing/2010/main">
                  <a14:imgLayer r:embed="rId18">
                    <a14:imgEffect>
                      <a14:artisticPhotocopy/>
                    </a14:imgEffect>
                  </a14:imgLayer>
                </a14:imgProps>
              </a:ext>
            </a:extLst>
          </a:blip>
          <a:srcRect l="13233" t="14191" r="14394" b="11182"/>
          <a:stretch>
            <a:fillRect/>
          </a:stretch>
        </p:blipFill>
        <p:spPr>
          <a:xfrm>
            <a:off x="6489851" y="4383257"/>
            <a:ext cx="314215" cy="324000"/>
          </a:xfrm>
          <a:prstGeom prst="rect">
            <a:avLst/>
          </a:prstGeom>
        </p:spPr>
      </p:pic>
      <p:pic>
        <p:nvPicPr>
          <p:cNvPr id="41" name="Imagen 40">
            <a:extLst>
              <a:ext uri="{FF2B5EF4-FFF2-40B4-BE49-F238E27FC236}">
                <a16:creationId xmlns:a16="http://schemas.microsoft.com/office/drawing/2014/main" id="{4C35490D-44EE-AF80-3F03-AFCEA1C90E97}"/>
              </a:ext>
            </a:extLst>
          </p:cNvPr>
          <p:cNvPicPr>
            <a:picLocks noChangeAspect="1"/>
          </p:cNvPicPr>
          <p:nvPr/>
        </p:nvPicPr>
        <p:blipFill>
          <a:blip r:embed="rId19">
            <a:lum bright="70000" contrast="-70000"/>
            <a:extLst>
              <a:ext uri="{BEBA8EAE-BF5A-486C-A8C5-ECC9F3942E4B}">
                <a14:imgProps xmlns:a14="http://schemas.microsoft.com/office/drawing/2010/main">
                  <a14:imgLayer r:embed="rId20">
                    <a14:imgEffect>
                      <a14:artisticPhotocopy/>
                    </a14:imgEffect>
                  </a14:imgLayer>
                </a14:imgProps>
              </a:ext>
            </a:extLst>
          </a:blip>
          <a:stretch>
            <a:fillRect/>
          </a:stretch>
        </p:blipFill>
        <p:spPr>
          <a:xfrm>
            <a:off x="6489851" y="5263803"/>
            <a:ext cx="360000" cy="360000"/>
          </a:xfrm>
          <a:prstGeom prst="rect">
            <a:avLst/>
          </a:prstGeom>
        </p:spPr>
      </p:pic>
      <p:pic>
        <p:nvPicPr>
          <p:cNvPr id="45" name="Imagen 44">
            <a:extLst>
              <a:ext uri="{FF2B5EF4-FFF2-40B4-BE49-F238E27FC236}">
                <a16:creationId xmlns:a16="http://schemas.microsoft.com/office/drawing/2014/main" id="{AF321C21-01F8-13F4-D30E-2C2A3CA34F04}"/>
              </a:ext>
            </a:extLst>
          </p:cNvPr>
          <p:cNvPicPr>
            <a:picLocks noChangeAspect="1"/>
          </p:cNvPicPr>
          <p:nvPr/>
        </p:nvPicPr>
        <p:blipFill>
          <a:blip r:embed="rId21">
            <a:lum bright="70000" contrast="-70000"/>
            <a:extLst>
              <a:ext uri="{BEBA8EAE-BF5A-486C-A8C5-ECC9F3942E4B}">
                <a14:imgProps xmlns:a14="http://schemas.microsoft.com/office/drawing/2010/main">
                  <a14:imgLayer r:embed="rId22">
                    <a14:imgEffect>
                      <a14:artisticPhotocopy/>
                    </a14:imgEffect>
                  </a14:imgLayer>
                </a14:imgProps>
              </a:ext>
            </a:extLst>
          </a:blip>
          <a:stretch>
            <a:fillRect/>
          </a:stretch>
        </p:blipFill>
        <p:spPr>
          <a:xfrm>
            <a:off x="6490418" y="5723397"/>
            <a:ext cx="360000" cy="360000"/>
          </a:xfrm>
          <a:prstGeom prst="rect">
            <a:avLst/>
          </a:prstGeom>
        </p:spPr>
      </p:pic>
      <p:sp>
        <p:nvSpPr>
          <p:cNvPr id="46" name="Title 5">
            <a:extLst>
              <a:ext uri="{FF2B5EF4-FFF2-40B4-BE49-F238E27FC236}">
                <a16:creationId xmlns:a16="http://schemas.microsoft.com/office/drawing/2014/main" id="{16DE4B86-D100-FB93-79C5-E600AC04B67F}"/>
              </a:ext>
            </a:extLst>
          </p:cNvPr>
          <p:cNvSpPr txBox="1">
            <a:spLocks/>
          </p:cNvSpPr>
          <p:nvPr/>
        </p:nvSpPr>
        <p:spPr>
          <a:xfrm>
            <a:off x="550864" y="249729"/>
            <a:ext cx="10964446" cy="494496"/>
          </a:xfrm>
          <a:prstGeom prst="rect">
            <a:avLst/>
          </a:prstGeom>
        </p:spPr>
        <p:txBody>
          <a:bodyPr vert="horz" lIns="0" tIns="0" rIns="0" bIns="0" rtlCol="0" anchor="b">
            <a:noAutofit/>
          </a:bodyPr>
          <a:lstStyle>
            <a:defPPr>
              <a:defRPr lang="es-ES"/>
            </a:defPPr>
            <a:lvl1pPr marR="0" lvl="0" indent="0" defTabSz="911045" fontAlgn="auto">
              <a:lnSpc>
                <a:spcPts val="2396"/>
              </a:lnSpc>
              <a:spcBef>
                <a:spcPct val="0"/>
              </a:spcBef>
              <a:spcAft>
                <a:spcPts val="0"/>
              </a:spcAft>
              <a:buClrTx/>
              <a:buSzTx/>
              <a:buFontTx/>
              <a:buNone/>
              <a:tabLst/>
              <a:defRPr sz="2400" b="1">
                <a:solidFill>
                  <a:srgbClr val="EC0000"/>
                </a:solidFill>
                <a:latin typeface="Santander Headline"/>
                <a:ea typeface="+mj-ea"/>
                <a:cs typeface="Arial" panose="020B0604020202020204" pitchFamily="34" charset="0"/>
              </a:defRPr>
            </a:lvl1pPr>
          </a:lstStyle>
          <a:p>
            <a:r>
              <a:rPr lang="es-PE"/>
              <a:t>Aseguramiento de Calidad</a:t>
            </a:r>
            <a:r>
              <a:rPr kumimoji="0" lang="en-GB" sz="2400" b="0" i="0" u="none" strike="noStrike" kern="1200" cap="none" spc="0" normalizeH="0" baseline="0" noProof="0">
                <a:ln>
                  <a:noFill/>
                </a:ln>
                <a:solidFill>
                  <a:srgbClr val="FF0000"/>
                </a:solidFill>
                <a:effectLst/>
                <a:uLnTx/>
                <a:uFillTx/>
                <a:latin typeface="Santander Headline" panose="020B0504020201020104" pitchFamily="34" charset="0"/>
              </a:rPr>
              <a:t>|</a:t>
            </a:r>
            <a:r>
              <a:rPr lang="en-GB" b="0">
                <a:solidFill>
                  <a:srgbClr val="203864"/>
                </a:solidFill>
                <a:latin typeface="Santander Headline" panose="020B0504020201020104" pitchFamily="34" charset="0"/>
              </a:rPr>
              <a:t>Framework de Performance</a:t>
            </a:r>
            <a:endParaRPr lang="es-MX">
              <a:solidFill>
                <a:srgbClr val="203864"/>
              </a:solidFill>
            </a:endParaRPr>
          </a:p>
        </p:txBody>
      </p:sp>
    </p:spTree>
    <p:extLst>
      <p:ext uri="{BB962C8B-B14F-4D97-AF65-F5344CB8AC3E}">
        <p14:creationId xmlns:p14="http://schemas.microsoft.com/office/powerpoint/2010/main" val="11722656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2.xml><?xml version="1.0" encoding="utf-8"?>
<p:tagLst xmlns:a="http://schemas.openxmlformats.org/drawingml/2006/main" xmlns:r="http://schemas.openxmlformats.org/officeDocument/2006/relationships" xmlns:p="http://schemas.openxmlformats.org/presentationml/2006/main">
  <p:tag name="SHAPENAME" val="TopLine"/>
</p:tagLst>
</file>

<file path=ppt/tags/tag1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5. Source"/>
</p:tagLst>
</file>

<file path=ppt/tags/tag1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LogoImage"/>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3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39.xml><?xml version="1.0" encoding="utf-8"?>
<p:tagLst xmlns:a="http://schemas.openxmlformats.org/drawingml/2006/main" xmlns:r="http://schemas.openxmlformats.org/officeDocument/2006/relationships" xmlns:p="http://schemas.openxmlformats.org/presentationml/2006/main">
  <p:tag name="SHAPENAME" val="TopLin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xml><?xml version="1.0" encoding="utf-8"?>
<p:tagLst xmlns:a="http://schemas.openxmlformats.org/drawingml/2006/main" xmlns:r="http://schemas.openxmlformats.org/officeDocument/2006/relationships" xmlns:p="http://schemas.openxmlformats.org/presentationml/2006/main">
  <p:tag name="SHAPENAME" val="Grid"/>
</p:tagLst>
</file>

<file path=ppt/tags/tag14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ANGLE" val="5"/>
</p:tagLst>
</file>

<file path=ppt/tags/tag149.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ANGLE" val="4"/>
</p:tagLst>
</file>

<file path=ppt/tags/tag151.xml><?xml version="1.0" encoding="utf-8"?>
<p:tagLst xmlns:a="http://schemas.openxmlformats.org/drawingml/2006/main" xmlns:r="http://schemas.openxmlformats.org/officeDocument/2006/relationships" xmlns:p="http://schemas.openxmlformats.org/presentationml/2006/main">
  <p:tag name="ANGLE" val="4"/>
</p:tagLst>
</file>

<file path=ppt/tags/tag152.xml><?xml version="1.0" encoding="utf-8"?>
<p:tagLst xmlns:a="http://schemas.openxmlformats.org/drawingml/2006/main" xmlns:r="http://schemas.openxmlformats.org/officeDocument/2006/relationships" xmlns:p="http://schemas.openxmlformats.org/presentationml/2006/main">
  <p:tag name="ANGLE" val="3"/>
</p:tagLst>
</file>

<file path=ppt/tags/tag153.xml><?xml version="1.0" encoding="utf-8"?>
<p:tagLst xmlns:a="http://schemas.openxmlformats.org/drawingml/2006/main" xmlns:r="http://schemas.openxmlformats.org/officeDocument/2006/relationships" xmlns:p="http://schemas.openxmlformats.org/presentationml/2006/main">
  <p:tag name="ANGLE" val="3"/>
</p:tagLst>
</file>

<file path=ppt/tags/tag154.xml><?xml version="1.0" encoding="utf-8"?>
<p:tagLst xmlns:a="http://schemas.openxmlformats.org/drawingml/2006/main" xmlns:r="http://schemas.openxmlformats.org/officeDocument/2006/relationships" xmlns:p="http://schemas.openxmlformats.org/presentationml/2006/main">
  <p:tag name="ANGLE" val="2"/>
</p:tagLst>
</file>

<file path=ppt/tags/tag155.xml><?xml version="1.0" encoding="utf-8"?>
<p:tagLst xmlns:a="http://schemas.openxmlformats.org/drawingml/2006/main" xmlns:r="http://schemas.openxmlformats.org/officeDocument/2006/relationships" xmlns:p="http://schemas.openxmlformats.org/presentationml/2006/main">
  <p:tag name="ANGLE" val="2"/>
</p:tagLst>
</file>

<file path=ppt/tags/tag156.xml><?xml version="1.0" encoding="utf-8"?>
<p:tagLst xmlns:a="http://schemas.openxmlformats.org/drawingml/2006/main" xmlns:r="http://schemas.openxmlformats.org/officeDocument/2006/relationships" xmlns:p="http://schemas.openxmlformats.org/presentationml/2006/main">
  <p:tag name="ANGLE" val="1"/>
</p:tagLst>
</file>

<file path=ppt/tags/tag157.xml><?xml version="1.0" encoding="utf-8"?>
<p:tagLst xmlns:a="http://schemas.openxmlformats.org/drawingml/2006/main" xmlns:r="http://schemas.openxmlformats.org/officeDocument/2006/relationships" xmlns:p="http://schemas.openxmlformats.org/presentationml/2006/main">
  <p:tag name="ANGLE" val="1"/>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SHAPENAME" val="LogoImage"/>
</p:tagLst>
</file>

<file path=ppt/tags/tag161.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3.xml><?xml version="1.0" encoding="utf-8"?>
<p:tagLst xmlns:a="http://schemas.openxmlformats.org/drawingml/2006/main" xmlns:r="http://schemas.openxmlformats.org/officeDocument/2006/relationships" xmlns:p="http://schemas.openxmlformats.org/presentationml/2006/main">
  <p:tag name="SHAPENAME" val="Subtitle"/>
</p:tagLst>
</file>

<file path=ppt/tags/tag164.xml><?xml version="1.0" encoding="utf-8"?>
<p:tagLst xmlns:a="http://schemas.openxmlformats.org/drawingml/2006/main" xmlns:r="http://schemas.openxmlformats.org/officeDocument/2006/relationships" xmlns:p="http://schemas.openxmlformats.org/presentationml/2006/main">
  <p:tag name="SHAPENAME" val="Title"/>
</p:tagLst>
</file>

<file path=ppt/tags/tag165.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xml><?xml version="1.0" encoding="utf-8"?>
<p:tagLst xmlns:a="http://schemas.openxmlformats.org/drawingml/2006/main" xmlns:r="http://schemas.openxmlformats.org/officeDocument/2006/relationships" xmlns:p="http://schemas.openxmlformats.org/presentationml/2006/main">
  <p:tag name="ANGLE" val="5"/>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9.xml><?xml version="1.0" encoding="utf-8"?>
<p:tagLst xmlns:a="http://schemas.openxmlformats.org/drawingml/2006/main" xmlns:r="http://schemas.openxmlformats.org/officeDocument/2006/relationships" xmlns:p="http://schemas.openxmlformats.org/presentationml/2006/main">
  <p:tag name="SHAPENAME" val="5. Source"/>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4"/>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9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9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9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1.xml><?xml version="1.0" encoding="utf-8"?>
<p:tagLst xmlns:a="http://schemas.openxmlformats.org/drawingml/2006/main" xmlns:r="http://schemas.openxmlformats.org/officeDocument/2006/relationships" xmlns:p="http://schemas.openxmlformats.org/presentationml/2006/main">
  <p:tag name="SHAPENAME" val="5. Source"/>
</p:tagLst>
</file>

<file path=ppt/tags/tag2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0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xml><?xml version="1.0" encoding="utf-8"?>
<p:tagLst xmlns:a="http://schemas.openxmlformats.org/drawingml/2006/main" xmlns:r="http://schemas.openxmlformats.org/officeDocument/2006/relationships" xmlns:p="http://schemas.openxmlformats.org/presentationml/2006/main">
  <p:tag name="ANGLE" val="3"/>
</p:tagLst>
</file>

<file path=ppt/tags/tag21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xml><?xml version="1.0" encoding="utf-8"?>
<p:tagLst xmlns:a="http://schemas.openxmlformats.org/drawingml/2006/main" xmlns:r="http://schemas.openxmlformats.org/officeDocument/2006/relationships" xmlns:p="http://schemas.openxmlformats.org/presentationml/2006/main">
  <p:tag name="ANGLE" val="2"/>
</p:tagLst>
</file>

<file path=ppt/tags/tag23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8.xml><?xml version="1.0" encoding="utf-8"?>
<p:tagLst xmlns:a="http://schemas.openxmlformats.org/drawingml/2006/main" xmlns:r="http://schemas.openxmlformats.org/officeDocument/2006/relationships" xmlns:p="http://schemas.openxmlformats.org/presentationml/2006/main">
  <p:tag name="SHAPENAME" val="5. Sourc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ANGLE" val="1"/>
</p:tagLst>
</file>

<file path=ppt/tags/tag2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1.xml><?xml version="1.0" encoding="utf-8"?>
<p:tagLst xmlns:a="http://schemas.openxmlformats.org/drawingml/2006/main" xmlns:r="http://schemas.openxmlformats.org/officeDocument/2006/relationships" xmlns:p="http://schemas.openxmlformats.org/presentationml/2006/main">
  <p:tag name="SHAPENAME" val="5. Sourc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SHAPENAME" val="BottomLine"/>
</p:tagLst>
</file>

<file path=ppt/tags/tag254.xml><?xml version="1.0" encoding="utf-8"?>
<p:tagLst xmlns:a="http://schemas.openxmlformats.org/drawingml/2006/main" xmlns:r="http://schemas.openxmlformats.org/officeDocument/2006/relationships" xmlns:p="http://schemas.openxmlformats.org/presentationml/2006/main">
  <p:tag name="SHAPENAME" val="TopLine"/>
</p:tagLst>
</file>

<file path=ppt/tags/tag25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8.xml><?xml version="1.0" encoding="utf-8"?>
<p:tagLst xmlns:a="http://schemas.openxmlformats.org/drawingml/2006/main" xmlns:r="http://schemas.openxmlformats.org/officeDocument/2006/relationships" xmlns:p="http://schemas.openxmlformats.org/presentationml/2006/main">
  <p:tag name="SHAPENAME" val="5. Source"/>
</p:tagLst>
</file>

<file path=ppt/tags/tag2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SHAPENAME" val="LogoImage"/>
</p:tagLst>
</file>

<file path=ppt/tags/tag266.xml><?xml version="1.0" encoding="utf-8"?>
<p:tagLst xmlns:a="http://schemas.openxmlformats.org/drawingml/2006/main" xmlns:r="http://schemas.openxmlformats.org/officeDocument/2006/relationships" xmlns:p="http://schemas.openxmlformats.org/presentationml/2006/main">
  <p:tag name="SHAPENAME" val="5. Sourc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2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2.xml><?xml version="1.0" encoding="utf-8"?>
<p:tagLst xmlns:a="http://schemas.openxmlformats.org/drawingml/2006/main" xmlns:r="http://schemas.openxmlformats.org/officeDocument/2006/relationships" xmlns:p="http://schemas.openxmlformats.org/presentationml/2006/main">
  <p:tag name="SHAPENAME" val="5. Source"/>
</p:tagLst>
</file>

<file path=ppt/tags/tag2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NAME" val="Logo"/>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LogoImage"/>
</p:tagLst>
</file>

<file path=ppt/tags/tag29.xml><?xml version="1.0" encoding="utf-8"?>
<p:tagLst xmlns:a="http://schemas.openxmlformats.org/drawingml/2006/main" xmlns:r="http://schemas.openxmlformats.org/officeDocument/2006/relationships" xmlns:p="http://schemas.openxmlformats.org/presentationml/2006/main">
  <p:tag name="SHAPENAME" val="ClientLogo"/>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6.xml><?xml version="1.0" encoding="utf-8"?>
<p:tagLst xmlns:a="http://schemas.openxmlformats.org/drawingml/2006/main" xmlns:r="http://schemas.openxmlformats.org/officeDocument/2006/relationships" xmlns:p="http://schemas.openxmlformats.org/presentationml/2006/main">
  <p:tag name="SHAPENAME" val="BottomLine"/>
</p:tagLst>
</file>

<file path=ppt/tags/tag6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TopLine"/>
</p:tagLst>
</file>

<file path=ppt/tags/tag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7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7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8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99.xml><?xml version="1.0" encoding="utf-8"?>
<p:tagLst xmlns:a="http://schemas.openxmlformats.org/drawingml/2006/main" xmlns:r="http://schemas.openxmlformats.org/officeDocument/2006/relationships" xmlns:p="http://schemas.openxmlformats.org/presentationml/2006/main">
  <p:tag name="SHAPENAME" val="SlideLogoText"/>
</p:tagLst>
</file>

<file path=ppt/theme/theme1.xml><?xml version="1.0" encoding="utf-8"?>
<a:theme xmlns:a="http://schemas.openxmlformats.org/drawingml/2006/main" name="11_Strategy white">
  <a:themeElements>
    <a:clrScheme name="Strategy template">
      <a:dk1>
        <a:srgbClr val="EC0000"/>
      </a:dk1>
      <a:lt1>
        <a:srgbClr val="FFFFFF"/>
      </a:lt1>
      <a:dk2>
        <a:srgbClr val="404040"/>
      </a:dk2>
      <a:lt2>
        <a:srgbClr val="5A5A5A"/>
      </a:lt2>
      <a:accent1>
        <a:srgbClr val="EC0000"/>
      </a:accent1>
      <a:accent2>
        <a:srgbClr val="5A5A5A"/>
      </a:accent2>
      <a:accent3>
        <a:srgbClr val="7F7F7F"/>
      </a:accent3>
      <a:accent4>
        <a:srgbClr val="8AB9CC"/>
      </a:accent4>
      <a:accent5>
        <a:srgbClr val="404040"/>
      </a:accent5>
      <a:accent6>
        <a:srgbClr val="BFBFBF"/>
      </a:accent6>
      <a:hlink>
        <a:srgbClr val="002060"/>
      </a:hlink>
      <a:folHlink>
        <a:srgbClr val="002060"/>
      </a:folHlink>
    </a:clrScheme>
    <a:fontScheme name="Custom 1">
      <a:majorFont>
        <a:latin typeface="Santander Headline"/>
        <a:ea typeface=""/>
        <a:cs typeface=""/>
      </a:majorFont>
      <a:minorFont>
        <a:latin typeface="Santander Tex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10530_Strategy White Template_Examples_V6" id="{FDFEAB38-99BF-4A60-9CD8-B839AF524760}" vid="{FD01D632-BDAC-4AE9-9165-FBB6BD9862D8}"/>
    </a:ext>
  </a:extLst>
</a:theme>
</file>

<file path=ppt/theme/theme2.xml><?xml version="1.0" encoding="utf-8"?>
<a:theme xmlns:a="http://schemas.openxmlformats.org/drawingml/2006/main" name="2_Strategy white">
  <a:themeElements>
    <a:clrScheme name="Strategy template">
      <a:dk1>
        <a:srgbClr val="EC0000"/>
      </a:dk1>
      <a:lt1>
        <a:srgbClr val="FFFFFF"/>
      </a:lt1>
      <a:dk2>
        <a:srgbClr val="404040"/>
      </a:dk2>
      <a:lt2>
        <a:srgbClr val="5A5A5A"/>
      </a:lt2>
      <a:accent1>
        <a:srgbClr val="EC0000"/>
      </a:accent1>
      <a:accent2>
        <a:srgbClr val="5A5A5A"/>
      </a:accent2>
      <a:accent3>
        <a:srgbClr val="7F7F7F"/>
      </a:accent3>
      <a:accent4>
        <a:srgbClr val="8AB9CC"/>
      </a:accent4>
      <a:accent5>
        <a:srgbClr val="404040"/>
      </a:accent5>
      <a:accent6>
        <a:srgbClr val="BFBFBF"/>
      </a:accent6>
      <a:hlink>
        <a:srgbClr val="002060"/>
      </a:hlink>
      <a:folHlink>
        <a:srgbClr val="002060"/>
      </a:folHlink>
    </a:clrScheme>
    <a:fontScheme name="Custom 1">
      <a:majorFont>
        <a:latin typeface="Santander Headline"/>
        <a:ea typeface=""/>
        <a:cs typeface=""/>
      </a:majorFont>
      <a:minorFont>
        <a:latin typeface="Santander Tex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10530_Strategy White Template_Examples_V6" id="{FDFEAB38-99BF-4A60-9CD8-B839AF524760}" vid="{FD01D632-BDAC-4AE9-9165-FBB6BD9862D8}"/>
    </a:ext>
  </a:extLst>
</a:theme>
</file>

<file path=ppt/theme/theme3.xml><?xml version="1.0" encoding="utf-8"?>
<a:theme xmlns:a="http://schemas.openxmlformats.org/drawingml/2006/main" name="1_Contrast">
  <a:themeElements>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50FC1F8C-36A8-43E0-A709-09110D5475E7}" vid="{00C64DB9-B4DC-496F-9AB5-5DAD18BDE97C}"/>
    </a:ext>
  </a:extLst>
</a:theme>
</file>

<file path=ppt/theme/theme4.xml><?xml version="1.0" encoding="utf-8"?>
<a:theme xmlns:a="http://schemas.openxmlformats.org/drawingml/2006/main" name="Contrast">
  <a:themeElements>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50FC1F8C-36A8-43E0-A709-09110D5475E7}" vid="{00C64DB9-B4DC-496F-9AB5-5DAD18BDE97C}"/>
    </a:ext>
  </a:extLst>
</a:theme>
</file>

<file path=ppt/theme/theme5.xml><?xml version="1.0" encoding="utf-8"?>
<a:theme xmlns:a="http://schemas.openxmlformats.org/drawingml/2006/main" name="14_Strategy white">
  <a:themeElements>
    <a:clrScheme name="Strategy template">
      <a:dk1>
        <a:srgbClr val="EC0000"/>
      </a:dk1>
      <a:lt1>
        <a:srgbClr val="FFFFFF"/>
      </a:lt1>
      <a:dk2>
        <a:srgbClr val="404040"/>
      </a:dk2>
      <a:lt2>
        <a:srgbClr val="5A5A5A"/>
      </a:lt2>
      <a:accent1>
        <a:srgbClr val="EC0000"/>
      </a:accent1>
      <a:accent2>
        <a:srgbClr val="5A5A5A"/>
      </a:accent2>
      <a:accent3>
        <a:srgbClr val="7F7F7F"/>
      </a:accent3>
      <a:accent4>
        <a:srgbClr val="8AB9CC"/>
      </a:accent4>
      <a:accent5>
        <a:srgbClr val="404040"/>
      </a:accent5>
      <a:accent6>
        <a:srgbClr val="BFBFBF"/>
      </a:accent6>
      <a:hlink>
        <a:srgbClr val="002060"/>
      </a:hlink>
      <a:folHlink>
        <a:srgbClr val="002060"/>
      </a:folHlink>
    </a:clrScheme>
    <a:fontScheme name="Custom 1">
      <a:majorFont>
        <a:latin typeface="Santander Headline"/>
        <a:ea typeface=""/>
        <a:cs typeface=""/>
      </a:majorFont>
      <a:minorFont>
        <a:latin typeface="Santander Tex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contro_Regional_V15" id="{87BC6EA1-87C8-2145-9DF1-0C8750C5BA13}" vid="{8BAA4BA6-ADC3-F149-B1C6-58F389B7DF13}"/>
    </a:ext>
  </a:extLst>
</a:theme>
</file>

<file path=ppt/theme/theme6.xml><?xml version="1.0" encoding="utf-8"?>
<a:theme xmlns:a="http://schemas.openxmlformats.org/drawingml/2006/main" name="8_Strategy white">
  <a:themeElements>
    <a:clrScheme name="Strategy template">
      <a:dk1>
        <a:srgbClr val="EC0000"/>
      </a:dk1>
      <a:lt1>
        <a:srgbClr val="FFFFFF"/>
      </a:lt1>
      <a:dk2>
        <a:srgbClr val="404040"/>
      </a:dk2>
      <a:lt2>
        <a:srgbClr val="5A5A5A"/>
      </a:lt2>
      <a:accent1>
        <a:srgbClr val="EC0000"/>
      </a:accent1>
      <a:accent2>
        <a:srgbClr val="5A5A5A"/>
      </a:accent2>
      <a:accent3>
        <a:srgbClr val="7F7F7F"/>
      </a:accent3>
      <a:accent4>
        <a:srgbClr val="8AB9CC"/>
      </a:accent4>
      <a:accent5>
        <a:srgbClr val="404040"/>
      </a:accent5>
      <a:accent6>
        <a:srgbClr val="BFBFBF"/>
      </a:accent6>
      <a:hlink>
        <a:srgbClr val="002060"/>
      </a:hlink>
      <a:folHlink>
        <a:srgbClr val="002060"/>
      </a:folHlink>
    </a:clrScheme>
    <a:fontScheme name="Custom 1">
      <a:majorFont>
        <a:latin typeface="Santander Headline"/>
        <a:ea typeface=""/>
        <a:cs typeface=""/>
      </a:majorFont>
      <a:minorFont>
        <a:latin typeface="Santander Tex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10530_Strategy White Template_Examples_V6" id="{FDFEAB38-99BF-4A60-9CD8-B839AF524760}" vid="{FD01D632-BDAC-4AE9-9165-FBB6BD9862D8}"/>
    </a:ext>
  </a:extLst>
</a:theme>
</file>

<file path=ppt/theme/theme7.xml><?xml version="1.0" encoding="utf-8"?>
<a:theme xmlns:a="http://schemas.openxmlformats.org/drawingml/2006/main" name="13_Strategy white">
  <a:themeElements>
    <a:clrScheme name="Strategy template">
      <a:dk1>
        <a:srgbClr val="EC0000"/>
      </a:dk1>
      <a:lt1>
        <a:srgbClr val="FFFFFF"/>
      </a:lt1>
      <a:dk2>
        <a:srgbClr val="404040"/>
      </a:dk2>
      <a:lt2>
        <a:srgbClr val="5A5A5A"/>
      </a:lt2>
      <a:accent1>
        <a:srgbClr val="EC0000"/>
      </a:accent1>
      <a:accent2>
        <a:srgbClr val="5A5A5A"/>
      </a:accent2>
      <a:accent3>
        <a:srgbClr val="7F7F7F"/>
      </a:accent3>
      <a:accent4>
        <a:srgbClr val="8AB9CC"/>
      </a:accent4>
      <a:accent5>
        <a:srgbClr val="404040"/>
      </a:accent5>
      <a:accent6>
        <a:srgbClr val="BFBFBF"/>
      </a:accent6>
      <a:hlink>
        <a:srgbClr val="002060"/>
      </a:hlink>
      <a:folHlink>
        <a:srgbClr val="002060"/>
      </a:folHlink>
    </a:clrScheme>
    <a:fontScheme name="Custom 1">
      <a:majorFont>
        <a:latin typeface="Santander Headline"/>
        <a:ea typeface=""/>
        <a:cs typeface=""/>
      </a:majorFont>
      <a:minorFont>
        <a:latin typeface="Santander Tex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180000" rIns="0" bIns="0" rtlCol="0" anchor="ctr">
        <a:noAutofit/>
      </a:bodyPr>
      <a:lstStyle>
        <a:defPPr marL="285750" indent="-285750" algn="just">
          <a:lnSpc>
            <a:spcPct val="150000"/>
          </a:lnSpc>
          <a:spcBef>
            <a:spcPts val="1200"/>
          </a:spcBef>
          <a:spcAft>
            <a:spcPts val="1200"/>
          </a:spcAft>
          <a:buClr>
            <a:schemeClr val="accent4"/>
          </a:buClr>
          <a:buFont typeface="Wingdings 3" panose="05040102010807070707" pitchFamily="18" charset="2"/>
          <a:buChar char="}"/>
          <a:defRPr sz="1600" b="1" dirty="0"/>
        </a:defPPr>
      </a:lstStyle>
    </a:txDef>
  </a:objectDefaults>
  <a:extraClrSchemeLst/>
  <a:extLst>
    <a:ext uri="{05A4C25C-085E-4340-85A3-A5531E510DB2}">
      <thm15:themeFamily xmlns:thm15="http://schemas.microsoft.com/office/thememl/2012/main" name="210530_Strategy White Template_Examples_V6" id="{FDFEAB38-99BF-4A60-9CD8-B839AF524760}" vid="{FD01D632-BDAC-4AE9-9165-FBB6BD9862D8}"/>
    </a:ext>
  </a:extLst>
</a:theme>
</file>

<file path=ppt/theme/theme8.xml><?xml version="1.0" encoding="utf-8"?>
<a:theme xmlns:a="http://schemas.openxmlformats.org/drawingml/2006/main" name="1_Tema de Office">
  <a:themeElements>
    <a:clrScheme name="SANTANDER 2018">
      <a:dk1>
        <a:sysClr val="windowText" lastClr="000000"/>
      </a:dk1>
      <a:lt1>
        <a:srgbClr val="FFFFFF"/>
      </a:lt1>
      <a:dk2>
        <a:srgbClr val="595959"/>
      </a:dk2>
      <a:lt2>
        <a:srgbClr val="E7E6E6"/>
      </a:lt2>
      <a:accent1>
        <a:srgbClr val="EC0000"/>
      </a:accent1>
      <a:accent2>
        <a:srgbClr val="C00000"/>
      </a:accent2>
      <a:accent3>
        <a:srgbClr val="9E3667"/>
      </a:accent3>
      <a:accent4>
        <a:srgbClr val="63BA68"/>
      </a:accent4>
      <a:accent5>
        <a:srgbClr val="9BC3D3"/>
      </a:accent5>
      <a:accent6>
        <a:srgbClr val="FFCC33"/>
      </a:accent6>
      <a:hlink>
        <a:srgbClr val="9E3667"/>
      </a:hlink>
      <a:folHlink>
        <a:srgbClr val="C3DEE7"/>
      </a:folHlink>
    </a:clrScheme>
    <a:fontScheme name="Santander Text">
      <a:majorFont>
        <a:latin typeface="santander Headline"/>
        <a:ea typeface=""/>
        <a:cs typeface=""/>
      </a:majorFont>
      <a:minorFont>
        <a:latin typeface="Santander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53501338-8381-4379-8973-c900db498d2f">
      <Terms xmlns="http://schemas.microsoft.com/office/infopath/2007/PartnerControls"/>
    </lcf76f155ced4ddcb4097134ff3c332f>
    <TaxCatchAll xmlns="6ea51971-0f4f-45d0-bcc4-75fec0dca3c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7B6C85EFBF47D4BB716D5121524DAE6" ma:contentTypeVersion="13" ma:contentTypeDescription="Create a new document." ma:contentTypeScope="" ma:versionID="04e8e8f7f8506cf37abce5248403c94f">
  <xsd:schema xmlns:xsd="http://www.w3.org/2001/XMLSchema" xmlns:xs="http://www.w3.org/2001/XMLSchema" xmlns:p="http://schemas.microsoft.com/office/2006/metadata/properties" xmlns:ns1="http://schemas.microsoft.com/sharepoint/v3" xmlns:ns2="53501338-8381-4379-8973-c900db498d2f" xmlns:ns3="6ea51971-0f4f-45d0-bcc4-75fec0dca3c9" targetNamespace="http://schemas.microsoft.com/office/2006/metadata/properties" ma:root="true" ma:fieldsID="f4b368525c9c44ee8c4ff5719d8274be" ns1:_="" ns2:_="" ns3:_="">
    <xsd:import namespace="http://schemas.microsoft.com/sharepoint/v3"/>
    <xsd:import namespace="53501338-8381-4379-8973-c900db498d2f"/>
    <xsd:import namespace="6ea51971-0f4f-45d0-bcc4-75fec0dca3c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3501338-8381-4379-8973-c900db498d2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e471ada5-31db-43fa-8830-84ca9293ff45"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ea51971-0f4f-45d0-bcc4-75fec0dca3c9"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4be13579-7c7a-4117-8132-706c983f26e6}" ma:internalName="TaxCatchAll" ma:showField="CatchAllData" ma:web="6ea51971-0f4f-45d0-bcc4-75fec0dca3c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BABB530-1A61-4132-9085-79AEE841C76D}">
  <ds:schemaRefs>
    <ds:schemaRef ds:uri="53501338-8381-4379-8973-c900db498d2f"/>
    <ds:schemaRef ds:uri="6ea51971-0f4f-45d0-bcc4-75fec0dca3c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74608C9-25A3-4E1B-8958-4D5E8EFEB5F2}">
  <ds:schemaRefs>
    <ds:schemaRef ds:uri="http://schemas.microsoft.com/sharepoint/v3/contenttype/forms"/>
  </ds:schemaRefs>
</ds:datastoreItem>
</file>

<file path=customXml/itemProps3.xml><?xml version="1.0" encoding="utf-8"?>
<ds:datastoreItem xmlns:ds="http://schemas.openxmlformats.org/officeDocument/2006/customXml" ds:itemID="{49C3EC40-1219-40F9-AF67-A7613704A481}">
  <ds:schemaRefs>
    <ds:schemaRef ds:uri="53501338-8381-4379-8973-c900db498d2f"/>
    <ds:schemaRef ds:uri="6ea51971-0f4f-45d0-bcc4-75fec0dca3c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48</Slides>
  <Notes>40</Notes>
  <HiddenSlides>0</HiddenSlides>
  <ScaleCrop>false</ScaleCrop>
  <HeadingPairs>
    <vt:vector size="4" baseType="variant">
      <vt:variant>
        <vt:lpstr>Theme</vt:lpstr>
      </vt:variant>
      <vt:variant>
        <vt:i4>8</vt:i4>
      </vt:variant>
      <vt:variant>
        <vt:lpstr>Slide Titles</vt:lpstr>
      </vt:variant>
      <vt:variant>
        <vt:i4>48</vt:i4>
      </vt:variant>
    </vt:vector>
  </HeadingPairs>
  <TitlesOfParts>
    <vt:vector size="56" baseType="lpstr">
      <vt:lpstr>11_Strategy white</vt:lpstr>
      <vt:lpstr>2_Strategy white</vt:lpstr>
      <vt:lpstr>1_Contrast</vt:lpstr>
      <vt:lpstr>Contrast</vt:lpstr>
      <vt:lpstr>14_Strategy white</vt:lpstr>
      <vt:lpstr>8_Strategy white</vt:lpstr>
      <vt:lpstr>13_Strategy white</vt:lpstr>
      <vt:lpstr>1_Tema de Office</vt:lpstr>
      <vt:lpstr>COE Aseguramiento Calidad (QA) Proyecto Helios</vt:lpstr>
      <vt:lpstr>PowerPoint Presentation</vt:lpstr>
      <vt:lpstr> </vt:lpstr>
      <vt:lpstr> </vt:lpstr>
      <vt:lpstr> </vt:lpstr>
      <vt:lpstr>PowerPoint Presentation</vt:lpstr>
      <vt:lpstr> </vt:lpstr>
      <vt:lpstr> </vt:lpstr>
      <vt:lpstr> </vt:lpstr>
      <vt:lpstr> </vt:lpstr>
      <vt:lpstr>  </vt:lpstr>
      <vt:lpstr>Aseguramiento de Calidad| Plan General QA</vt:lpstr>
      <vt:lpstr>Cómo presentamos el estado de salud de las pruebas a un comité </vt:lpstr>
      <vt:lpstr>Cómo presentamos el estado de salud de las pruebas a un comité </vt:lpstr>
      <vt:lpstr>PowerPoint Presentation</vt:lpstr>
      <vt:lpstr>PowerPoint Presentation</vt:lpstr>
      <vt:lpstr> </vt:lpstr>
      <vt:lpstr>Aseguramiento de Calidad| Estrategia y Detalle de Pruebas</vt:lpstr>
      <vt:lpstr> </vt:lpstr>
      <vt:lpstr> </vt:lpstr>
      <vt:lpstr>¿Por qué usar XRAY como Herramienta de Gestión de Aseguramiento de Calidad?</vt:lpstr>
      <vt:lpstr>Propuesta para criterio de Releases entre ambientes</vt:lpstr>
      <vt:lpstr>Planificación de Pruebas por BB </vt:lpstr>
      <vt:lpstr> </vt:lpstr>
      <vt:lpstr> </vt:lpstr>
      <vt:lpstr> </vt:lpstr>
      <vt:lpstr> </vt:lpstr>
      <vt:lpstr> </vt:lpstr>
      <vt:lpstr> </vt:lpstr>
      <vt:lpstr> </vt:lpstr>
      <vt:lpstr> </vt:lpstr>
      <vt:lpstr> </vt:lpstr>
      <vt:lpstr> </vt:lpstr>
      <vt:lpstr> </vt:lpstr>
      <vt:lpstr> </vt:lpstr>
      <vt:lpstr> </vt:lpstr>
      <vt:lpstr> </vt:lpstr>
      <vt:lpstr>Participación de QA desde el inicio</vt:lpstr>
      <vt:lpstr>DEFINITION OF READY</vt:lpstr>
      <vt:lpstr>DEFINITION OF DO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Ricardo Antony Contreras Quispe</dc:creator>
  <cp:revision>1</cp:revision>
  <dcterms:created xsi:type="dcterms:W3CDTF">2023-10-23T03:30:48Z</dcterms:created>
  <dcterms:modified xsi:type="dcterms:W3CDTF">2026-01-29T19:2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MSIP_Label_41b88ec2-a72b-4523-9e84-0458a1764731_Enabled">
    <vt:lpwstr>true</vt:lpwstr>
  </property>
  <property fmtid="{D5CDD505-2E9C-101B-9397-08002B2CF9AE}" pid="4" name="MSIP_Label_41b88ec2-a72b-4523-9e84-0458a1764731_SetDate">
    <vt:lpwstr>2024-04-29T21:10:20Z</vt:lpwstr>
  </property>
  <property fmtid="{D5CDD505-2E9C-101B-9397-08002B2CF9AE}" pid="5" name="MSIP_Label_41b88ec2-a72b-4523-9e84-0458a1764731_Method">
    <vt:lpwstr>Privileged</vt:lpwstr>
  </property>
  <property fmtid="{D5CDD505-2E9C-101B-9397-08002B2CF9AE}" pid="6" name="MSIP_Label_41b88ec2-a72b-4523-9e84-0458a1764731_Name">
    <vt:lpwstr>Public O365</vt:lpwstr>
  </property>
  <property fmtid="{D5CDD505-2E9C-101B-9397-08002B2CF9AE}" pid="7" name="MSIP_Label_41b88ec2-a72b-4523-9e84-0458a1764731_SiteId">
    <vt:lpwstr>35595a02-4d6d-44ac-99e1-f9ab4cd872db</vt:lpwstr>
  </property>
  <property fmtid="{D5CDD505-2E9C-101B-9397-08002B2CF9AE}" pid="8" name="MSIP_Label_41b88ec2-a72b-4523-9e84-0458a1764731_ActionId">
    <vt:lpwstr>3e34a3ab-9b0c-4af8-b8e8-675a94523dce</vt:lpwstr>
  </property>
  <property fmtid="{D5CDD505-2E9C-101B-9397-08002B2CF9AE}" pid="9" name="MSIP_Label_41b88ec2-a72b-4523-9e84-0458a1764731_ContentBits">
    <vt:lpwstr>0</vt:lpwstr>
  </property>
  <property fmtid="{D5CDD505-2E9C-101B-9397-08002B2CF9AE}" pid="10" name="ContentTypeId">
    <vt:lpwstr>0x010100E7B6C85EFBF47D4BB716D5121524DAE6</vt:lpwstr>
  </property>
</Properties>
</file>